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9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</p:sldIdLst>
  <p:sldSz cx="9144000" cy="5143500" type="screen16x9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84" y="6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6" Type="http://schemas.openxmlformats.org/officeDocument/2006/relationships/tableStyles" Target="tableStyles.xml"/><Relationship Id="rId35" Type="http://schemas.openxmlformats.org/officeDocument/2006/relationships/viewProps" Target="viewProps.xml"/><Relationship Id="rId34" Type="http://schemas.openxmlformats.org/officeDocument/2006/relationships/presProps" Target="presProps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DCD19911-D776-4443-8758-288C8A547809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 smtClean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单击此处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 smtClean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4CD30295-DC7E-46B7-8A5A-47A9B3F7DD96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437A8203-D99E-4BC0-B35C-5128DE4D0463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253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fld id="{BB9EF4EE-8BF5-493F-BA54-B10A0D538B03}" type="slidenum">
              <a:rPr lang="zh-CN" altLang="en-US">
                <a:solidFill>
                  <a:srgbClr val="000000"/>
                </a:solidFill>
              </a:rPr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A8B5C-D5F5-4373-8323-B6F26047EC96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38C4D3-1F5E-410F-AAED-DEC0A3D9460C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8A26C9-3DA5-4E2A-BECB-C43EFE2EE0DC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D62CCF-11FC-4DA9-AA6A-B52827BB3D5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4B31B4-85E6-4A3A-8ECD-0AD0CAEB22D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1E6482-C555-4752-8544-32C5610DE4D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C876C-A9F2-4BD1-BC44-721E35C30CA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3ECF5F-951E-4DBE-A59E-86EDC76E822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B035-BB9A-4ED5-9966-D60770ABE95F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E334DA-AC3A-42D7-94DD-B241F209F93F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E761B-A960-4F91-B245-7B2E41C13E1E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543880-98BC-4FCF-AD86-77526543760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0443B0-1516-4043-8757-07B2E44D3B16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8E974-A90A-4166-80E8-E1774058E97E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Administrator.MICROSO-BQCPAHA\Desktop\51ca27bc462a8.png"/>
          <p:cNvPicPr>
            <a:picLocks noChangeAspect="1" noChangeArrowheads="1"/>
          </p:cNvPicPr>
          <p:nvPr userDrawn="1"/>
        </p:nvPicPr>
        <p:blipFill rotWithShape="1">
          <a:blip r:embed="rId2"/>
          <a:srcRect l="40269" t="48989" r="39497" b="42362"/>
          <a:stretch>
            <a:fillRect/>
          </a:stretch>
        </p:blipFill>
        <p:spPr bwMode="auto">
          <a:xfrm>
            <a:off x="-30163" y="0"/>
            <a:ext cx="9174163" cy="51435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</p:pic>
      <p:pic>
        <p:nvPicPr>
          <p:cNvPr id="3" name="Picture 2" descr="C:\Users\ADMINI~1.MIC\AppData\Local\Temp\360zip$Temp\360$0\527f7e3f61c31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9" t="30292" r="3409" b="34033"/>
          <a:stretch>
            <a:fillRect/>
          </a:stretch>
        </p:blipFill>
        <p:spPr bwMode="auto">
          <a:xfrm>
            <a:off x="-49213" y="0"/>
            <a:ext cx="919321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311A88-4A2C-4C36-943B-A6FA81D88341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B6EFF9-C0F0-407D-A8ED-30FD02131BE8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604E8-1AFE-48CB-A617-AB71172E6159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824AC-D082-4A96-A873-34E95A2FFF6B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F64F4E-CEA7-4B23-918F-E37A7E56E894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05EAD-08CF-4FFF-91FA-1AD2FE17BB55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B1E3C2A8-F003-4ABF-8629-65A6D4C37574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3B4338C-8F72-4691-946C-7B81F9548B19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12.png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19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jpe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8.png"/><Relationship Id="rId8" Type="http://schemas.openxmlformats.org/officeDocument/2006/relationships/image" Target="../media/image27.png"/><Relationship Id="rId7" Type="http://schemas.openxmlformats.org/officeDocument/2006/relationships/image" Target="../media/image26.jpeg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4" Type="http://schemas.openxmlformats.org/officeDocument/2006/relationships/notesSlide" Target="../notesSlides/notesSlide2.xml"/><Relationship Id="rId13" Type="http://schemas.openxmlformats.org/officeDocument/2006/relationships/slideLayout" Target="../slideLayouts/slideLayout6.xml"/><Relationship Id="rId12" Type="http://schemas.openxmlformats.org/officeDocument/2006/relationships/image" Target="../media/image31.jpeg"/><Relationship Id="rId11" Type="http://schemas.openxmlformats.org/officeDocument/2006/relationships/image" Target="../media/image30.png"/><Relationship Id="rId10" Type="http://schemas.openxmlformats.org/officeDocument/2006/relationships/image" Target="../media/image29.png"/><Relationship Id="rId1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41.png"/><Relationship Id="rId7" Type="http://schemas.openxmlformats.org/officeDocument/2006/relationships/image" Target="../media/image40.png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42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image" Target="../media/image51.png"/><Relationship Id="rId8" Type="http://schemas.openxmlformats.org/officeDocument/2006/relationships/image" Target="../media/image50.png"/><Relationship Id="rId7" Type="http://schemas.openxmlformats.org/officeDocument/2006/relationships/image" Target="../media/image49.png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1" Type="http://schemas.openxmlformats.org/officeDocument/2006/relationships/slideLayout" Target="../slideLayouts/slideLayout6.xml"/><Relationship Id="rId10" Type="http://schemas.openxmlformats.org/officeDocument/2006/relationships/image" Target="../media/image52.png"/><Relationship Id="rId1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7" Type="http://schemas.openxmlformats.org/officeDocument/2006/relationships/tags" Target="../tags/tag1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54.png"/><Relationship Id="rId6" Type="http://schemas.openxmlformats.org/officeDocument/2006/relationships/image" Target="../media/image53.png"/><Relationship Id="rId5" Type="http://schemas.openxmlformats.org/officeDocument/2006/relationships/image" Target="../media/image42.jpeg"/><Relationship Id="rId4" Type="http://schemas.openxmlformats.org/officeDocument/2006/relationships/image" Target="../media/image19.png"/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6.xml"/><Relationship Id="rId5" Type="http://schemas.openxmlformats.org/officeDocument/2006/relationships/image" Target="../media/image59.png"/><Relationship Id="rId4" Type="http://schemas.openxmlformats.org/officeDocument/2006/relationships/image" Target="../media/image58.jpeg"/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image" Target="../media/image5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ADMINI~1.MIC\AppData\Local\Temp\360zip$Temp\360$0\527f7e3f61c31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4" t="21436"/>
          <a:stretch>
            <a:fillRect/>
          </a:stretch>
        </p:blipFill>
        <p:spPr bwMode="auto">
          <a:xfrm>
            <a:off x="-30163" y="-101600"/>
            <a:ext cx="9253538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01" name="组合 4"/>
          <p:cNvGrpSpPr/>
          <p:nvPr/>
        </p:nvGrpSpPr>
        <p:grpSpPr bwMode="auto">
          <a:xfrm>
            <a:off x="6475413" y="2681288"/>
            <a:ext cx="1701800" cy="1690687"/>
            <a:chOff x="6497256" y="2969252"/>
            <a:chExt cx="1702045" cy="1690730"/>
          </a:xfrm>
        </p:grpSpPr>
        <p:sp>
          <p:nvSpPr>
            <p:cNvPr id="6" name="Rectangle 14"/>
            <p:cNvSpPr>
              <a:spLocks noChangeArrowheads="1"/>
            </p:cNvSpPr>
            <p:nvPr/>
          </p:nvSpPr>
          <p:spPr bwMode="auto">
            <a:xfrm>
              <a:off x="6497256" y="2969252"/>
              <a:ext cx="1702045" cy="169073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4143" name="Freeform 22"/>
            <p:cNvSpPr>
              <a:spLocks noEditPoints="1"/>
            </p:cNvSpPr>
            <p:nvPr/>
          </p:nvSpPr>
          <p:spPr bwMode="auto">
            <a:xfrm>
              <a:off x="6758070" y="3077550"/>
              <a:ext cx="1084589" cy="1532325"/>
            </a:xfrm>
            <a:custGeom>
              <a:avLst/>
              <a:gdLst>
                <a:gd name="T0" fmla="*/ 1494450496 w 671"/>
                <a:gd name="T1" fmla="*/ 1774005627 h 948"/>
                <a:gd name="T2" fmla="*/ 1494450496 w 671"/>
                <a:gd name="T3" fmla="*/ 0 h 948"/>
                <a:gd name="T4" fmla="*/ 0 w 671"/>
                <a:gd name="T5" fmla="*/ 1977793537 h 948"/>
                <a:gd name="T6" fmla="*/ 1274985285 w 671"/>
                <a:gd name="T7" fmla="*/ 1977793537 h 948"/>
                <a:gd name="T8" fmla="*/ 1274985285 w 671"/>
                <a:gd name="T9" fmla="*/ 2147483646 h 948"/>
                <a:gd name="T10" fmla="*/ 1494450496 w 671"/>
                <a:gd name="T11" fmla="*/ 2147483646 h 948"/>
                <a:gd name="T12" fmla="*/ 1494450496 w 671"/>
                <a:gd name="T13" fmla="*/ 1977793537 h 948"/>
                <a:gd name="T14" fmla="*/ 1753104767 w 671"/>
                <a:gd name="T15" fmla="*/ 1977793537 h 948"/>
                <a:gd name="T16" fmla="*/ 1753104767 w 671"/>
                <a:gd name="T17" fmla="*/ 1774005627 h 948"/>
                <a:gd name="T18" fmla="*/ 1494450496 w 671"/>
                <a:gd name="T19" fmla="*/ 1774005627 h 948"/>
                <a:gd name="T20" fmla="*/ 1274985285 w 671"/>
                <a:gd name="T21" fmla="*/ 1774005627 h 948"/>
                <a:gd name="T22" fmla="*/ 386676183 w 671"/>
                <a:gd name="T23" fmla="*/ 1774005627 h 948"/>
                <a:gd name="T24" fmla="*/ 1274985285 w 671"/>
                <a:gd name="T25" fmla="*/ 608753283 h 948"/>
                <a:gd name="T26" fmla="*/ 1274985285 w 671"/>
                <a:gd name="T27" fmla="*/ 1774005627 h 9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71" h="948">
                  <a:moveTo>
                    <a:pt x="572" y="679"/>
                  </a:moveTo>
                  <a:lnTo>
                    <a:pt x="572" y="0"/>
                  </a:lnTo>
                  <a:lnTo>
                    <a:pt x="0" y="757"/>
                  </a:lnTo>
                  <a:lnTo>
                    <a:pt x="488" y="757"/>
                  </a:lnTo>
                  <a:lnTo>
                    <a:pt x="488" y="948"/>
                  </a:lnTo>
                  <a:lnTo>
                    <a:pt x="572" y="948"/>
                  </a:lnTo>
                  <a:lnTo>
                    <a:pt x="572" y="757"/>
                  </a:lnTo>
                  <a:lnTo>
                    <a:pt x="671" y="757"/>
                  </a:lnTo>
                  <a:lnTo>
                    <a:pt x="671" y="679"/>
                  </a:lnTo>
                  <a:lnTo>
                    <a:pt x="572" y="679"/>
                  </a:lnTo>
                  <a:close/>
                  <a:moveTo>
                    <a:pt x="488" y="679"/>
                  </a:moveTo>
                  <a:lnTo>
                    <a:pt x="148" y="679"/>
                  </a:lnTo>
                  <a:lnTo>
                    <a:pt x="488" y="233"/>
                  </a:lnTo>
                  <a:lnTo>
                    <a:pt x="488" y="6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102" name="组合 7"/>
          <p:cNvGrpSpPr/>
          <p:nvPr/>
        </p:nvGrpSpPr>
        <p:grpSpPr bwMode="auto">
          <a:xfrm>
            <a:off x="938213" y="2681288"/>
            <a:ext cx="1701800" cy="1690687"/>
            <a:chOff x="959014" y="2919145"/>
            <a:chExt cx="1702045" cy="1690730"/>
          </a:xfrm>
        </p:grpSpPr>
        <p:sp>
          <p:nvSpPr>
            <p:cNvPr id="9" name="Rectangle 14"/>
            <p:cNvSpPr>
              <a:spLocks noChangeArrowheads="1"/>
            </p:cNvSpPr>
            <p:nvPr/>
          </p:nvSpPr>
          <p:spPr bwMode="auto">
            <a:xfrm>
              <a:off x="959014" y="2919145"/>
              <a:ext cx="1702045" cy="169073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39" name="Freeform 29"/>
            <p:cNvSpPr/>
            <p:nvPr/>
          </p:nvSpPr>
          <p:spPr bwMode="auto">
            <a:xfrm>
              <a:off x="1306601" y="3001716"/>
              <a:ext cx="1086205" cy="1532325"/>
            </a:xfrm>
            <a:custGeom>
              <a:avLst/>
              <a:gdLst>
                <a:gd name="T0" fmla="*/ 2147483646 w 95"/>
                <a:gd name="T1" fmla="*/ 2147483646 h 134"/>
                <a:gd name="T2" fmla="*/ 1699499210 w 95"/>
                <a:gd name="T3" fmla="*/ 2147483646 h 134"/>
                <a:gd name="T4" fmla="*/ 2147483646 w 95"/>
                <a:gd name="T5" fmla="*/ 2147483646 h 134"/>
                <a:gd name="T6" fmla="*/ 2147483646 w 95"/>
                <a:gd name="T7" fmla="*/ 2147483646 h 134"/>
                <a:gd name="T8" fmla="*/ 2147483646 w 95"/>
                <a:gd name="T9" fmla="*/ 2147483646 h 134"/>
                <a:gd name="T10" fmla="*/ 2147483646 w 95"/>
                <a:gd name="T11" fmla="*/ 2147483646 h 134"/>
                <a:gd name="T12" fmla="*/ 2147483646 w 95"/>
                <a:gd name="T13" fmla="*/ 1438418635 h 134"/>
                <a:gd name="T14" fmla="*/ 2147483646 w 95"/>
                <a:gd name="T15" fmla="*/ 2147483646 h 134"/>
                <a:gd name="T16" fmla="*/ 1568765863 w 95"/>
                <a:gd name="T17" fmla="*/ 2147483646 h 134"/>
                <a:gd name="T18" fmla="*/ 2147483646 w 95"/>
                <a:gd name="T19" fmla="*/ 2147483646 h 134"/>
                <a:gd name="T20" fmla="*/ 2147483646 w 95"/>
                <a:gd name="T21" fmla="*/ 2147483646 h 134"/>
                <a:gd name="T22" fmla="*/ 2147483646 w 95"/>
                <a:gd name="T23" fmla="*/ 2147483646 h 134"/>
                <a:gd name="T24" fmla="*/ 784377215 w 95"/>
                <a:gd name="T25" fmla="*/ 2147483646 h 134"/>
                <a:gd name="T26" fmla="*/ 0 w 95"/>
                <a:gd name="T27" fmla="*/ 2147483646 h 134"/>
                <a:gd name="T28" fmla="*/ 1699499210 w 95"/>
                <a:gd name="T29" fmla="*/ 1830716706 h 134"/>
                <a:gd name="T30" fmla="*/ 2147483646 w 95"/>
                <a:gd name="T31" fmla="*/ 0 h 134"/>
                <a:gd name="T32" fmla="*/ 2147483646 w 95"/>
                <a:gd name="T33" fmla="*/ 1830716706 h 134"/>
                <a:gd name="T34" fmla="*/ 2147483646 w 95"/>
                <a:gd name="T35" fmla="*/ 2147483646 h 134"/>
                <a:gd name="T36" fmla="*/ 2147483646 w 95"/>
                <a:gd name="T37" fmla="*/ 2147483646 h 134"/>
                <a:gd name="T38" fmla="*/ 2147483646 w 95"/>
                <a:gd name="T39" fmla="*/ 2147483646 h 134"/>
                <a:gd name="T40" fmla="*/ 2147483646 w 95"/>
                <a:gd name="T41" fmla="*/ 2147483646 h 134"/>
                <a:gd name="T42" fmla="*/ 2147483646 w 95"/>
                <a:gd name="T43" fmla="*/ 2147483646 h 134"/>
                <a:gd name="T44" fmla="*/ 2147483646 w 95"/>
                <a:gd name="T45" fmla="*/ 2147483646 h 13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95" h="134">
                  <a:moveTo>
                    <a:pt x="93" y="134"/>
                  </a:moveTo>
                  <a:cubicBezTo>
                    <a:pt x="13" y="134"/>
                    <a:pt x="13" y="134"/>
                    <a:pt x="13" y="134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73" y="74"/>
                    <a:pt x="77" y="69"/>
                    <a:pt x="79" y="64"/>
                  </a:cubicBezTo>
                  <a:cubicBezTo>
                    <a:pt x="81" y="59"/>
                    <a:pt x="83" y="53"/>
                    <a:pt x="83" y="47"/>
                  </a:cubicBezTo>
                  <a:cubicBezTo>
                    <a:pt x="83" y="37"/>
                    <a:pt x="79" y="29"/>
                    <a:pt x="72" y="22"/>
                  </a:cubicBezTo>
                  <a:cubicBezTo>
                    <a:pt x="65" y="15"/>
                    <a:pt x="57" y="11"/>
                    <a:pt x="47" y="11"/>
                  </a:cubicBezTo>
                  <a:cubicBezTo>
                    <a:pt x="37" y="11"/>
                    <a:pt x="29" y="15"/>
                    <a:pt x="22" y="22"/>
                  </a:cubicBezTo>
                  <a:cubicBezTo>
                    <a:pt x="15" y="28"/>
                    <a:pt x="12" y="37"/>
                    <a:pt x="12" y="47"/>
                  </a:cubicBezTo>
                  <a:cubicBezTo>
                    <a:pt x="12" y="55"/>
                    <a:pt x="14" y="62"/>
                    <a:pt x="17" y="68"/>
                  </a:cubicBezTo>
                  <a:cubicBezTo>
                    <a:pt x="21" y="74"/>
                    <a:pt x="27" y="79"/>
                    <a:pt x="34" y="83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6" y="86"/>
                    <a:pt x="10" y="80"/>
                    <a:pt x="6" y="73"/>
                  </a:cubicBezTo>
                  <a:cubicBezTo>
                    <a:pt x="2" y="65"/>
                    <a:pt x="0" y="58"/>
                    <a:pt x="0" y="49"/>
                  </a:cubicBezTo>
                  <a:cubicBezTo>
                    <a:pt x="0" y="35"/>
                    <a:pt x="4" y="23"/>
                    <a:pt x="13" y="14"/>
                  </a:cubicBezTo>
                  <a:cubicBezTo>
                    <a:pt x="22" y="4"/>
                    <a:pt x="33" y="0"/>
                    <a:pt x="47" y="0"/>
                  </a:cubicBezTo>
                  <a:cubicBezTo>
                    <a:pt x="61" y="0"/>
                    <a:pt x="72" y="5"/>
                    <a:pt x="81" y="14"/>
                  </a:cubicBezTo>
                  <a:cubicBezTo>
                    <a:pt x="91" y="24"/>
                    <a:pt x="95" y="36"/>
                    <a:pt x="95" y="50"/>
                  </a:cubicBezTo>
                  <a:cubicBezTo>
                    <a:pt x="95" y="56"/>
                    <a:pt x="94" y="62"/>
                    <a:pt x="91" y="69"/>
                  </a:cubicBezTo>
                  <a:cubicBezTo>
                    <a:pt x="89" y="75"/>
                    <a:pt x="85" y="80"/>
                    <a:pt x="80" y="85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93" y="122"/>
                    <a:pt x="93" y="122"/>
                    <a:pt x="93" y="122"/>
                  </a:cubicBezTo>
                  <a:lnTo>
                    <a:pt x="93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103" name="组合 10"/>
          <p:cNvGrpSpPr/>
          <p:nvPr/>
        </p:nvGrpSpPr>
        <p:grpSpPr bwMode="auto">
          <a:xfrm>
            <a:off x="4676775" y="2681288"/>
            <a:ext cx="1701800" cy="1690687"/>
            <a:chOff x="4697825" y="2969252"/>
            <a:chExt cx="1702045" cy="1690730"/>
          </a:xfrm>
        </p:grpSpPr>
        <p:sp>
          <p:nvSpPr>
            <p:cNvPr id="12" name="Rectangle 14"/>
            <p:cNvSpPr>
              <a:spLocks noChangeArrowheads="1"/>
            </p:cNvSpPr>
            <p:nvPr/>
          </p:nvSpPr>
          <p:spPr bwMode="auto">
            <a:xfrm>
              <a:off x="4697825" y="2969252"/>
              <a:ext cx="1702045" cy="169073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37" name="Freeform 24"/>
            <p:cNvSpPr/>
            <p:nvPr/>
          </p:nvSpPr>
          <p:spPr bwMode="auto">
            <a:xfrm>
              <a:off x="5191254" y="3071795"/>
              <a:ext cx="536637" cy="1554954"/>
            </a:xfrm>
            <a:custGeom>
              <a:avLst/>
              <a:gdLst>
                <a:gd name="T0" fmla="*/ 627040938 w 332"/>
                <a:gd name="T1" fmla="*/ 2147483646 h 962"/>
                <a:gd name="T2" fmla="*/ 627040938 w 332"/>
                <a:gd name="T3" fmla="*/ 517309920 h 962"/>
                <a:gd name="T4" fmla="*/ 167210917 w 332"/>
                <a:gd name="T5" fmla="*/ 998041244 h 962"/>
                <a:gd name="T6" fmla="*/ 0 w 332"/>
                <a:gd name="T7" fmla="*/ 851731711 h 962"/>
                <a:gd name="T8" fmla="*/ 867407439 w 332"/>
                <a:gd name="T9" fmla="*/ 0 h 962"/>
                <a:gd name="T10" fmla="*/ 867407439 w 332"/>
                <a:gd name="T11" fmla="*/ 2147483646 h 962"/>
                <a:gd name="T12" fmla="*/ 627040938 w 332"/>
                <a:gd name="T13" fmla="*/ 2147483646 h 9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32" h="962">
                  <a:moveTo>
                    <a:pt x="240" y="962"/>
                  </a:moveTo>
                  <a:lnTo>
                    <a:pt x="240" y="198"/>
                  </a:lnTo>
                  <a:lnTo>
                    <a:pt x="64" y="382"/>
                  </a:lnTo>
                  <a:lnTo>
                    <a:pt x="0" y="326"/>
                  </a:lnTo>
                  <a:lnTo>
                    <a:pt x="332" y="0"/>
                  </a:lnTo>
                  <a:lnTo>
                    <a:pt x="332" y="962"/>
                  </a:lnTo>
                  <a:lnTo>
                    <a:pt x="240" y="9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104" name="组合 13"/>
          <p:cNvGrpSpPr/>
          <p:nvPr/>
        </p:nvGrpSpPr>
        <p:grpSpPr bwMode="auto">
          <a:xfrm>
            <a:off x="3522663" y="2084388"/>
            <a:ext cx="2178050" cy="307975"/>
            <a:chOff x="4772174" y="1863480"/>
            <a:chExt cx="2177951" cy="307777"/>
          </a:xfrm>
        </p:grpSpPr>
        <p:sp>
          <p:nvSpPr>
            <p:cNvPr id="15" name="TextBox 14"/>
            <p:cNvSpPr txBox="1"/>
            <p:nvPr/>
          </p:nvSpPr>
          <p:spPr bwMode="auto">
            <a:xfrm>
              <a:off x="5697644" y="1863480"/>
              <a:ext cx="1252481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pc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zh-CN" altLang="en-US" sz="1400" dirty="0">
                  <a:solidFill>
                    <a:prstClr val="white"/>
                  </a:solidFill>
                </a:rPr>
                <a:t>普及精品</a:t>
              </a:r>
              <a:endParaRPr lang="zh-CN" altLang="en-US" sz="1400" dirty="0">
                <a:solidFill>
                  <a:prstClr val="white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 bwMode="auto">
            <a:xfrm>
              <a:off x="4772174" y="1863480"/>
              <a:ext cx="1311215" cy="3077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锐意进取</a:t>
              </a:r>
              <a:endParaRPr lang="zh-CN" altLang="en-US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05" name="组合 16"/>
          <p:cNvGrpSpPr/>
          <p:nvPr/>
        </p:nvGrpSpPr>
        <p:grpSpPr bwMode="auto">
          <a:xfrm>
            <a:off x="3286125" y="1760538"/>
            <a:ext cx="2649538" cy="279400"/>
            <a:chOff x="6104762" y="-956653"/>
            <a:chExt cx="2777154" cy="293473"/>
          </a:xfrm>
        </p:grpSpPr>
        <p:grpSp>
          <p:nvGrpSpPr>
            <p:cNvPr id="4114" name="组合 17"/>
            <p:cNvGrpSpPr/>
            <p:nvPr/>
          </p:nvGrpSpPr>
          <p:grpSpPr bwMode="auto">
            <a:xfrm>
              <a:off x="6104762" y="-956652"/>
              <a:ext cx="421484" cy="293471"/>
              <a:chOff x="3080440" y="2857789"/>
              <a:chExt cx="233340" cy="175871"/>
            </a:xfrm>
          </p:grpSpPr>
          <p:sp>
            <p:nvSpPr>
              <p:cNvPr id="4132" name="矩形 39"/>
              <p:cNvSpPr>
                <a:spLocks noChangeArrowheads="1"/>
              </p:cNvSpPr>
              <p:nvPr/>
            </p:nvSpPr>
            <p:spPr bwMode="auto">
              <a:xfrm>
                <a:off x="3080440" y="2857789"/>
                <a:ext cx="233340" cy="175871"/>
              </a:xfrm>
              <a:prstGeom prst="rect">
                <a:avLst/>
              </a:prstGeom>
              <a:solidFill>
                <a:srgbClr val="7A5E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33" name="Freeform 276"/>
              <p:cNvSpPr>
                <a:spLocks noEditPoints="1"/>
              </p:cNvSpPr>
              <p:nvPr/>
            </p:nvSpPr>
            <p:spPr bwMode="auto">
              <a:xfrm>
                <a:off x="3137254" y="2894296"/>
                <a:ext cx="109481" cy="113168"/>
              </a:xfrm>
              <a:custGeom>
                <a:avLst/>
                <a:gdLst>
                  <a:gd name="T0" fmla="*/ 2147483646 w 156"/>
                  <a:gd name="T1" fmla="*/ 2147483646 h 161"/>
                  <a:gd name="T2" fmla="*/ 2147483646 w 156"/>
                  <a:gd name="T3" fmla="*/ 2147483646 h 161"/>
                  <a:gd name="T4" fmla="*/ 2147483646 w 156"/>
                  <a:gd name="T5" fmla="*/ 2147483646 h 161"/>
                  <a:gd name="T6" fmla="*/ 2147483646 w 156"/>
                  <a:gd name="T7" fmla="*/ 2147483646 h 161"/>
                  <a:gd name="T8" fmla="*/ 0 w 156"/>
                  <a:gd name="T9" fmla="*/ 2147483646 h 161"/>
                  <a:gd name="T10" fmla="*/ 0 w 156"/>
                  <a:gd name="T11" fmla="*/ 2147483646 h 161"/>
                  <a:gd name="T12" fmla="*/ 2147483646 w 156"/>
                  <a:gd name="T13" fmla="*/ 2147483646 h 161"/>
                  <a:gd name="T14" fmla="*/ 2147483646 w 156"/>
                  <a:gd name="T15" fmla="*/ 2147483646 h 161"/>
                  <a:gd name="T16" fmla="*/ 2147483646 w 156"/>
                  <a:gd name="T17" fmla="*/ 0 h 161"/>
                  <a:gd name="T18" fmla="*/ 2147483646 w 156"/>
                  <a:gd name="T19" fmla="*/ 2147483646 h 161"/>
                  <a:gd name="T20" fmla="*/ 2147483646 w 156"/>
                  <a:gd name="T21" fmla="*/ 2147483646 h 161"/>
                  <a:gd name="T22" fmla="*/ 0 w 156"/>
                  <a:gd name="T23" fmla="*/ 2147483646 h 161"/>
                  <a:gd name="T24" fmla="*/ 2147483646 w 156"/>
                  <a:gd name="T25" fmla="*/ 2147483646 h 161"/>
                  <a:gd name="T26" fmla="*/ 2147483646 w 156"/>
                  <a:gd name="T27" fmla="*/ 2147483646 h 161"/>
                  <a:gd name="T28" fmla="*/ 2147483646 w 156"/>
                  <a:gd name="T29" fmla="*/ 2147483646 h 161"/>
                  <a:gd name="T30" fmla="*/ 2147483646 w 156"/>
                  <a:gd name="T31" fmla="*/ 2147483646 h 161"/>
                  <a:gd name="T32" fmla="*/ 2147483646 w 156"/>
                  <a:gd name="T33" fmla="*/ 2147483646 h 161"/>
                  <a:gd name="T34" fmla="*/ 2147483646 w 156"/>
                  <a:gd name="T35" fmla="*/ 2147483646 h 161"/>
                  <a:gd name="T36" fmla="*/ 2147483646 w 156"/>
                  <a:gd name="T37" fmla="*/ 2147483646 h 161"/>
                  <a:gd name="T38" fmla="*/ 2147483646 w 156"/>
                  <a:gd name="T39" fmla="*/ 2147483646 h 161"/>
                  <a:gd name="T40" fmla="*/ 2147483646 w 156"/>
                  <a:gd name="T41" fmla="*/ 2147483646 h 161"/>
                  <a:gd name="T42" fmla="*/ 2147483646 w 156"/>
                  <a:gd name="T43" fmla="*/ 2147483646 h 161"/>
                  <a:gd name="T44" fmla="*/ 2147483646 w 156"/>
                  <a:gd name="T45" fmla="*/ 2147483646 h 161"/>
                  <a:gd name="T46" fmla="*/ 2147483646 w 156"/>
                  <a:gd name="T47" fmla="*/ 2147483646 h 161"/>
                  <a:gd name="T48" fmla="*/ 2147483646 w 156"/>
                  <a:gd name="T49" fmla="*/ 2147483646 h 161"/>
                  <a:gd name="T50" fmla="*/ 2147483646 w 156"/>
                  <a:gd name="T51" fmla="*/ 2147483646 h 161"/>
                  <a:gd name="T52" fmla="*/ 2147483646 w 156"/>
                  <a:gd name="T53" fmla="*/ 2147483646 h 161"/>
                  <a:gd name="T54" fmla="*/ 2147483646 w 156"/>
                  <a:gd name="T55" fmla="*/ 2147483646 h 161"/>
                  <a:gd name="T56" fmla="*/ 2147483646 w 156"/>
                  <a:gd name="T57" fmla="*/ 2147483646 h 161"/>
                  <a:gd name="T58" fmla="*/ 2147483646 w 156"/>
                  <a:gd name="T59" fmla="*/ 2147483646 h 161"/>
                  <a:gd name="T60" fmla="*/ 2147483646 w 156"/>
                  <a:gd name="T61" fmla="*/ 2147483646 h 161"/>
                  <a:gd name="T62" fmla="*/ 2147483646 w 156"/>
                  <a:gd name="T63" fmla="*/ 2147483646 h 161"/>
                  <a:gd name="T64" fmla="*/ 2147483646 w 156"/>
                  <a:gd name="T65" fmla="*/ 2147483646 h 161"/>
                  <a:gd name="T66" fmla="*/ 2147483646 w 156"/>
                  <a:gd name="T67" fmla="*/ 2147483646 h 161"/>
                  <a:gd name="T68" fmla="*/ 2147483646 w 156"/>
                  <a:gd name="T69" fmla="*/ 2147483646 h 161"/>
                  <a:gd name="T70" fmla="*/ 2147483646 w 156"/>
                  <a:gd name="T71" fmla="*/ 2147483646 h 161"/>
                  <a:gd name="T72" fmla="*/ 2147483646 w 156"/>
                  <a:gd name="T73" fmla="*/ 2147483646 h 16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6" h="161">
                    <a:moveTo>
                      <a:pt x="120" y="64"/>
                    </a:moveTo>
                    <a:lnTo>
                      <a:pt x="120" y="137"/>
                    </a:lnTo>
                    <a:lnTo>
                      <a:pt x="127" y="137"/>
                    </a:lnTo>
                    <a:lnTo>
                      <a:pt x="127" y="55"/>
                    </a:lnTo>
                    <a:lnTo>
                      <a:pt x="120" y="64"/>
                    </a:lnTo>
                    <a:close/>
                    <a:moveTo>
                      <a:pt x="0" y="144"/>
                    </a:moveTo>
                    <a:lnTo>
                      <a:pt x="156" y="144"/>
                    </a:lnTo>
                    <a:lnTo>
                      <a:pt x="156" y="161"/>
                    </a:lnTo>
                    <a:lnTo>
                      <a:pt x="0" y="161"/>
                    </a:lnTo>
                    <a:lnTo>
                      <a:pt x="0" y="144"/>
                    </a:lnTo>
                    <a:close/>
                    <a:moveTo>
                      <a:pt x="0" y="100"/>
                    </a:moveTo>
                    <a:lnTo>
                      <a:pt x="49" y="50"/>
                    </a:lnTo>
                    <a:lnTo>
                      <a:pt x="71" y="71"/>
                    </a:lnTo>
                    <a:lnTo>
                      <a:pt x="130" y="12"/>
                    </a:lnTo>
                    <a:lnTo>
                      <a:pt x="118" y="0"/>
                    </a:lnTo>
                    <a:lnTo>
                      <a:pt x="156" y="0"/>
                    </a:lnTo>
                    <a:lnTo>
                      <a:pt x="156" y="38"/>
                    </a:lnTo>
                    <a:lnTo>
                      <a:pt x="144" y="26"/>
                    </a:lnTo>
                    <a:lnTo>
                      <a:pt x="71" y="100"/>
                    </a:lnTo>
                    <a:lnTo>
                      <a:pt x="49" y="78"/>
                    </a:lnTo>
                    <a:lnTo>
                      <a:pt x="0" y="128"/>
                    </a:lnTo>
                    <a:lnTo>
                      <a:pt x="0" y="100"/>
                    </a:lnTo>
                    <a:close/>
                    <a:moveTo>
                      <a:pt x="134" y="48"/>
                    </a:moveTo>
                    <a:lnTo>
                      <a:pt x="134" y="137"/>
                    </a:lnTo>
                    <a:lnTo>
                      <a:pt x="144" y="137"/>
                    </a:lnTo>
                    <a:lnTo>
                      <a:pt x="144" y="38"/>
                    </a:lnTo>
                    <a:lnTo>
                      <a:pt x="134" y="48"/>
                    </a:lnTo>
                    <a:close/>
                    <a:moveTo>
                      <a:pt x="14" y="128"/>
                    </a:moveTo>
                    <a:lnTo>
                      <a:pt x="14" y="137"/>
                    </a:lnTo>
                    <a:lnTo>
                      <a:pt x="21" y="137"/>
                    </a:lnTo>
                    <a:lnTo>
                      <a:pt x="21" y="118"/>
                    </a:lnTo>
                    <a:lnTo>
                      <a:pt x="14" y="128"/>
                    </a:lnTo>
                    <a:close/>
                    <a:moveTo>
                      <a:pt x="28" y="111"/>
                    </a:moveTo>
                    <a:lnTo>
                      <a:pt x="28" y="137"/>
                    </a:lnTo>
                    <a:lnTo>
                      <a:pt x="38" y="137"/>
                    </a:lnTo>
                    <a:lnTo>
                      <a:pt x="38" y="104"/>
                    </a:lnTo>
                    <a:lnTo>
                      <a:pt x="28" y="111"/>
                    </a:lnTo>
                    <a:close/>
                    <a:moveTo>
                      <a:pt x="42" y="97"/>
                    </a:moveTo>
                    <a:lnTo>
                      <a:pt x="42" y="137"/>
                    </a:lnTo>
                    <a:lnTo>
                      <a:pt x="52" y="137"/>
                    </a:lnTo>
                    <a:lnTo>
                      <a:pt x="52" y="93"/>
                    </a:lnTo>
                    <a:lnTo>
                      <a:pt x="49" y="90"/>
                    </a:lnTo>
                    <a:lnTo>
                      <a:pt x="42" y="97"/>
                    </a:lnTo>
                    <a:close/>
                    <a:moveTo>
                      <a:pt x="59" y="100"/>
                    </a:moveTo>
                    <a:lnTo>
                      <a:pt x="59" y="137"/>
                    </a:lnTo>
                    <a:lnTo>
                      <a:pt x="68" y="137"/>
                    </a:lnTo>
                    <a:lnTo>
                      <a:pt x="68" y="109"/>
                    </a:lnTo>
                    <a:lnTo>
                      <a:pt x="61" y="102"/>
                    </a:lnTo>
                    <a:lnTo>
                      <a:pt x="59" y="100"/>
                    </a:lnTo>
                    <a:close/>
                    <a:moveTo>
                      <a:pt x="73" y="109"/>
                    </a:moveTo>
                    <a:lnTo>
                      <a:pt x="73" y="137"/>
                    </a:lnTo>
                    <a:lnTo>
                      <a:pt x="82" y="137"/>
                    </a:lnTo>
                    <a:lnTo>
                      <a:pt x="82" y="100"/>
                    </a:lnTo>
                    <a:lnTo>
                      <a:pt x="80" y="102"/>
                    </a:lnTo>
                    <a:lnTo>
                      <a:pt x="73" y="109"/>
                    </a:lnTo>
                    <a:close/>
                    <a:moveTo>
                      <a:pt x="90" y="95"/>
                    </a:moveTo>
                    <a:lnTo>
                      <a:pt x="90" y="137"/>
                    </a:lnTo>
                    <a:lnTo>
                      <a:pt x="99" y="137"/>
                    </a:lnTo>
                    <a:lnTo>
                      <a:pt x="99" y="85"/>
                    </a:lnTo>
                    <a:lnTo>
                      <a:pt x="90" y="95"/>
                    </a:lnTo>
                    <a:close/>
                    <a:moveTo>
                      <a:pt x="104" y="78"/>
                    </a:moveTo>
                    <a:lnTo>
                      <a:pt x="104" y="137"/>
                    </a:lnTo>
                    <a:lnTo>
                      <a:pt x="113" y="137"/>
                    </a:lnTo>
                    <a:lnTo>
                      <a:pt x="113" y="69"/>
                    </a:lnTo>
                    <a:lnTo>
                      <a:pt x="104" y="7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115" name="组合 18"/>
            <p:cNvGrpSpPr/>
            <p:nvPr/>
          </p:nvGrpSpPr>
          <p:grpSpPr bwMode="auto">
            <a:xfrm>
              <a:off x="6575896" y="-956651"/>
              <a:ext cx="421484" cy="293471"/>
              <a:chOff x="3626849" y="2596125"/>
              <a:chExt cx="360598" cy="251077"/>
            </a:xfrm>
          </p:grpSpPr>
          <p:sp>
            <p:nvSpPr>
              <p:cNvPr id="38" name="矩形 37"/>
              <p:cNvSpPr/>
              <p:nvPr/>
            </p:nvSpPr>
            <p:spPr>
              <a:xfrm>
                <a:off x="3626651" y="2596123"/>
                <a:ext cx="360168" cy="25107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>
                <a:lvl1pPr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3154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3154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zh-CN" altLang="en-US" sz="2200" smtClean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31" name="Freeform 29"/>
              <p:cNvSpPr>
                <a:spLocks noEditPoints="1"/>
              </p:cNvSpPr>
              <p:nvPr/>
            </p:nvSpPr>
            <p:spPr bwMode="auto">
              <a:xfrm>
                <a:off x="3727461" y="2649037"/>
                <a:ext cx="159374" cy="155251"/>
              </a:xfrm>
              <a:custGeom>
                <a:avLst/>
                <a:gdLst>
                  <a:gd name="T0" fmla="*/ 2147483646 w 33"/>
                  <a:gd name="T1" fmla="*/ 2147483646 h 32"/>
                  <a:gd name="T2" fmla="*/ 2147483646 w 33"/>
                  <a:gd name="T3" fmla="*/ 0 h 32"/>
                  <a:gd name="T4" fmla="*/ 2147483646 w 33"/>
                  <a:gd name="T5" fmla="*/ 0 h 32"/>
                  <a:gd name="T6" fmla="*/ 2147483646 w 33"/>
                  <a:gd name="T7" fmla="*/ 0 h 32"/>
                  <a:gd name="T8" fmla="*/ 2147483646 w 33"/>
                  <a:gd name="T9" fmla="*/ 2147483646 h 32"/>
                  <a:gd name="T10" fmla="*/ 2147483646 w 33"/>
                  <a:gd name="T11" fmla="*/ 2147483646 h 32"/>
                  <a:gd name="T12" fmla="*/ 2147483646 w 33"/>
                  <a:gd name="T13" fmla="*/ 2147483646 h 32"/>
                  <a:gd name="T14" fmla="*/ 2147483646 w 33"/>
                  <a:gd name="T15" fmla="*/ 2147483646 h 32"/>
                  <a:gd name="T16" fmla="*/ 2147483646 w 33"/>
                  <a:gd name="T17" fmla="*/ 2147483646 h 32"/>
                  <a:gd name="T18" fmla="*/ 0 w 33"/>
                  <a:gd name="T19" fmla="*/ 2147483646 h 32"/>
                  <a:gd name="T20" fmla="*/ 2147483646 w 33"/>
                  <a:gd name="T21" fmla="*/ 2147483646 h 32"/>
                  <a:gd name="T22" fmla="*/ 2147483646 w 33"/>
                  <a:gd name="T23" fmla="*/ 2147483646 h 32"/>
                  <a:gd name="T24" fmla="*/ 2147483646 w 33"/>
                  <a:gd name="T25" fmla="*/ 2147483646 h 32"/>
                  <a:gd name="T26" fmla="*/ 2147483646 w 33"/>
                  <a:gd name="T27" fmla="*/ 2147483646 h 32"/>
                  <a:gd name="T28" fmla="*/ 2147483646 w 33"/>
                  <a:gd name="T29" fmla="*/ 2147483646 h 32"/>
                  <a:gd name="T30" fmla="*/ 2147483646 w 33"/>
                  <a:gd name="T31" fmla="*/ 2147483646 h 32"/>
                  <a:gd name="T32" fmla="*/ 2147483646 w 33"/>
                  <a:gd name="T33" fmla="*/ 2147483646 h 32"/>
                  <a:gd name="T34" fmla="*/ 2147483646 w 33"/>
                  <a:gd name="T35" fmla="*/ 2147483646 h 32"/>
                  <a:gd name="T36" fmla="*/ 2147483646 w 33"/>
                  <a:gd name="T37" fmla="*/ 2147483646 h 32"/>
                  <a:gd name="T38" fmla="*/ 2147483646 w 33"/>
                  <a:gd name="T39" fmla="*/ 2147483646 h 32"/>
                  <a:gd name="T40" fmla="*/ 2147483646 w 33"/>
                  <a:gd name="T41" fmla="*/ 2147483646 h 32"/>
                  <a:gd name="T42" fmla="*/ 2147483646 w 33"/>
                  <a:gd name="T43" fmla="*/ 2147483646 h 32"/>
                  <a:gd name="T44" fmla="*/ 2147483646 w 33"/>
                  <a:gd name="T45" fmla="*/ 2147483646 h 32"/>
                  <a:gd name="T46" fmla="*/ 2147483646 w 33"/>
                  <a:gd name="T47" fmla="*/ 2147483646 h 32"/>
                  <a:gd name="T48" fmla="*/ 2147483646 w 33"/>
                  <a:gd name="T49" fmla="*/ 2147483646 h 32"/>
                  <a:gd name="T50" fmla="*/ 2147483646 w 33"/>
                  <a:gd name="T51" fmla="*/ 2147483646 h 32"/>
                  <a:gd name="T52" fmla="*/ 2147483646 w 33"/>
                  <a:gd name="T53" fmla="*/ 2147483646 h 32"/>
                  <a:gd name="T54" fmla="*/ 2147483646 w 33"/>
                  <a:gd name="T55" fmla="*/ 2147483646 h 32"/>
                  <a:gd name="T56" fmla="*/ 2147483646 w 33"/>
                  <a:gd name="T57" fmla="*/ 2147483646 h 32"/>
                  <a:gd name="T58" fmla="*/ 2147483646 w 33"/>
                  <a:gd name="T59" fmla="*/ 2147483646 h 32"/>
                  <a:gd name="T60" fmla="*/ 2147483646 w 33"/>
                  <a:gd name="T61" fmla="*/ 2147483646 h 32"/>
                  <a:gd name="T62" fmla="*/ 2147483646 w 33"/>
                  <a:gd name="T63" fmla="*/ 2147483646 h 32"/>
                  <a:gd name="T64" fmla="*/ 2147483646 w 33"/>
                  <a:gd name="T65" fmla="*/ 2147483646 h 32"/>
                  <a:gd name="T66" fmla="*/ 2147483646 w 33"/>
                  <a:gd name="T67" fmla="*/ 2147483646 h 32"/>
                  <a:gd name="T68" fmla="*/ 2147483646 w 33"/>
                  <a:gd name="T69" fmla="*/ 2147483646 h 32"/>
                  <a:gd name="T70" fmla="*/ 2147483646 w 33"/>
                  <a:gd name="T71" fmla="*/ 2147483646 h 32"/>
                  <a:gd name="T72" fmla="*/ 2147483646 w 33"/>
                  <a:gd name="T73" fmla="*/ 2147483646 h 32"/>
                  <a:gd name="T74" fmla="*/ 2147483646 w 33"/>
                  <a:gd name="T75" fmla="*/ 2147483646 h 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" h="32">
                    <a:moveTo>
                      <a:pt x="2" y="16"/>
                    </a:moveTo>
                    <a:cubicBezTo>
                      <a:pt x="8" y="16"/>
                      <a:pt x="8" y="16"/>
                      <a:pt x="8" y="1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2" y="16"/>
                      <a:pt x="33" y="17"/>
                      <a:pt x="33" y="1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2" y="32"/>
                      <a:pt x="31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1" y="16"/>
                      <a:pt x="2" y="16"/>
                    </a:cubicBezTo>
                    <a:close/>
                    <a:moveTo>
                      <a:pt x="10" y="16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7"/>
                      <a:pt x="12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5"/>
                      <a:pt x="12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2"/>
                      <a:pt x="10" y="3"/>
                      <a:pt x="10" y="4"/>
                    </a:cubicBezTo>
                    <a:cubicBezTo>
                      <a:pt x="10" y="16"/>
                      <a:pt x="10" y="16"/>
                      <a:pt x="10" y="16"/>
                    </a:cubicBezTo>
                    <a:close/>
                    <a:moveTo>
                      <a:pt x="12" y="10"/>
                    </a:move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1" y="9"/>
                      <a:pt x="21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9"/>
                      <a:pt x="12" y="9"/>
                      <a:pt x="12" y="10"/>
                    </a:cubicBezTo>
                    <a:close/>
                    <a:moveTo>
                      <a:pt x="21" y="13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3"/>
                      <a:pt x="12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13"/>
                      <a:pt x="21" y="13"/>
                      <a:pt x="21" y="13"/>
                    </a:cubicBezTo>
                    <a:close/>
                    <a:moveTo>
                      <a:pt x="19" y="6"/>
                    </a:moveTo>
                    <a:cubicBezTo>
                      <a:pt x="24" y="6"/>
                      <a:pt x="24" y="6"/>
                      <a:pt x="24" y="6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lose/>
                    <a:moveTo>
                      <a:pt x="8" y="22"/>
                    </a:moveTo>
                    <a:cubicBezTo>
                      <a:pt x="7" y="24"/>
                      <a:pt x="6" y="25"/>
                      <a:pt x="6" y="26"/>
                    </a:cubicBezTo>
                    <a:cubicBezTo>
                      <a:pt x="6" y="26"/>
                      <a:pt x="7" y="27"/>
                      <a:pt x="7" y="27"/>
                    </a:cubicBezTo>
                    <a:cubicBezTo>
                      <a:pt x="7" y="27"/>
                      <a:pt x="8" y="27"/>
                      <a:pt x="8" y="27"/>
                    </a:cubicBezTo>
                    <a:cubicBezTo>
                      <a:pt x="10" y="27"/>
                      <a:pt x="11" y="27"/>
                      <a:pt x="12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4"/>
                      <a:pt x="13" y="23"/>
                      <a:pt x="17" y="23"/>
                    </a:cubicBezTo>
                    <a:cubicBezTo>
                      <a:pt x="20" y="23"/>
                      <a:pt x="21" y="24"/>
                      <a:pt x="22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7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7" y="26"/>
                    </a:cubicBezTo>
                    <a:cubicBezTo>
                      <a:pt x="27" y="25"/>
                      <a:pt x="26" y="24"/>
                      <a:pt x="25" y="22"/>
                    </a:cubicBezTo>
                    <a:cubicBezTo>
                      <a:pt x="23" y="21"/>
                      <a:pt x="20" y="21"/>
                      <a:pt x="17" y="21"/>
                    </a:cubicBezTo>
                    <a:cubicBezTo>
                      <a:pt x="15" y="21"/>
                      <a:pt x="13" y="21"/>
                      <a:pt x="12" y="21"/>
                    </a:cubicBezTo>
                    <a:cubicBezTo>
                      <a:pt x="11" y="21"/>
                      <a:pt x="9" y="22"/>
                      <a:pt x="8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116" name="组合 19"/>
            <p:cNvGrpSpPr/>
            <p:nvPr/>
          </p:nvGrpSpPr>
          <p:grpSpPr bwMode="auto">
            <a:xfrm>
              <a:off x="7047030" y="-956651"/>
              <a:ext cx="421484" cy="293471"/>
              <a:chOff x="4117406" y="2596125"/>
              <a:chExt cx="360598" cy="251077"/>
            </a:xfrm>
          </p:grpSpPr>
          <p:sp>
            <p:nvSpPr>
              <p:cNvPr id="4128" name="矩形 35"/>
              <p:cNvSpPr>
                <a:spLocks noChangeArrowheads="1"/>
              </p:cNvSpPr>
              <p:nvPr/>
            </p:nvSpPr>
            <p:spPr bwMode="auto">
              <a:xfrm>
                <a:off x="4117406" y="2596125"/>
                <a:ext cx="360598" cy="251077"/>
              </a:xfrm>
              <a:prstGeom prst="rect">
                <a:avLst/>
              </a:pr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9" name="Freeform 74"/>
              <p:cNvSpPr>
                <a:spLocks noEditPoints="1"/>
              </p:cNvSpPr>
              <p:nvPr/>
            </p:nvSpPr>
            <p:spPr bwMode="auto">
              <a:xfrm>
                <a:off x="4229800" y="2658649"/>
                <a:ext cx="135810" cy="136025"/>
              </a:xfrm>
              <a:custGeom>
                <a:avLst/>
                <a:gdLst>
                  <a:gd name="T0" fmla="*/ 29919729 w 242"/>
                  <a:gd name="T1" fmla="*/ 65715813 h 242"/>
                  <a:gd name="T2" fmla="*/ 20786226 w 242"/>
                  <a:gd name="T3" fmla="*/ 66347599 h 242"/>
                  <a:gd name="T4" fmla="*/ 10708226 w 242"/>
                  <a:gd name="T5" fmla="*/ 65084028 h 242"/>
                  <a:gd name="T6" fmla="*/ 9448335 w 242"/>
                  <a:gd name="T7" fmla="*/ 54973773 h 242"/>
                  <a:gd name="T8" fmla="*/ 11652722 w 242"/>
                  <a:gd name="T9" fmla="*/ 48970686 h 242"/>
                  <a:gd name="T10" fmla="*/ 5984058 w 242"/>
                  <a:gd name="T11" fmla="*/ 46127651 h 242"/>
                  <a:gd name="T12" fmla="*/ 0 w 242"/>
                  <a:gd name="T13" fmla="*/ 37596860 h 242"/>
                  <a:gd name="T14" fmla="*/ 6298890 w 242"/>
                  <a:gd name="T15" fmla="*/ 30014310 h 242"/>
                  <a:gd name="T16" fmla="*/ 11652722 w 242"/>
                  <a:gd name="T17" fmla="*/ 27487168 h 242"/>
                  <a:gd name="T18" fmla="*/ 9763168 w 242"/>
                  <a:gd name="T19" fmla="*/ 21168188 h 242"/>
                  <a:gd name="T20" fmla="*/ 10708226 w 242"/>
                  <a:gd name="T21" fmla="*/ 10742040 h 242"/>
                  <a:gd name="T22" fmla="*/ 21415890 w 242"/>
                  <a:gd name="T23" fmla="*/ 9794362 h 242"/>
                  <a:gd name="T24" fmla="*/ 27714780 w 242"/>
                  <a:gd name="T25" fmla="*/ 11373826 h 242"/>
                  <a:gd name="T26" fmla="*/ 30234561 w 242"/>
                  <a:gd name="T27" fmla="*/ 6318980 h 242"/>
                  <a:gd name="T28" fmla="*/ 38423006 w 242"/>
                  <a:gd name="T29" fmla="*/ 0 h 242"/>
                  <a:gd name="T30" fmla="*/ 45981787 w 242"/>
                  <a:gd name="T31" fmla="*/ 6634872 h 242"/>
                  <a:gd name="T32" fmla="*/ 48186174 w 242"/>
                  <a:gd name="T33" fmla="*/ 11373826 h 242"/>
                  <a:gd name="T34" fmla="*/ 54170232 w 242"/>
                  <a:gd name="T35" fmla="*/ 10110255 h 242"/>
                  <a:gd name="T36" fmla="*/ 65508122 w 242"/>
                  <a:gd name="T37" fmla="*/ 11057933 h 242"/>
                  <a:gd name="T38" fmla="*/ 65508122 w 242"/>
                  <a:gd name="T39" fmla="*/ 21799974 h 242"/>
                  <a:gd name="T40" fmla="*/ 64563625 w 242"/>
                  <a:gd name="T41" fmla="*/ 27803060 h 242"/>
                  <a:gd name="T42" fmla="*/ 69287793 w 242"/>
                  <a:gd name="T43" fmla="*/ 30014310 h 242"/>
                  <a:gd name="T44" fmla="*/ 76216348 w 242"/>
                  <a:gd name="T45" fmla="*/ 37912753 h 242"/>
                  <a:gd name="T46" fmla="*/ 69287793 w 242"/>
                  <a:gd name="T47" fmla="*/ 46127651 h 242"/>
                  <a:gd name="T48" fmla="*/ 64563625 w 242"/>
                  <a:gd name="T49" fmla="*/ 48338901 h 242"/>
                  <a:gd name="T50" fmla="*/ 65822954 w 242"/>
                  <a:gd name="T51" fmla="*/ 54341987 h 242"/>
                  <a:gd name="T52" fmla="*/ 65193290 w 242"/>
                  <a:gd name="T53" fmla="*/ 65084028 h 242"/>
                  <a:gd name="T54" fmla="*/ 54170232 w 242"/>
                  <a:gd name="T55" fmla="*/ 65715813 h 242"/>
                  <a:gd name="T56" fmla="*/ 48816399 w 242"/>
                  <a:gd name="T57" fmla="*/ 64452242 h 242"/>
                  <a:gd name="T58" fmla="*/ 45981787 w 242"/>
                  <a:gd name="T59" fmla="*/ 68243518 h 242"/>
                  <a:gd name="T60" fmla="*/ 36848283 w 242"/>
                  <a:gd name="T61" fmla="*/ 76457854 h 242"/>
                  <a:gd name="T62" fmla="*/ 30234561 w 242"/>
                  <a:gd name="T63" fmla="*/ 67295277 h 242"/>
                  <a:gd name="T64" fmla="*/ 29919729 w 242"/>
                  <a:gd name="T65" fmla="*/ 65715813 h 242"/>
                  <a:gd name="T66" fmla="*/ 38108174 w 242"/>
                  <a:gd name="T67" fmla="*/ 53078416 h 242"/>
                  <a:gd name="T68" fmla="*/ 52910341 w 242"/>
                  <a:gd name="T69" fmla="*/ 37912753 h 242"/>
                  <a:gd name="T70" fmla="*/ 38423006 w 242"/>
                  <a:gd name="T71" fmla="*/ 23379437 h 242"/>
                  <a:gd name="T72" fmla="*/ 23306006 w 242"/>
                  <a:gd name="T73" fmla="*/ 37912753 h 242"/>
                  <a:gd name="T74" fmla="*/ 38108174 w 242"/>
                  <a:gd name="T75" fmla="*/ 53078416 h 24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242" h="242">
                    <a:moveTo>
                      <a:pt x="95" y="208"/>
                    </a:moveTo>
                    <a:cubicBezTo>
                      <a:pt x="85" y="199"/>
                      <a:pt x="76" y="199"/>
                      <a:pt x="66" y="210"/>
                    </a:cubicBezTo>
                    <a:cubicBezTo>
                      <a:pt x="54" y="223"/>
                      <a:pt x="44" y="216"/>
                      <a:pt x="34" y="206"/>
                    </a:cubicBezTo>
                    <a:cubicBezTo>
                      <a:pt x="24" y="196"/>
                      <a:pt x="20" y="187"/>
                      <a:pt x="30" y="174"/>
                    </a:cubicBezTo>
                    <a:cubicBezTo>
                      <a:pt x="34" y="169"/>
                      <a:pt x="39" y="160"/>
                      <a:pt x="37" y="155"/>
                    </a:cubicBezTo>
                    <a:cubicBezTo>
                      <a:pt x="36" y="150"/>
                      <a:pt x="26" y="147"/>
                      <a:pt x="19" y="146"/>
                    </a:cubicBezTo>
                    <a:cubicBezTo>
                      <a:pt x="2" y="144"/>
                      <a:pt x="0" y="133"/>
                      <a:pt x="0" y="119"/>
                    </a:cubicBezTo>
                    <a:cubicBezTo>
                      <a:pt x="0" y="105"/>
                      <a:pt x="5" y="97"/>
                      <a:pt x="20" y="95"/>
                    </a:cubicBezTo>
                    <a:cubicBezTo>
                      <a:pt x="26" y="95"/>
                      <a:pt x="36" y="91"/>
                      <a:pt x="37" y="87"/>
                    </a:cubicBezTo>
                    <a:cubicBezTo>
                      <a:pt x="38" y="81"/>
                      <a:pt x="36" y="72"/>
                      <a:pt x="31" y="67"/>
                    </a:cubicBezTo>
                    <a:cubicBezTo>
                      <a:pt x="20" y="55"/>
                      <a:pt x="23" y="45"/>
                      <a:pt x="34" y="34"/>
                    </a:cubicBezTo>
                    <a:cubicBezTo>
                      <a:pt x="44" y="24"/>
                      <a:pt x="54" y="19"/>
                      <a:pt x="68" y="31"/>
                    </a:cubicBezTo>
                    <a:cubicBezTo>
                      <a:pt x="73" y="35"/>
                      <a:pt x="82" y="38"/>
                      <a:pt x="88" y="36"/>
                    </a:cubicBezTo>
                    <a:cubicBezTo>
                      <a:pt x="92" y="35"/>
                      <a:pt x="95" y="26"/>
                      <a:pt x="96" y="20"/>
                    </a:cubicBezTo>
                    <a:cubicBezTo>
                      <a:pt x="97" y="2"/>
                      <a:pt x="108" y="0"/>
                      <a:pt x="122" y="0"/>
                    </a:cubicBezTo>
                    <a:cubicBezTo>
                      <a:pt x="137" y="0"/>
                      <a:pt x="146" y="4"/>
                      <a:pt x="146" y="21"/>
                    </a:cubicBezTo>
                    <a:cubicBezTo>
                      <a:pt x="146" y="26"/>
                      <a:pt x="150" y="35"/>
                      <a:pt x="153" y="36"/>
                    </a:cubicBezTo>
                    <a:cubicBezTo>
                      <a:pt x="159" y="38"/>
                      <a:pt x="168" y="36"/>
                      <a:pt x="172" y="32"/>
                    </a:cubicBezTo>
                    <a:cubicBezTo>
                      <a:pt x="186" y="20"/>
                      <a:pt x="196" y="23"/>
                      <a:pt x="208" y="35"/>
                    </a:cubicBezTo>
                    <a:cubicBezTo>
                      <a:pt x="220" y="47"/>
                      <a:pt x="220" y="57"/>
                      <a:pt x="208" y="69"/>
                    </a:cubicBezTo>
                    <a:cubicBezTo>
                      <a:pt x="205" y="73"/>
                      <a:pt x="203" y="82"/>
                      <a:pt x="205" y="88"/>
                    </a:cubicBezTo>
                    <a:cubicBezTo>
                      <a:pt x="206" y="92"/>
                      <a:pt x="215" y="95"/>
                      <a:pt x="220" y="95"/>
                    </a:cubicBezTo>
                    <a:cubicBezTo>
                      <a:pt x="237" y="96"/>
                      <a:pt x="242" y="104"/>
                      <a:pt x="242" y="120"/>
                    </a:cubicBezTo>
                    <a:cubicBezTo>
                      <a:pt x="242" y="135"/>
                      <a:pt x="238" y="145"/>
                      <a:pt x="220" y="146"/>
                    </a:cubicBezTo>
                    <a:cubicBezTo>
                      <a:pt x="215" y="146"/>
                      <a:pt x="206" y="150"/>
                      <a:pt x="205" y="153"/>
                    </a:cubicBezTo>
                    <a:cubicBezTo>
                      <a:pt x="203" y="159"/>
                      <a:pt x="205" y="168"/>
                      <a:pt x="209" y="172"/>
                    </a:cubicBezTo>
                    <a:cubicBezTo>
                      <a:pt x="221" y="185"/>
                      <a:pt x="218" y="195"/>
                      <a:pt x="207" y="206"/>
                    </a:cubicBezTo>
                    <a:cubicBezTo>
                      <a:pt x="195" y="218"/>
                      <a:pt x="185" y="220"/>
                      <a:pt x="172" y="208"/>
                    </a:cubicBezTo>
                    <a:cubicBezTo>
                      <a:pt x="168" y="205"/>
                      <a:pt x="160" y="203"/>
                      <a:pt x="155" y="204"/>
                    </a:cubicBezTo>
                    <a:cubicBezTo>
                      <a:pt x="151" y="204"/>
                      <a:pt x="146" y="212"/>
                      <a:pt x="146" y="216"/>
                    </a:cubicBezTo>
                    <a:cubicBezTo>
                      <a:pt x="147" y="237"/>
                      <a:pt x="136" y="242"/>
                      <a:pt x="117" y="242"/>
                    </a:cubicBezTo>
                    <a:cubicBezTo>
                      <a:pt x="97" y="241"/>
                      <a:pt x="95" y="229"/>
                      <a:pt x="96" y="213"/>
                    </a:cubicBezTo>
                    <a:cubicBezTo>
                      <a:pt x="96" y="211"/>
                      <a:pt x="96" y="209"/>
                      <a:pt x="95" y="208"/>
                    </a:cubicBezTo>
                    <a:close/>
                    <a:moveTo>
                      <a:pt x="121" y="168"/>
                    </a:moveTo>
                    <a:cubicBezTo>
                      <a:pt x="146" y="167"/>
                      <a:pt x="169" y="144"/>
                      <a:pt x="168" y="120"/>
                    </a:cubicBezTo>
                    <a:cubicBezTo>
                      <a:pt x="167" y="96"/>
                      <a:pt x="145" y="74"/>
                      <a:pt x="122" y="74"/>
                    </a:cubicBezTo>
                    <a:cubicBezTo>
                      <a:pt x="97" y="73"/>
                      <a:pt x="74" y="96"/>
                      <a:pt x="74" y="120"/>
                    </a:cubicBezTo>
                    <a:cubicBezTo>
                      <a:pt x="74" y="145"/>
                      <a:pt x="97" y="168"/>
                      <a:pt x="121" y="1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4117" name="组合 20"/>
            <p:cNvGrpSpPr/>
            <p:nvPr/>
          </p:nvGrpSpPr>
          <p:grpSpPr bwMode="auto">
            <a:xfrm>
              <a:off x="7518164" y="-956651"/>
              <a:ext cx="421484" cy="293471"/>
              <a:chOff x="4607963" y="2596125"/>
              <a:chExt cx="360598" cy="251077"/>
            </a:xfrm>
          </p:grpSpPr>
          <p:sp>
            <p:nvSpPr>
              <p:cNvPr id="30" name="矩形 29"/>
              <p:cNvSpPr/>
              <p:nvPr/>
            </p:nvSpPr>
            <p:spPr>
              <a:xfrm>
                <a:off x="4607367" y="2596123"/>
                <a:ext cx="361592" cy="251079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1" name="组合 30"/>
              <p:cNvGrpSpPr/>
              <p:nvPr/>
            </p:nvGrpSpPr>
            <p:grpSpPr>
              <a:xfrm>
                <a:off x="4715567" y="2645498"/>
                <a:ext cx="145959" cy="158790"/>
                <a:chOff x="834020" y="2567046"/>
                <a:chExt cx="421058" cy="458075"/>
              </a:xfrm>
              <a:solidFill>
                <a:schemeClr val="bg1">
                  <a:alpha val="90000"/>
                </a:schemeClr>
              </a:solidFill>
            </p:grpSpPr>
            <p:sp>
              <p:nvSpPr>
                <p:cNvPr id="32" name="Freeform 86"/>
                <p:cNvSpPr/>
                <p:nvPr/>
              </p:nvSpPr>
              <p:spPr bwMode="auto">
                <a:xfrm>
                  <a:off x="834020" y="2734634"/>
                  <a:ext cx="421058" cy="290487"/>
                </a:xfrm>
                <a:custGeom>
                  <a:avLst/>
                  <a:gdLst>
                    <a:gd name="T0" fmla="*/ 129 w 203"/>
                    <a:gd name="T1" fmla="*/ 90 h 154"/>
                    <a:gd name="T2" fmla="*/ 129 w 203"/>
                    <a:gd name="T3" fmla="*/ 127 h 154"/>
                    <a:gd name="T4" fmla="*/ 104 w 203"/>
                    <a:gd name="T5" fmla="*/ 154 h 154"/>
                    <a:gd name="T6" fmla="*/ 79 w 203"/>
                    <a:gd name="T7" fmla="*/ 127 h 154"/>
                    <a:gd name="T8" fmla="*/ 79 w 203"/>
                    <a:gd name="T9" fmla="*/ 100 h 154"/>
                    <a:gd name="T10" fmla="*/ 71 w 203"/>
                    <a:gd name="T11" fmla="*/ 83 h 154"/>
                    <a:gd name="T12" fmla="*/ 65 w 203"/>
                    <a:gd name="T13" fmla="*/ 85 h 154"/>
                    <a:gd name="T14" fmla="*/ 65 w 203"/>
                    <a:gd name="T15" fmla="*/ 119 h 154"/>
                    <a:gd name="T16" fmla="*/ 45 w 203"/>
                    <a:gd name="T17" fmla="*/ 138 h 154"/>
                    <a:gd name="T18" fmla="*/ 23 w 203"/>
                    <a:gd name="T19" fmla="*/ 118 h 154"/>
                    <a:gd name="T20" fmla="*/ 10 w 203"/>
                    <a:gd name="T21" fmla="*/ 66 h 154"/>
                    <a:gd name="T22" fmla="*/ 1 w 203"/>
                    <a:gd name="T23" fmla="*/ 15 h 154"/>
                    <a:gd name="T24" fmla="*/ 13 w 203"/>
                    <a:gd name="T25" fmla="*/ 5 h 154"/>
                    <a:gd name="T26" fmla="*/ 41 w 203"/>
                    <a:gd name="T27" fmla="*/ 0 h 154"/>
                    <a:gd name="T28" fmla="*/ 45 w 203"/>
                    <a:gd name="T29" fmla="*/ 38 h 154"/>
                    <a:gd name="T30" fmla="*/ 54 w 203"/>
                    <a:gd name="T31" fmla="*/ 72 h 154"/>
                    <a:gd name="T32" fmla="*/ 49 w 203"/>
                    <a:gd name="T33" fmla="*/ 28 h 154"/>
                    <a:gd name="T34" fmla="*/ 65 w 203"/>
                    <a:gd name="T35" fmla="*/ 5 h 154"/>
                    <a:gd name="T36" fmla="*/ 144 w 203"/>
                    <a:gd name="T37" fmla="*/ 5 h 154"/>
                    <a:gd name="T38" fmla="*/ 160 w 203"/>
                    <a:gd name="T39" fmla="*/ 25 h 154"/>
                    <a:gd name="T40" fmla="*/ 158 w 203"/>
                    <a:gd name="T41" fmla="*/ 73 h 154"/>
                    <a:gd name="T42" fmla="*/ 168 w 203"/>
                    <a:gd name="T43" fmla="*/ 2 h 154"/>
                    <a:gd name="T44" fmla="*/ 199 w 203"/>
                    <a:gd name="T45" fmla="*/ 37 h 154"/>
                    <a:gd name="T46" fmla="*/ 181 w 203"/>
                    <a:gd name="T47" fmla="*/ 81 h 154"/>
                    <a:gd name="T48" fmla="*/ 177 w 203"/>
                    <a:gd name="T49" fmla="*/ 112 h 154"/>
                    <a:gd name="T50" fmla="*/ 156 w 203"/>
                    <a:gd name="T51" fmla="*/ 138 h 154"/>
                    <a:gd name="T52" fmla="*/ 135 w 203"/>
                    <a:gd name="T53" fmla="*/ 111 h 154"/>
                    <a:gd name="T54" fmla="*/ 135 w 203"/>
                    <a:gd name="T55" fmla="*/ 90 h 154"/>
                    <a:gd name="T56" fmla="*/ 129 w 203"/>
                    <a:gd name="T57" fmla="*/ 9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3" h="154">
                      <a:moveTo>
                        <a:pt x="129" y="90"/>
                      </a:moveTo>
                      <a:cubicBezTo>
                        <a:pt x="129" y="102"/>
                        <a:pt x="128" y="115"/>
                        <a:pt x="129" y="127"/>
                      </a:cubicBezTo>
                      <a:cubicBezTo>
                        <a:pt x="131" y="151"/>
                        <a:pt x="120" y="154"/>
                        <a:pt x="104" y="154"/>
                      </a:cubicBezTo>
                      <a:cubicBezTo>
                        <a:pt x="87" y="153"/>
                        <a:pt x="77" y="150"/>
                        <a:pt x="79" y="127"/>
                      </a:cubicBezTo>
                      <a:cubicBezTo>
                        <a:pt x="80" y="118"/>
                        <a:pt x="80" y="109"/>
                        <a:pt x="79" y="100"/>
                      </a:cubicBezTo>
                      <a:cubicBezTo>
                        <a:pt x="78" y="94"/>
                        <a:pt x="74" y="89"/>
                        <a:pt x="71" y="83"/>
                      </a:cubicBezTo>
                      <a:cubicBezTo>
                        <a:pt x="69" y="84"/>
                        <a:pt x="67" y="85"/>
                        <a:pt x="65" y="85"/>
                      </a:cubicBezTo>
                      <a:cubicBezTo>
                        <a:pt x="65" y="96"/>
                        <a:pt x="65" y="108"/>
                        <a:pt x="65" y="119"/>
                      </a:cubicBezTo>
                      <a:cubicBezTo>
                        <a:pt x="66" y="133"/>
                        <a:pt x="56" y="137"/>
                        <a:pt x="45" y="138"/>
                      </a:cubicBezTo>
                      <a:cubicBezTo>
                        <a:pt x="33" y="138"/>
                        <a:pt x="23" y="134"/>
                        <a:pt x="23" y="118"/>
                      </a:cubicBezTo>
                      <a:cubicBezTo>
                        <a:pt x="24" y="100"/>
                        <a:pt x="24" y="83"/>
                        <a:pt x="10" y="66"/>
                      </a:cubicBezTo>
                      <a:cubicBezTo>
                        <a:pt x="0" y="54"/>
                        <a:pt x="2" y="32"/>
                        <a:pt x="1" y="15"/>
                      </a:cubicBezTo>
                      <a:cubicBezTo>
                        <a:pt x="0" y="12"/>
                        <a:pt x="8" y="7"/>
                        <a:pt x="13" y="5"/>
                      </a:cubicBezTo>
                      <a:cubicBezTo>
                        <a:pt x="21" y="2"/>
                        <a:pt x="30" y="2"/>
                        <a:pt x="41" y="0"/>
                      </a:cubicBezTo>
                      <a:cubicBezTo>
                        <a:pt x="42" y="14"/>
                        <a:pt x="44" y="26"/>
                        <a:pt x="45" y="38"/>
                      </a:cubicBezTo>
                      <a:cubicBezTo>
                        <a:pt x="47" y="50"/>
                        <a:pt x="49" y="61"/>
                        <a:pt x="54" y="72"/>
                      </a:cubicBezTo>
                      <a:cubicBezTo>
                        <a:pt x="53" y="58"/>
                        <a:pt x="51" y="43"/>
                        <a:pt x="49" y="28"/>
                      </a:cubicBezTo>
                      <a:cubicBezTo>
                        <a:pt x="46" y="14"/>
                        <a:pt x="48" y="5"/>
                        <a:pt x="65" y="5"/>
                      </a:cubicBezTo>
                      <a:cubicBezTo>
                        <a:pt x="92" y="5"/>
                        <a:pt x="118" y="4"/>
                        <a:pt x="144" y="5"/>
                      </a:cubicBezTo>
                      <a:cubicBezTo>
                        <a:pt x="158" y="5"/>
                        <a:pt x="163" y="12"/>
                        <a:pt x="160" y="25"/>
                      </a:cubicBezTo>
                      <a:cubicBezTo>
                        <a:pt x="157" y="41"/>
                        <a:pt x="156" y="57"/>
                        <a:pt x="158" y="73"/>
                      </a:cubicBezTo>
                      <a:cubicBezTo>
                        <a:pt x="161" y="49"/>
                        <a:pt x="164" y="26"/>
                        <a:pt x="168" y="2"/>
                      </a:cubicBezTo>
                      <a:cubicBezTo>
                        <a:pt x="203" y="7"/>
                        <a:pt x="202" y="7"/>
                        <a:pt x="199" y="37"/>
                      </a:cubicBezTo>
                      <a:cubicBezTo>
                        <a:pt x="196" y="54"/>
                        <a:pt x="196" y="69"/>
                        <a:pt x="181" y="81"/>
                      </a:cubicBezTo>
                      <a:cubicBezTo>
                        <a:pt x="175" y="86"/>
                        <a:pt x="177" y="101"/>
                        <a:pt x="177" y="112"/>
                      </a:cubicBezTo>
                      <a:cubicBezTo>
                        <a:pt x="178" y="128"/>
                        <a:pt x="173" y="138"/>
                        <a:pt x="156" y="138"/>
                      </a:cubicBezTo>
                      <a:cubicBezTo>
                        <a:pt x="138" y="138"/>
                        <a:pt x="134" y="127"/>
                        <a:pt x="135" y="111"/>
                      </a:cubicBezTo>
                      <a:cubicBezTo>
                        <a:pt x="136" y="104"/>
                        <a:pt x="135" y="97"/>
                        <a:pt x="135" y="90"/>
                      </a:cubicBezTo>
                      <a:cubicBezTo>
                        <a:pt x="133" y="90"/>
                        <a:pt x="131" y="90"/>
                        <a:pt x="129" y="9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3" name="Freeform 87"/>
                <p:cNvSpPr/>
                <p:nvPr/>
              </p:nvSpPr>
              <p:spPr bwMode="auto">
                <a:xfrm>
                  <a:off x="964727" y="2567046"/>
                  <a:ext cx="172812" cy="158011"/>
                </a:xfrm>
                <a:custGeom>
                  <a:avLst/>
                  <a:gdLst>
                    <a:gd name="T0" fmla="*/ 82 w 83"/>
                    <a:gd name="T1" fmla="*/ 44 h 84"/>
                    <a:gd name="T2" fmla="*/ 40 w 83"/>
                    <a:gd name="T3" fmla="*/ 83 h 84"/>
                    <a:gd name="T4" fmla="*/ 0 w 83"/>
                    <a:gd name="T5" fmla="*/ 41 h 84"/>
                    <a:gd name="T6" fmla="*/ 44 w 83"/>
                    <a:gd name="T7" fmla="*/ 2 h 84"/>
                    <a:gd name="T8" fmla="*/ 82 w 83"/>
                    <a:gd name="T9" fmla="*/ 4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3" h="84">
                      <a:moveTo>
                        <a:pt x="82" y="44"/>
                      </a:moveTo>
                      <a:cubicBezTo>
                        <a:pt x="81" y="66"/>
                        <a:pt x="63" y="84"/>
                        <a:pt x="40" y="83"/>
                      </a:cubicBezTo>
                      <a:cubicBezTo>
                        <a:pt x="17" y="83"/>
                        <a:pt x="0" y="64"/>
                        <a:pt x="0" y="41"/>
                      </a:cubicBezTo>
                      <a:cubicBezTo>
                        <a:pt x="1" y="18"/>
                        <a:pt x="21" y="0"/>
                        <a:pt x="44" y="2"/>
                      </a:cubicBezTo>
                      <a:cubicBezTo>
                        <a:pt x="66" y="3"/>
                        <a:pt x="83" y="21"/>
                        <a:pt x="82" y="4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4" name="Freeform 88"/>
                <p:cNvSpPr/>
                <p:nvPr/>
              </p:nvSpPr>
              <p:spPr bwMode="auto">
                <a:xfrm>
                  <a:off x="1133091" y="2593517"/>
                  <a:ext cx="109652" cy="137262"/>
                </a:xfrm>
                <a:custGeom>
                  <a:avLst/>
                  <a:gdLst>
                    <a:gd name="T0" fmla="*/ 0 w 53"/>
                    <a:gd name="T1" fmla="*/ 64 h 73"/>
                    <a:gd name="T2" fmla="*/ 8 w 53"/>
                    <a:gd name="T3" fmla="*/ 5 h 73"/>
                    <a:gd name="T4" fmla="*/ 45 w 53"/>
                    <a:gd name="T5" fmla="*/ 21 h 73"/>
                    <a:gd name="T6" fmla="*/ 38 w 53"/>
                    <a:gd name="T7" fmla="*/ 61 h 73"/>
                    <a:gd name="T8" fmla="*/ 0 w 53"/>
                    <a:gd name="T9" fmla="*/ 64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0" y="64"/>
                      </a:moveTo>
                      <a:cubicBezTo>
                        <a:pt x="3" y="42"/>
                        <a:pt x="5" y="25"/>
                        <a:pt x="8" y="5"/>
                      </a:cubicBezTo>
                      <a:cubicBezTo>
                        <a:pt x="23" y="0"/>
                        <a:pt x="37" y="5"/>
                        <a:pt x="45" y="21"/>
                      </a:cubicBezTo>
                      <a:cubicBezTo>
                        <a:pt x="53" y="35"/>
                        <a:pt x="51" y="50"/>
                        <a:pt x="38" y="61"/>
                      </a:cubicBezTo>
                      <a:cubicBezTo>
                        <a:pt x="25" y="72"/>
                        <a:pt x="11" y="73"/>
                        <a:pt x="0" y="6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5" name="Freeform 89"/>
                <p:cNvSpPr/>
                <p:nvPr/>
              </p:nvSpPr>
              <p:spPr bwMode="auto">
                <a:xfrm>
                  <a:off x="859646" y="2595003"/>
                  <a:ext cx="109652" cy="138057"/>
                </a:xfrm>
                <a:custGeom>
                  <a:avLst/>
                  <a:gdLst>
                    <a:gd name="T0" fmla="*/ 45 w 53"/>
                    <a:gd name="T1" fmla="*/ 5 h 73"/>
                    <a:gd name="T2" fmla="*/ 53 w 53"/>
                    <a:gd name="T3" fmla="*/ 63 h 73"/>
                    <a:gd name="T4" fmla="*/ 16 w 53"/>
                    <a:gd name="T5" fmla="*/ 61 h 73"/>
                    <a:gd name="T6" fmla="*/ 7 w 53"/>
                    <a:gd name="T7" fmla="*/ 22 h 73"/>
                    <a:gd name="T8" fmla="*/ 45 w 53"/>
                    <a:gd name="T9" fmla="*/ 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45" y="5"/>
                      </a:moveTo>
                      <a:cubicBezTo>
                        <a:pt x="47" y="24"/>
                        <a:pt x="50" y="41"/>
                        <a:pt x="53" y="63"/>
                      </a:cubicBezTo>
                      <a:cubicBezTo>
                        <a:pt x="43" y="73"/>
                        <a:pt x="29" y="71"/>
                        <a:pt x="16" y="61"/>
                      </a:cubicBezTo>
                      <a:cubicBezTo>
                        <a:pt x="2" y="51"/>
                        <a:pt x="0" y="37"/>
                        <a:pt x="7" y="22"/>
                      </a:cubicBezTo>
                      <a:cubicBezTo>
                        <a:pt x="14" y="6"/>
                        <a:pt x="28" y="0"/>
                        <a:pt x="45" y="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4118" name="组合 21"/>
            <p:cNvGrpSpPr/>
            <p:nvPr/>
          </p:nvGrpSpPr>
          <p:grpSpPr bwMode="auto">
            <a:xfrm>
              <a:off x="7989298" y="-956653"/>
              <a:ext cx="421484" cy="293471"/>
              <a:chOff x="5098520" y="2596124"/>
              <a:chExt cx="360598" cy="251077"/>
            </a:xfrm>
          </p:grpSpPr>
          <p:sp>
            <p:nvSpPr>
              <p:cNvPr id="26" name="矩形 25"/>
              <p:cNvSpPr/>
              <p:nvPr/>
            </p:nvSpPr>
            <p:spPr>
              <a:xfrm>
                <a:off x="5098520" y="2596124"/>
                <a:ext cx="360598" cy="251077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27" name="组合 26"/>
              <p:cNvGrpSpPr/>
              <p:nvPr/>
            </p:nvGrpSpPr>
            <p:grpSpPr>
              <a:xfrm>
                <a:off x="5206314" y="2641135"/>
                <a:ext cx="134569" cy="171052"/>
                <a:chOff x="4396485" y="3361019"/>
                <a:chExt cx="403905" cy="513408"/>
              </a:xfrm>
              <a:solidFill>
                <a:schemeClr val="bg1">
                  <a:alpha val="90000"/>
                </a:schemeClr>
              </a:solidFill>
            </p:grpSpPr>
            <p:sp>
              <p:nvSpPr>
                <p:cNvPr id="28" name="Freeform 9"/>
                <p:cNvSpPr/>
                <p:nvPr/>
              </p:nvSpPr>
              <p:spPr bwMode="auto">
                <a:xfrm>
                  <a:off x="4471282" y="3361019"/>
                  <a:ext cx="265680" cy="102921"/>
                </a:xfrm>
                <a:custGeom>
                  <a:avLst/>
                  <a:gdLst>
                    <a:gd name="T0" fmla="*/ 43 w 188"/>
                    <a:gd name="T1" fmla="*/ 73 h 73"/>
                    <a:gd name="T2" fmla="*/ 90 w 188"/>
                    <a:gd name="T3" fmla="*/ 73 h 73"/>
                    <a:gd name="T4" fmla="*/ 91 w 188"/>
                    <a:gd name="T5" fmla="*/ 73 h 73"/>
                    <a:gd name="T6" fmla="*/ 138 w 188"/>
                    <a:gd name="T7" fmla="*/ 73 h 73"/>
                    <a:gd name="T8" fmla="*/ 161 w 188"/>
                    <a:gd name="T9" fmla="*/ 18 h 73"/>
                    <a:gd name="T10" fmla="*/ 133 w 188"/>
                    <a:gd name="T11" fmla="*/ 13 h 73"/>
                    <a:gd name="T12" fmla="*/ 108 w 188"/>
                    <a:gd name="T13" fmla="*/ 45 h 73"/>
                    <a:gd name="T14" fmla="*/ 118 w 188"/>
                    <a:gd name="T15" fmla="*/ 5 h 73"/>
                    <a:gd name="T16" fmla="*/ 91 w 188"/>
                    <a:gd name="T17" fmla="*/ 0 h 73"/>
                    <a:gd name="T18" fmla="*/ 63 w 188"/>
                    <a:gd name="T19" fmla="*/ 5 h 73"/>
                    <a:gd name="T20" fmla="*/ 73 w 188"/>
                    <a:gd name="T21" fmla="*/ 45 h 73"/>
                    <a:gd name="T22" fmla="*/ 48 w 188"/>
                    <a:gd name="T23" fmla="*/ 13 h 73"/>
                    <a:gd name="T24" fmla="*/ 20 w 188"/>
                    <a:gd name="T25" fmla="*/ 18 h 73"/>
                    <a:gd name="T26" fmla="*/ 43 w 188"/>
                    <a:gd name="T27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8" h="73">
                      <a:moveTo>
                        <a:pt x="43" y="73"/>
                      </a:moveTo>
                      <a:cubicBezTo>
                        <a:pt x="90" y="73"/>
                        <a:pt x="90" y="73"/>
                        <a:pt x="90" y="73"/>
                      </a:cubicBezTo>
                      <a:cubicBezTo>
                        <a:pt x="91" y="73"/>
                        <a:pt x="91" y="73"/>
                        <a:pt x="91" y="73"/>
                      </a:cubicBezTo>
                      <a:cubicBezTo>
                        <a:pt x="138" y="73"/>
                        <a:pt x="138" y="73"/>
                        <a:pt x="138" y="73"/>
                      </a:cubicBezTo>
                      <a:cubicBezTo>
                        <a:pt x="152" y="25"/>
                        <a:pt x="188" y="31"/>
                        <a:pt x="161" y="18"/>
                      </a:cubicBezTo>
                      <a:cubicBezTo>
                        <a:pt x="155" y="14"/>
                        <a:pt x="138" y="7"/>
                        <a:pt x="133" y="13"/>
                      </a:cubicBezTo>
                      <a:cubicBezTo>
                        <a:pt x="128" y="18"/>
                        <a:pt x="122" y="44"/>
                        <a:pt x="108" y="45"/>
                      </a:cubicBezTo>
                      <a:cubicBezTo>
                        <a:pt x="109" y="37"/>
                        <a:pt x="124" y="14"/>
                        <a:pt x="118" y="5"/>
                      </a:cubicBezTo>
                      <a:cubicBezTo>
                        <a:pt x="115" y="0"/>
                        <a:pt x="96" y="0"/>
                        <a:pt x="91" y="0"/>
                      </a:cubicBezTo>
                      <a:cubicBezTo>
                        <a:pt x="85" y="0"/>
                        <a:pt x="66" y="0"/>
                        <a:pt x="63" y="5"/>
                      </a:cubicBezTo>
                      <a:cubicBezTo>
                        <a:pt x="57" y="14"/>
                        <a:pt x="72" y="37"/>
                        <a:pt x="73" y="45"/>
                      </a:cubicBezTo>
                      <a:cubicBezTo>
                        <a:pt x="59" y="44"/>
                        <a:pt x="53" y="18"/>
                        <a:pt x="48" y="13"/>
                      </a:cubicBezTo>
                      <a:cubicBezTo>
                        <a:pt x="43" y="7"/>
                        <a:pt x="26" y="11"/>
                        <a:pt x="20" y="18"/>
                      </a:cubicBezTo>
                      <a:cubicBezTo>
                        <a:pt x="0" y="40"/>
                        <a:pt x="29" y="25"/>
                        <a:pt x="43" y="7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9" name="Freeform 11"/>
                <p:cNvSpPr>
                  <a:spLocks noEditPoints="1"/>
                </p:cNvSpPr>
                <p:nvPr/>
              </p:nvSpPr>
              <p:spPr bwMode="auto">
                <a:xfrm>
                  <a:off x="4396485" y="3518991"/>
                  <a:ext cx="403905" cy="355436"/>
                </a:xfrm>
                <a:custGeom>
                  <a:avLst/>
                  <a:gdLst>
                    <a:gd name="T0" fmla="*/ 192 w 286"/>
                    <a:gd name="T1" fmla="*/ 0 h 251"/>
                    <a:gd name="T2" fmla="*/ 146 w 286"/>
                    <a:gd name="T3" fmla="*/ 0 h 251"/>
                    <a:gd name="T4" fmla="*/ 140 w 286"/>
                    <a:gd name="T5" fmla="*/ 0 h 251"/>
                    <a:gd name="T6" fmla="*/ 94 w 286"/>
                    <a:gd name="T7" fmla="*/ 0 h 251"/>
                    <a:gd name="T8" fmla="*/ 1 w 286"/>
                    <a:gd name="T9" fmla="*/ 162 h 251"/>
                    <a:gd name="T10" fmla="*/ 143 w 286"/>
                    <a:gd name="T11" fmla="*/ 251 h 251"/>
                    <a:gd name="T12" fmla="*/ 143 w 286"/>
                    <a:gd name="T13" fmla="*/ 251 h 251"/>
                    <a:gd name="T14" fmla="*/ 143 w 286"/>
                    <a:gd name="T15" fmla="*/ 251 h 251"/>
                    <a:gd name="T16" fmla="*/ 285 w 286"/>
                    <a:gd name="T17" fmla="*/ 162 h 251"/>
                    <a:gd name="T18" fmla="*/ 192 w 286"/>
                    <a:gd name="T19" fmla="*/ 0 h 251"/>
                    <a:gd name="T20" fmla="*/ 185 w 286"/>
                    <a:gd name="T21" fmla="*/ 189 h 251"/>
                    <a:gd name="T22" fmla="*/ 155 w 286"/>
                    <a:gd name="T23" fmla="*/ 200 h 251"/>
                    <a:gd name="T24" fmla="*/ 151 w 286"/>
                    <a:gd name="T25" fmla="*/ 204 h 251"/>
                    <a:gd name="T26" fmla="*/ 151 w 286"/>
                    <a:gd name="T27" fmla="*/ 211 h 251"/>
                    <a:gd name="T28" fmla="*/ 147 w 286"/>
                    <a:gd name="T29" fmla="*/ 215 h 251"/>
                    <a:gd name="T30" fmla="*/ 134 w 286"/>
                    <a:gd name="T31" fmla="*/ 215 h 251"/>
                    <a:gd name="T32" fmla="*/ 131 w 286"/>
                    <a:gd name="T33" fmla="*/ 211 h 251"/>
                    <a:gd name="T34" fmla="*/ 131 w 286"/>
                    <a:gd name="T35" fmla="*/ 203 h 251"/>
                    <a:gd name="T36" fmla="*/ 127 w 286"/>
                    <a:gd name="T37" fmla="*/ 198 h 251"/>
                    <a:gd name="T38" fmla="*/ 89 w 286"/>
                    <a:gd name="T39" fmla="*/ 178 h 251"/>
                    <a:gd name="T40" fmla="*/ 105 w 286"/>
                    <a:gd name="T41" fmla="*/ 165 h 251"/>
                    <a:gd name="T42" fmla="*/ 106 w 286"/>
                    <a:gd name="T43" fmla="*/ 167 h 251"/>
                    <a:gd name="T44" fmla="*/ 107 w 286"/>
                    <a:gd name="T45" fmla="*/ 167 h 251"/>
                    <a:gd name="T46" fmla="*/ 108 w 286"/>
                    <a:gd name="T47" fmla="*/ 169 h 251"/>
                    <a:gd name="T48" fmla="*/ 124 w 286"/>
                    <a:gd name="T49" fmla="*/ 178 h 251"/>
                    <a:gd name="T50" fmla="*/ 127 w 286"/>
                    <a:gd name="T51" fmla="*/ 179 h 251"/>
                    <a:gd name="T52" fmla="*/ 131 w 286"/>
                    <a:gd name="T53" fmla="*/ 176 h 251"/>
                    <a:gd name="T54" fmla="*/ 131 w 286"/>
                    <a:gd name="T55" fmla="*/ 132 h 251"/>
                    <a:gd name="T56" fmla="*/ 127 w 286"/>
                    <a:gd name="T57" fmla="*/ 127 h 251"/>
                    <a:gd name="T58" fmla="*/ 107 w 286"/>
                    <a:gd name="T59" fmla="*/ 118 h 251"/>
                    <a:gd name="T60" fmla="*/ 93 w 286"/>
                    <a:gd name="T61" fmla="*/ 102 h 251"/>
                    <a:gd name="T62" fmla="*/ 101 w 286"/>
                    <a:gd name="T63" fmla="*/ 59 h 251"/>
                    <a:gd name="T64" fmla="*/ 127 w 286"/>
                    <a:gd name="T65" fmla="*/ 46 h 251"/>
                    <a:gd name="T66" fmla="*/ 131 w 286"/>
                    <a:gd name="T67" fmla="*/ 42 h 251"/>
                    <a:gd name="T68" fmla="*/ 131 w 286"/>
                    <a:gd name="T69" fmla="*/ 34 h 251"/>
                    <a:gd name="T70" fmla="*/ 134 w 286"/>
                    <a:gd name="T71" fmla="*/ 30 h 251"/>
                    <a:gd name="T72" fmla="*/ 147 w 286"/>
                    <a:gd name="T73" fmla="*/ 30 h 251"/>
                    <a:gd name="T74" fmla="*/ 151 w 286"/>
                    <a:gd name="T75" fmla="*/ 34 h 251"/>
                    <a:gd name="T76" fmla="*/ 151 w 286"/>
                    <a:gd name="T77" fmla="*/ 41 h 251"/>
                    <a:gd name="T78" fmla="*/ 155 w 286"/>
                    <a:gd name="T79" fmla="*/ 45 h 251"/>
                    <a:gd name="T80" fmla="*/ 162 w 286"/>
                    <a:gd name="T81" fmla="*/ 47 h 251"/>
                    <a:gd name="T82" fmla="*/ 191 w 286"/>
                    <a:gd name="T83" fmla="*/ 67 h 251"/>
                    <a:gd name="T84" fmla="*/ 175 w 286"/>
                    <a:gd name="T85" fmla="*/ 79 h 251"/>
                    <a:gd name="T86" fmla="*/ 174 w 286"/>
                    <a:gd name="T87" fmla="*/ 78 h 251"/>
                    <a:gd name="T88" fmla="*/ 173 w 286"/>
                    <a:gd name="T89" fmla="*/ 77 h 251"/>
                    <a:gd name="T90" fmla="*/ 172 w 286"/>
                    <a:gd name="T91" fmla="*/ 75 h 251"/>
                    <a:gd name="T92" fmla="*/ 156 w 286"/>
                    <a:gd name="T93" fmla="*/ 66 h 251"/>
                    <a:gd name="T94" fmla="*/ 155 w 286"/>
                    <a:gd name="T95" fmla="*/ 65 h 251"/>
                    <a:gd name="T96" fmla="*/ 151 w 286"/>
                    <a:gd name="T97" fmla="*/ 68 h 251"/>
                    <a:gd name="T98" fmla="*/ 151 w 286"/>
                    <a:gd name="T99" fmla="*/ 112 h 251"/>
                    <a:gd name="T100" fmla="*/ 154 w 286"/>
                    <a:gd name="T101" fmla="*/ 117 h 251"/>
                    <a:gd name="T102" fmla="*/ 196 w 286"/>
                    <a:gd name="T103" fmla="*/ 147 h 251"/>
                    <a:gd name="T104" fmla="*/ 185 w 286"/>
                    <a:gd name="T105" fmla="*/ 189 h 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86" h="251">
                      <a:moveTo>
                        <a:pt x="192" y="0"/>
                      </a:moveTo>
                      <a:cubicBezTo>
                        <a:pt x="146" y="0"/>
                        <a:pt x="146" y="0"/>
                        <a:pt x="146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79" y="32"/>
                        <a:pt x="0" y="71"/>
                        <a:pt x="1" y="162"/>
                      </a:cubicBezTo>
                      <a:cubicBezTo>
                        <a:pt x="1" y="239"/>
                        <a:pt x="58" y="251"/>
                        <a:pt x="143" y="251"/>
                      </a:cubicBezTo>
                      <a:cubicBezTo>
                        <a:pt x="143" y="251"/>
                        <a:pt x="143" y="251"/>
                        <a:pt x="143" y="251"/>
                      </a:cubicBezTo>
                      <a:cubicBezTo>
                        <a:pt x="143" y="251"/>
                        <a:pt x="143" y="251"/>
                        <a:pt x="143" y="251"/>
                      </a:cubicBezTo>
                      <a:cubicBezTo>
                        <a:pt x="228" y="251"/>
                        <a:pt x="285" y="239"/>
                        <a:pt x="285" y="162"/>
                      </a:cubicBezTo>
                      <a:cubicBezTo>
                        <a:pt x="286" y="71"/>
                        <a:pt x="206" y="32"/>
                        <a:pt x="192" y="0"/>
                      </a:cubicBezTo>
                      <a:close/>
                      <a:moveTo>
                        <a:pt x="185" y="189"/>
                      </a:moveTo>
                      <a:cubicBezTo>
                        <a:pt x="177" y="196"/>
                        <a:pt x="155" y="200"/>
                        <a:pt x="155" y="200"/>
                      </a:cubicBezTo>
                      <a:cubicBezTo>
                        <a:pt x="153" y="200"/>
                        <a:pt x="151" y="202"/>
                        <a:pt x="151" y="204"/>
                      </a:cubicBezTo>
                      <a:cubicBezTo>
                        <a:pt x="151" y="211"/>
                        <a:pt x="151" y="211"/>
                        <a:pt x="151" y="211"/>
                      </a:cubicBezTo>
                      <a:cubicBezTo>
                        <a:pt x="151" y="213"/>
                        <a:pt x="149" y="215"/>
                        <a:pt x="147" y="215"/>
                      </a:cubicBezTo>
                      <a:cubicBezTo>
                        <a:pt x="134" y="215"/>
                        <a:pt x="134" y="215"/>
                        <a:pt x="134" y="215"/>
                      </a:cubicBezTo>
                      <a:cubicBezTo>
                        <a:pt x="132" y="215"/>
                        <a:pt x="131" y="213"/>
                        <a:pt x="131" y="211"/>
                      </a:cubicBezTo>
                      <a:cubicBezTo>
                        <a:pt x="131" y="203"/>
                        <a:pt x="131" y="203"/>
                        <a:pt x="131" y="203"/>
                      </a:cubicBezTo>
                      <a:cubicBezTo>
                        <a:pt x="131" y="201"/>
                        <a:pt x="129" y="199"/>
                        <a:pt x="127" y="198"/>
                      </a:cubicBezTo>
                      <a:cubicBezTo>
                        <a:pt x="127" y="198"/>
                        <a:pt x="96" y="189"/>
                        <a:pt x="89" y="178"/>
                      </a:cubicBezTo>
                      <a:cubicBezTo>
                        <a:pt x="84" y="170"/>
                        <a:pt x="99" y="156"/>
                        <a:pt x="105" y="165"/>
                      </a:cubicBezTo>
                      <a:cubicBezTo>
                        <a:pt x="105" y="166"/>
                        <a:pt x="106" y="166"/>
                        <a:pt x="106" y="167"/>
                      </a:cubicBezTo>
                      <a:cubicBezTo>
                        <a:pt x="106" y="167"/>
                        <a:pt x="105" y="166"/>
                        <a:pt x="107" y="167"/>
                      </a:cubicBezTo>
                      <a:cubicBezTo>
                        <a:pt x="107" y="168"/>
                        <a:pt x="108" y="169"/>
                        <a:pt x="108" y="169"/>
                      </a:cubicBezTo>
                      <a:cubicBezTo>
                        <a:pt x="112" y="172"/>
                        <a:pt x="119" y="176"/>
                        <a:pt x="124" y="178"/>
                      </a:cubicBezTo>
                      <a:cubicBezTo>
                        <a:pt x="126" y="179"/>
                        <a:pt x="127" y="179"/>
                        <a:pt x="127" y="179"/>
                      </a:cubicBezTo>
                      <a:cubicBezTo>
                        <a:pt x="129" y="180"/>
                        <a:pt x="131" y="178"/>
                        <a:pt x="131" y="176"/>
                      </a:cubicBezTo>
                      <a:cubicBezTo>
                        <a:pt x="131" y="132"/>
                        <a:pt x="131" y="132"/>
                        <a:pt x="131" y="132"/>
                      </a:cubicBezTo>
                      <a:cubicBezTo>
                        <a:pt x="131" y="130"/>
                        <a:pt x="129" y="128"/>
                        <a:pt x="127" y="127"/>
                      </a:cubicBezTo>
                      <a:cubicBezTo>
                        <a:pt x="127" y="127"/>
                        <a:pt x="110" y="119"/>
                        <a:pt x="107" y="118"/>
                      </a:cubicBezTo>
                      <a:cubicBezTo>
                        <a:pt x="101" y="114"/>
                        <a:pt x="96" y="108"/>
                        <a:pt x="93" y="102"/>
                      </a:cubicBezTo>
                      <a:cubicBezTo>
                        <a:pt x="86" y="88"/>
                        <a:pt x="89" y="71"/>
                        <a:pt x="101" y="59"/>
                      </a:cubicBezTo>
                      <a:cubicBezTo>
                        <a:pt x="109" y="52"/>
                        <a:pt x="127" y="46"/>
                        <a:pt x="127" y="46"/>
                      </a:cubicBezTo>
                      <a:cubicBezTo>
                        <a:pt x="129" y="46"/>
                        <a:pt x="131" y="44"/>
                        <a:pt x="131" y="42"/>
                      </a:cubicBezTo>
                      <a:cubicBezTo>
                        <a:pt x="131" y="34"/>
                        <a:pt x="131" y="34"/>
                        <a:pt x="131" y="34"/>
                      </a:cubicBezTo>
                      <a:cubicBezTo>
                        <a:pt x="131" y="32"/>
                        <a:pt x="132" y="30"/>
                        <a:pt x="134" y="30"/>
                      </a:cubicBezTo>
                      <a:cubicBezTo>
                        <a:pt x="147" y="30"/>
                        <a:pt x="147" y="30"/>
                        <a:pt x="147" y="30"/>
                      </a:cubicBezTo>
                      <a:cubicBezTo>
                        <a:pt x="149" y="30"/>
                        <a:pt x="151" y="32"/>
                        <a:pt x="151" y="34"/>
                      </a:cubicBezTo>
                      <a:cubicBezTo>
                        <a:pt x="151" y="41"/>
                        <a:pt x="151" y="41"/>
                        <a:pt x="151" y="41"/>
                      </a:cubicBezTo>
                      <a:cubicBezTo>
                        <a:pt x="151" y="43"/>
                        <a:pt x="153" y="45"/>
                        <a:pt x="155" y="45"/>
                      </a:cubicBezTo>
                      <a:cubicBezTo>
                        <a:pt x="155" y="45"/>
                        <a:pt x="158" y="46"/>
                        <a:pt x="162" y="47"/>
                      </a:cubicBezTo>
                      <a:cubicBezTo>
                        <a:pt x="172" y="50"/>
                        <a:pt x="186" y="58"/>
                        <a:pt x="191" y="67"/>
                      </a:cubicBezTo>
                      <a:cubicBezTo>
                        <a:pt x="196" y="75"/>
                        <a:pt x="181" y="88"/>
                        <a:pt x="175" y="79"/>
                      </a:cubicBezTo>
                      <a:cubicBezTo>
                        <a:pt x="175" y="79"/>
                        <a:pt x="174" y="78"/>
                        <a:pt x="174" y="78"/>
                      </a:cubicBezTo>
                      <a:cubicBezTo>
                        <a:pt x="174" y="77"/>
                        <a:pt x="175" y="79"/>
                        <a:pt x="173" y="77"/>
                      </a:cubicBezTo>
                      <a:cubicBezTo>
                        <a:pt x="173" y="76"/>
                        <a:pt x="172" y="76"/>
                        <a:pt x="172" y="75"/>
                      </a:cubicBezTo>
                      <a:cubicBezTo>
                        <a:pt x="168" y="72"/>
                        <a:pt x="161" y="67"/>
                        <a:pt x="156" y="66"/>
                      </a:cubicBezTo>
                      <a:cubicBezTo>
                        <a:pt x="155" y="65"/>
                        <a:pt x="155" y="65"/>
                        <a:pt x="155" y="65"/>
                      </a:cubicBezTo>
                      <a:cubicBezTo>
                        <a:pt x="153" y="64"/>
                        <a:pt x="151" y="66"/>
                        <a:pt x="151" y="68"/>
                      </a:cubicBezTo>
                      <a:cubicBezTo>
                        <a:pt x="151" y="112"/>
                        <a:pt x="151" y="112"/>
                        <a:pt x="151" y="112"/>
                      </a:cubicBezTo>
                      <a:cubicBezTo>
                        <a:pt x="151" y="114"/>
                        <a:pt x="153" y="116"/>
                        <a:pt x="154" y="117"/>
                      </a:cubicBezTo>
                      <a:cubicBezTo>
                        <a:pt x="154" y="117"/>
                        <a:pt x="191" y="132"/>
                        <a:pt x="196" y="147"/>
                      </a:cubicBezTo>
                      <a:cubicBezTo>
                        <a:pt x="201" y="162"/>
                        <a:pt x="196" y="179"/>
                        <a:pt x="185" y="18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4119" name="组合 22"/>
            <p:cNvGrpSpPr/>
            <p:nvPr/>
          </p:nvGrpSpPr>
          <p:grpSpPr bwMode="auto">
            <a:xfrm>
              <a:off x="8460432" y="-956652"/>
              <a:ext cx="421484" cy="293470"/>
              <a:chOff x="5589079" y="2596133"/>
              <a:chExt cx="360598" cy="251077"/>
            </a:xfrm>
          </p:grpSpPr>
          <p:sp>
            <p:nvSpPr>
              <p:cNvPr id="4120" name="矩形 23"/>
              <p:cNvSpPr>
                <a:spLocks noChangeArrowheads="1"/>
              </p:cNvSpPr>
              <p:nvPr/>
            </p:nvSpPr>
            <p:spPr bwMode="auto">
              <a:xfrm>
                <a:off x="5589079" y="2596133"/>
                <a:ext cx="360598" cy="251077"/>
              </a:xfrm>
              <a:prstGeom prst="rect">
                <a:avLst/>
              </a:prstGeom>
              <a:solidFill>
                <a:srgbClr val="00BD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1" name="Freeform 623"/>
              <p:cNvSpPr>
                <a:spLocks noEditPoints="1"/>
              </p:cNvSpPr>
              <p:nvPr/>
            </p:nvSpPr>
            <p:spPr bwMode="auto">
              <a:xfrm>
                <a:off x="5705429" y="2668270"/>
                <a:ext cx="135649" cy="136017"/>
              </a:xfrm>
              <a:custGeom>
                <a:avLst/>
                <a:gdLst>
                  <a:gd name="T0" fmla="*/ 108879192 w 26"/>
                  <a:gd name="T1" fmla="*/ 492622185 h 26"/>
                  <a:gd name="T2" fmla="*/ 217758383 w 26"/>
                  <a:gd name="T3" fmla="*/ 602089713 h 26"/>
                  <a:gd name="T4" fmla="*/ 272200588 w 26"/>
                  <a:gd name="T5" fmla="*/ 547353334 h 26"/>
                  <a:gd name="T6" fmla="*/ 326637575 w 26"/>
                  <a:gd name="T7" fmla="*/ 492622185 h 26"/>
                  <a:gd name="T8" fmla="*/ 381079779 w 26"/>
                  <a:gd name="T9" fmla="*/ 629460519 h 26"/>
                  <a:gd name="T10" fmla="*/ 489958971 w 26"/>
                  <a:gd name="T11" fmla="*/ 492622185 h 26"/>
                  <a:gd name="T12" fmla="*/ 381079779 w 26"/>
                  <a:gd name="T13" fmla="*/ 629460519 h 26"/>
                  <a:gd name="T14" fmla="*/ 544395958 w 26"/>
                  <a:gd name="T15" fmla="*/ 492622185 h 26"/>
                  <a:gd name="T16" fmla="*/ 517177464 w 26"/>
                  <a:gd name="T17" fmla="*/ 602089713 h 26"/>
                  <a:gd name="T18" fmla="*/ 81660698 w 26"/>
                  <a:gd name="T19" fmla="*/ 355783852 h 26"/>
                  <a:gd name="T20" fmla="*/ 163321396 w 26"/>
                  <a:gd name="T21" fmla="*/ 273676667 h 26"/>
                  <a:gd name="T22" fmla="*/ 163321396 w 26"/>
                  <a:gd name="T23" fmla="*/ 410515000 h 26"/>
                  <a:gd name="T24" fmla="*/ 217758383 w 26"/>
                  <a:gd name="T25" fmla="*/ 410515000 h 26"/>
                  <a:gd name="T26" fmla="*/ 217758383 w 26"/>
                  <a:gd name="T27" fmla="*/ 273676667 h 26"/>
                  <a:gd name="T28" fmla="*/ 326637575 w 26"/>
                  <a:gd name="T29" fmla="*/ 410515000 h 26"/>
                  <a:gd name="T30" fmla="*/ 381079779 w 26"/>
                  <a:gd name="T31" fmla="*/ 410515000 h 26"/>
                  <a:gd name="T32" fmla="*/ 489958971 w 26"/>
                  <a:gd name="T33" fmla="*/ 273676667 h 26"/>
                  <a:gd name="T34" fmla="*/ 489958971 w 26"/>
                  <a:gd name="T35" fmla="*/ 410515000 h 26"/>
                  <a:gd name="T36" fmla="*/ 571619669 w 26"/>
                  <a:gd name="T37" fmla="*/ 410515000 h 26"/>
                  <a:gd name="T38" fmla="*/ 571619669 w 26"/>
                  <a:gd name="T39" fmla="*/ 273676667 h 26"/>
                  <a:gd name="T40" fmla="*/ 626056656 w 26"/>
                  <a:gd name="T41" fmla="*/ 355783852 h 26"/>
                  <a:gd name="T42" fmla="*/ 571619669 w 26"/>
                  <a:gd name="T43" fmla="*/ 410515000 h 26"/>
                  <a:gd name="T44" fmla="*/ 217758383 w 26"/>
                  <a:gd name="T45" fmla="*/ 109472759 h 26"/>
                  <a:gd name="T46" fmla="*/ 108879192 w 26"/>
                  <a:gd name="T47" fmla="*/ 218940287 h 26"/>
                  <a:gd name="T48" fmla="*/ 517177464 w 26"/>
                  <a:gd name="T49" fmla="*/ 109472759 h 26"/>
                  <a:gd name="T50" fmla="*/ 544395958 w 26"/>
                  <a:gd name="T51" fmla="*/ 218940287 h 26"/>
                  <a:gd name="T52" fmla="*/ 272200588 w 26"/>
                  <a:gd name="T53" fmla="*/ 136838333 h 26"/>
                  <a:gd name="T54" fmla="*/ 326637575 w 26"/>
                  <a:gd name="T55" fmla="*/ 218940287 h 26"/>
                  <a:gd name="T56" fmla="*/ 381079779 w 26"/>
                  <a:gd name="T57" fmla="*/ 218940287 h 26"/>
                  <a:gd name="T58" fmla="*/ 462740477 w 26"/>
                  <a:gd name="T59" fmla="*/ 136838333 h 26"/>
                  <a:gd name="T60" fmla="*/ 381079779 w 26"/>
                  <a:gd name="T61" fmla="*/ 218940287 h 26"/>
                  <a:gd name="T62" fmla="*/ 0 w 26"/>
                  <a:gd name="T63" fmla="*/ 355783852 h 26"/>
                  <a:gd name="T64" fmla="*/ 707717354 w 26"/>
                  <a:gd name="T65" fmla="*/ 355783852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" h="26">
                    <a:moveTo>
                      <a:pt x="8" y="22"/>
                    </a:moveTo>
                    <a:cubicBezTo>
                      <a:pt x="6" y="21"/>
                      <a:pt x="5" y="19"/>
                      <a:pt x="4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7" y="20"/>
                      <a:pt x="8" y="22"/>
                    </a:cubicBezTo>
                    <a:moveTo>
                      <a:pt x="12" y="23"/>
                    </a:moveTo>
                    <a:cubicBezTo>
                      <a:pt x="11" y="22"/>
                      <a:pt x="10" y="22"/>
                      <a:pt x="10" y="20"/>
                    </a:cubicBezTo>
                    <a:cubicBezTo>
                      <a:pt x="9" y="20"/>
                      <a:pt x="9" y="19"/>
                      <a:pt x="9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23"/>
                      <a:pt x="12" y="23"/>
                      <a:pt x="12" y="23"/>
                    </a:cubicBezTo>
                    <a:moveTo>
                      <a:pt x="14" y="23"/>
                    </a:moveTo>
                    <a:cubicBezTo>
                      <a:pt x="14" y="18"/>
                      <a:pt x="14" y="18"/>
                      <a:pt x="14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7" y="19"/>
                      <a:pt x="17" y="20"/>
                      <a:pt x="17" y="20"/>
                    </a:cubicBezTo>
                    <a:cubicBezTo>
                      <a:pt x="16" y="22"/>
                      <a:pt x="15" y="22"/>
                      <a:pt x="14" y="23"/>
                    </a:cubicBezTo>
                    <a:moveTo>
                      <a:pt x="19" y="22"/>
                    </a:moveTo>
                    <a:cubicBezTo>
                      <a:pt x="19" y="20"/>
                      <a:pt x="20" y="19"/>
                      <a:pt x="20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1" y="19"/>
                      <a:pt x="20" y="21"/>
                      <a:pt x="19" y="22"/>
                    </a:cubicBezTo>
                    <a:moveTo>
                      <a:pt x="3" y="15"/>
                    </a:moveTo>
                    <a:cubicBezTo>
                      <a:pt x="3" y="14"/>
                      <a:pt x="3" y="14"/>
                      <a:pt x="3" y="13"/>
                    </a:cubicBezTo>
                    <a:cubicBezTo>
                      <a:pt x="3" y="12"/>
                      <a:pt x="3" y="11"/>
                      <a:pt x="3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1"/>
                      <a:pt x="6" y="12"/>
                      <a:pt x="6" y="13"/>
                    </a:cubicBezTo>
                    <a:cubicBezTo>
                      <a:pt x="6" y="14"/>
                      <a:pt x="6" y="14"/>
                      <a:pt x="6" y="15"/>
                    </a:cubicBezTo>
                    <a:cubicBezTo>
                      <a:pt x="3" y="15"/>
                      <a:pt x="3" y="15"/>
                      <a:pt x="3" y="15"/>
                    </a:cubicBezTo>
                    <a:moveTo>
                      <a:pt x="8" y="15"/>
                    </a:moveTo>
                    <a:cubicBezTo>
                      <a:pt x="8" y="14"/>
                      <a:pt x="8" y="14"/>
                      <a:pt x="8" y="13"/>
                    </a:cubicBezTo>
                    <a:cubicBezTo>
                      <a:pt x="8" y="12"/>
                      <a:pt x="8" y="11"/>
                      <a:pt x="8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8" y="15"/>
                      <a:pt x="8" y="15"/>
                      <a:pt x="8" y="15"/>
                    </a:cubicBezTo>
                    <a:moveTo>
                      <a:pt x="14" y="15"/>
                    </a:moveTo>
                    <a:cubicBezTo>
                      <a:pt x="14" y="10"/>
                      <a:pt x="14" y="10"/>
                      <a:pt x="14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1"/>
                      <a:pt x="18" y="12"/>
                      <a:pt x="18" y="13"/>
                    </a:cubicBezTo>
                    <a:cubicBezTo>
                      <a:pt x="18" y="14"/>
                      <a:pt x="18" y="14"/>
                      <a:pt x="18" y="15"/>
                    </a:cubicBezTo>
                    <a:cubicBezTo>
                      <a:pt x="14" y="15"/>
                      <a:pt x="14" y="15"/>
                      <a:pt x="14" y="15"/>
                    </a:cubicBezTo>
                    <a:moveTo>
                      <a:pt x="21" y="15"/>
                    </a:moveTo>
                    <a:cubicBezTo>
                      <a:pt x="21" y="14"/>
                      <a:pt x="21" y="14"/>
                      <a:pt x="21" y="13"/>
                    </a:cubicBezTo>
                    <a:cubicBezTo>
                      <a:pt x="21" y="12"/>
                      <a:pt x="21" y="11"/>
                      <a:pt x="21" y="10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1"/>
                      <a:pt x="23" y="12"/>
                      <a:pt x="23" y="13"/>
                    </a:cubicBezTo>
                    <a:cubicBezTo>
                      <a:pt x="23" y="14"/>
                      <a:pt x="23" y="14"/>
                      <a:pt x="23" y="15"/>
                    </a:cubicBezTo>
                    <a:cubicBezTo>
                      <a:pt x="21" y="15"/>
                      <a:pt x="21" y="15"/>
                      <a:pt x="21" y="15"/>
                    </a:cubicBezTo>
                    <a:moveTo>
                      <a:pt x="4" y="8"/>
                    </a:moveTo>
                    <a:cubicBezTo>
                      <a:pt x="5" y="6"/>
                      <a:pt x="6" y="5"/>
                      <a:pt x="8" y="4"/>
                    </a:cubicBezTo>
                    <a:cubicBezTo>
                      <a:pt x="7" y="5"/>
                      <a:pt x="6" y="7"/>
                      <a:pt x="6" y="8"/>
                    </a:cubicBezTo>
                    <a:cubicBezTo>
                      <a:pt x="4" y="8"/>
                      <a:pt x="4" y="8"/>
                      <a:pt x="4" y="8"/>
                    </a:cubicBezTo>
                    <a:moveTo>
                      <a:pt x="20" y="8"/>
                    </a:moveTo>
                    <a:cubicBezTo>
                      <a:pt x="20" y="7"/>
                      <a:pt x="19" y="5"/>
                      <a:pt x="19" y="4"/>
                    </a:cubicBezTo>
                    <a:cubicBezTo>
                      <a:pt x="20" y="5"/>
                      <a:pt x="21" y="6"/>
                      <a:pt x="22" y="8"/>
                    </a:cubicBezTo>
                    <a:cubicBezTo>
                      <a:pt x="20" y="8"/>
                      <a:pt x="20" y="8"/>
                      <a:pt x="20" y="8"/>
                    </a:cubicBezTo>
                    <a:moveTo>
                      <a:pt x="9" y="8"/>
                    </a:moveTo>
                    <a:cubicBezTo>
                      <a:pt x="9" y="7"/>
                      <a:pt x="9" y="6"/>
                      <a:pt x="10" y="5"/>
                    </a:cubicBezTo>
                    <a:cubicBezTo>
                      <a:pt x="10" y="4"/>
                      <a:pt x="11" y="3"/>
                      <a:pt x="12" y="3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9" y="8"/>
                      <a:pt x="9" y="8"/>
                      <a:pt x="9" y="8"/>
                    </a:cubicBezTo>
                    <a:moveTo>
                      <a:pt x="14" y="8"/>
                    </a:moveTo>
                    <a:cubicBezTo>
                      <a:pt x="14" y="3"/>
                      <a:pt x="14" y="3"/>
                      <a:pt x="14" y="3"/>
                    </a:cubicBezTo>
                    <a:cubicBezTo>
                      <a:pt x="15" y="3"/>
                      <a:pt x="16" y="4"/>
                      <a:pt x="17" y="5"/>
                    </a:cubicBezTo>
                    <a:cubicBezTo>
                      <a:pt x="17" y="6"/>
                      <a:pt x="17" y="7"/>
                      <a:pt x="18" y="8"/>
                    </a:cubicBezTo>
                    <a:cubicBezTo>
                      <a:pt x="14" y="8"/>
                      <a:pt x="14" y="8"/>
                      <a:pt x="14" y="8"/>
                    </a:cubicBezTo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20"/>
                      <a:pt x="6" y="26"/>
                      <a:pt x="13" y="26"/>
                    </a:cubicBezTo>
                    <a:cubicBezTo>
                      <a:pt x="20" y="26"/>
                      <a:pt x="26" y="20"/>
                      <a:pt x="26" y="13"/>
                    </a:cubicBezTo>
                    <a:cubicBezTo>
                      <a:pt x="26" y="6"/>
                      <a:pt x="20" y="0"/>
                      <a:pt x="13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cxnSp>
        <p:nvCxnSpPr>
          <p:cNvPr id="42" name="直接连接符 41"/>
          <p:cNvCxnSpPr/>
          <p:nvPr/>
        </p:nvCxnSpPr>
        <p:spPr>
          <a:xfrm>
            <a:off x="2686050" y="1576388"/>
            <a:ext cx="3849688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07" name="组合 43"/>
          <p:cNvGrpSpPr/>
          <p:nvPr/>
        </p:nvGrpSpPr>
        <p:grpSpPr bwMode="auto">
          <a:xfrm>
            <a:off x="2798763" y="2681288"/>
            <a:ext cx="1701800" cy="1690687"/>
            <a:chOff x="2798208" y="2681220"/>
            <a:chExt cx="1702045" cy="1690730"/>
          </a:xfrm>
        </p:grpSpPr>
        <p:grpSp>
          <p:nvGrpSpPr>
            <p:cNvPr id="4108" name="组合 44"/>
            <p:cNvGrpSpPr/>
            <p:nvPr/>
          </p:nvGrpSpPr>
          <p:grpSpPr bwMode="auto">
            <a:xfrm>
              <a:off x="2798208" y="2681220"/>
              <a:ext cx="1702045" cy="1690730"/>
              <a:chOff x="2819776" y="2969252"/>
              <a:chExt cx="1702045" cy="1690730"/>
            </a:xfrm>
          </p:grpSpPr>
          <p:sp>
            <p:nvSpPr>
              <p:cNvPr id="4110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111" name="组合 47"/>
              <p:cNvGrpSpPr/>
              <p:nvPr/>
            </p:nvGrpSpPr>
            <p:grpSpPr bwMode="auto">
              <a:xfrm>
                <a:off x="2900594" y="3041577"/>
                <a:ext cx="1542023" cy="1564653"/>
                <a:chOff x="2900594" y="3041577"/>
                <a:chExt cx="1542023" cy="1564653"/>
              </a:xfrm>
            </p:grpSpPr>
            <p:sp>
              <p:nvSpPr>
                <p:cNvPr id="4112" name="Freeform 26"/>
                <p:cNvSpPr/>
                <p:nvPr/>
              </p:nvSpPr>
              <p:spPr bwMode="auto">
                <a:xfrm>
                  <a:off x="2900594" y="3041577"/>
                  <a:ext cx="1542023" cy="1564653"/>
                </a:xfrm>
                <a:custGeom>
                  <a:avLst/>
                  <a:gdLst>
                    <a:gd name="T0" fmla="*/ 0 w 135"/>
                    <a:gd name="T1" fmla="*/ 2147483646 h 137"/>
                    <a:gd name="T2" fmla="*/ 2147483646 w 135"/>
                    <a:gd name="T3" fmla="*/ 2147483646 h 137"/>
                    <a:gd name="T4" fmla="*/ 2147483646 w 135"/>
                    <a:gd name="T5" fmla="*/ 0 h 137"/>
                    <a:gd name="T6" fmla="*/ 2147483646 w 135"/>
                    <a:gd name="T7" fmla="*/ 2147483646 h 137"/>
                    <a:gd name="T8" fmla="*/ 2147483646 w 135"/>
                    <a:gd name="T9" fmla="*/ 2147483646 h 137"/>
                    <a:gd name="T10" fmla="*/ 2147483646 w 135"/>
                    <a:gd name="T11" fmla="*/ 2147483646 h 137"/>
                    <a:gd name="T12" fmla="*/ 2147483646 w 135"/>
                    <a:gd name="T13" fmla="*/ 2147483646 h 137"/>
                    <a:gd name="T14" fmla="*/ 2147483646 w 135"/>
                    <a:gd name="T15" fmla="*/ 2147483646 h 137"/>
                    <a:gd name="T16" fmla="*/ 0 w 135"/>
                    <a:gd name="T17" fmla="*/ 2147483646 h 13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35" h="137">
                      <a:moveTo>
                        <a:pt x="0" y="68"/>
                      </a:moveTo>
                      <a:cubicBezTo>
                        <a:pt x="0" y="50"/>
                        <a:pt x="7" y="32"/>
                        <a:pt x="20" y="19"/>
                      </a:cubicBezTo>
                      <a:cubicBezTo>
                        <a:pt x="33" y="7"/>
                        <a:pt x="50" y="0"/>
                        <a:pt x="67" y="0"/>
                      </a:cubicBezTo>
                      <a:cubicBezTo>
                        <a:pt x="86" y="0"/>
                        <a:pt x="103" y="8"/>
                        <a:pt x="116" y="21"/>
                      </a:cubicBezTo>
                      <a:cubicBezTo>
                        <a:pt x="129" y="34"/>
                        <a:pt x="135" y="51"/>
                        <a:pt x="135" y="68"/>
                      </a:cubicBezTo>
                      <a:cubicBezTo>
                        <a:pt x="135" y="87"/>
                        <a:pt x="128" y="104"/>
                        <a:pt x="115" y="118"/>
                      </a:cubicBezTo>
                      <a:cubicBezTo>
                        <a:pt x="102" y="130"/>
                        <a:pt x="85" y="137"/>
                        <a:pt x="67" y="137"/>
                      </a:cubicBezTo>
                      <a:cubicBezTo>
                        <a:pt x="49" y="136"/>
                        <a:pt x="32" y="129"/>
                        <a:pt x="19" y="116"/>
                      </a:cubicBezTo>
                      <a:cubicBezTo>
                        <a:pt x="7" y="103"/>
                        <a:pt x="0" y="86"/>
                        <a:pt x="0" y="68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4113" name="Freeform 28"/>
                <p:cNvSpPr/>
                <p:nvPr/>
              </p:nvSpPr>
              <p:spPr bwMode="auto">
                <a:xfrm>
                  <a:off x="3013740" y="3154724"/>
                  <a:ext cx="1314115" cy="1338360"/>
                </a:xfrm>
                <a:custGeom>
                  <a:avLst/>
                  <a:gdLst>
                    <a:gd name="T0" fmla="*/ 0 w 115"/>
                    <a:gd name="T1" fmla="*/ 2147483646 h 117"/>
                    <a:gd name="T2" fmla="*/ 2147483646 w 115"/>
                    <a:gd name="T3" fmla="*/ 2093606843 h 117"/>
                    <a:gd name="T4" fmla="*/ 2147483646 w 115"/>
                    <a:gd name="T5" fmla="*/ 0 h 117"/>
                    <a:gd name="T6" fmla="*/ 2147483646 w 115"/>
                    <a:gd name="T7" fmla="*/ 2147483646 h 117"/>
                    <a:gd name="T8" fmla="*/ 2147483646 w 115"/>
                    <a:gd name="T9" fmla="*/ 2147483646 h 117"/>
                    <a:gd name="T10" fmla="*/ 2147483646 w 115"/>
                    <a:gd name="T11" fmla="*/ 2147483646 h 117"/>
                    <a:gd name="T12" fmla="*/ 2147483646 w 115"/>
                    <a:gd name="T13" fmla="*/ 2147483646 h 117"/>
                    <a:gd name="T14" fmla="*/ 2089248590 w 115"/>
                    <a:gd name="T15" fmla="*/ 2147483646 h 117"/>
                    <a:gd name="T16" fmla="*/ 0 w 115"/>
                    <a:gd name="T17" fmla="*/ 2147483646 h 11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15" h="117">
                      <a:moveTo>
                        <a:pt x="0" y="58"/>
                      </a:moveTo>
                      <a:cubicBezTo>
                        <a:pt x="0" y="43"/>
                        <a:pt x="6" y="28"/>
                        <a:pt x="17" y="16"/>
                      </a:cubicBezTo>
                      <a:cubicBezTo>
                        <a:pt x="28" y="6"/>
                        <a:pt x="42" y="0"/>
                        <a:pt x="57" y="0"/>
                      </a:cubicBezTo>
                      <a:cubicBezTo>
                        <a:pt x="73" y="0"/>
                        <a:pt x="88" y="6"/>
                        <a:pt x="99" y="18"/>
                      </a:cubicBezTo>
                      <a:cubicBezTo>
                        <a:pt x="110" y="29"/>
                        <a:pt x="115" y="43"/>
                        <a:pt x="115" y="58"/>
                      </a:cubicBezTo>
                      <a:cubicBezTo>
                        <a:pt x="115" y="74"/>
                        <a:pt x="109" y="89"/>
                        <a:pt x="98" y="100"/>
                      </a:cubicBezTo>
                      <a:cubicBezTo>
                        <a:pt x="87" y="111"/>
                        <a:pt x="72" y="117"/>
                        <a:pt x="57" y="117"/>
                      </a:cubicBezTo>
                      <a:cubicBezTo>
                        <a:pt x="42" y="117"/>
                        <a:pt x="27" y="110"/>
                        <a:pt x="16" y="99"/>
                      </a:cubicBezTo>
                      <a:cubicBezTo>
                        <a:pt x="6" y="88"/>
                        <a:pt x="0" y="74"/>
                        <a:pt x="0" y="58"/>
                      </a:cubicBezTo>
                      <a:close/>
                    </a:path>
                  </a:pathLst>
                </a:custGeom>
                <a:solidFill>
                  <a:srgbClr val="4395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4109" name="Freeform 276"/>
            <p:cNvSpPr>
              <a:spLocks noEditPoints="1"/>
            </p:cNvSpPr>
            <p:nvPr/>
          </p:nvSpPr>
          <p:spPr bwMode="auto">
            <a:xfrm>
              <a:off x="3264808" y="3152372"/>
              <a:ext cx="745678" cy="712055"/>
            </a:xfrm>
            <a:custGeom>
              <a:avLst/>
              <a:gdLst>
                <a:gd name="T0" fmla="*/ 2147483646 w 156"/>
                <a:gd name="T1" fmla="*/ 2147483646 h 161"/>
                <a:gd name="T2" fmla="*/ 2147483646 w 156"/>
                <a:gd name="T3" fmla="*/ 2147483646 h 161"/>
                <a:gd name="T4" fmla="*/ 2147483646 w 156"/>
                <a:gd name="T5" fmla="*/ 2147483646 h 161"/>
                <a:gd name="T6" fmla="*/ 2147483646 w 156"/>
                <a:gd name="T7" fmla="*/ 2147483646 h 161"/>
                <a:gd name="T8" fmla="*/ 0 w 156"/>
                <a:gd name="T9" fmla="*/ 2147483646 h 161"/>
                <a:gd name="T10" fmla="*/ 0 w 156"/>
                <a:gd name="T11" fmla="*/ 2147483646 h 161"/>
                <a:gd name="T12" fmla="*/ 2147483646 w 156"/>
                <a:gd name="T13" fmla="*/ 2147483646 h 161"/>
                <a:gd name="T14" fmla="*/ 2147483646 w 156"/>
                <a:gd name="T15" fmla="*/ 2147483646 h 161"/>
                <a:gd name="T16" fmla="*/ 2147483646 w 156"/>
                <a:gd name="T17" fmla="*/ 0 h 161"/>
                <a:gd name="T18" fmla="*/ 2147483646 w 156"/>
                <a:gd name="T19" fmla="*/ 2147483646 h 161"/>
                <a:gd name="T20" fmla="*/ 2147483646 w 156"/>
                <a:gd name="T21" fmla="*/ 2147483646 h 161"/>
                <a:gd name="T22" fmla="*/ 0 w 156"/>
                <a:gd name="T23" fmla="*/ 2147483646 h 161"/>
                <a:gd name="T24" fmla="*/ 2147483646 w 156"/>
                <a:gd name="T25" fmla="*/ 2147483646 h 161"/>
                <a:gd name="T26" fmla="*/ 2147483646 w 156"/>
                <a:gd name="T27" fmla="*/ 2147483646 h 161"/>
                <a:gd name="T28" fmla="*/ 2147483646 w 156"/>
                <a:gd name="T29" fmla="*/ 2147483646 h 161"/>
                <a:gd name="T30" fmla="*/ 2147483646 w 156"/>
                <a:gd name="T31" fmla="*/ 2147483646 h 161"/>
                <a:gd name="T32" fmla="*/ 2147483646 w 156"/>
                <a:gd name="T33" fmla="*/ 2147483646 h 161"/>
                <a:gd name="T34" fmla="*/ 2147483646 w 156"/>
                <a:gd name="T35" fmla="*/ 2147483646 h 161"/>
                <a:gd name="T36" fmla="*/ 2147483646 w 156"/>
                <a:gd name="T37" fmla="*/ 2147483646 h 161"/>
                <a:gd name="T38" fmla="*/ 2147483646 w 156"/>
                <a:gd name="T39" fmla="*/ 2147483646 h 161"/>
                <a:gd name="T40" fmla="*/ 2147483646 w 156"/>
                <a:gd name="T41" fmla="*/ 2147483646 h 161"/>
                <a:gd name="T42" fmla="*/ 2147483646 w 156"/>
                <a:gd name="T43" fmla="*/ 2147483646 h 161"/>
                <a:gd name="T44" fmla="*/ 2147483646 w 156"/>
                <a:gd name="T45" fmla="*/ 2147483646 h 161"/>
                <a:gd name="T46" fmla="*/ 2147483646 w 156"/>
                <a:gd name="T47" fmla="*/ 2147483646 h 161"/>
                <a:gd name="T48" fmla="*/ 2147483646 w 156"/>
                <a:gd name="T49" fmla="*/ 2147483646 h 161"/>
                <a:gd name="T50" fmla="*/ 2147483646 w 156"/>
                <a:gd name="T51" fmla="*/ 2147483646 h 161"/>
                <a:gd name="T52" fmla="*/ 2147483646 w 156"/>
                <a:gd name="T53" fmla="*/ 2147483646 h 161"/>
                <a:gd name="T54" fmla="*/ 2147483646 w 156"/>
                <a:gd name="T55" fmla="*/ 2147483646 h 161"/>
                <a:gd name="T56" fmla="*/ 2147483646 w 156"/>
                <a:gd name="T57" fmla="*/ 2147483646 h 161"/>
                <a:gd name="T58" fmla="*/ 2147483646 w 156"/>
                <a:gd name="T59" fmla="*/ 2147483646 h 161"/>
                <a:gd name="T60" fmla="*/ 2147483646 w 156"/>
                <a:gd name="T61" fmla="*/ 2147483646 h 161"/>
                <a:gd name="T62" fmla="*/ 2147483646 w 156"/>
                <a:gd name="T63" fmla="*/ 2147483646 h 161"/>
                <a:gd name="T64" fmla="*/ 2147483646 w 156"/>
                <a:gd name="T65" fmla="*/ 2147483646 h 161"/>
                <a:gd name="T66" fmla="*/ 2147483646 w 156"/>
                <a:gd name="T67" fmla="*/ 2147483646 h 161"/>
                <a:gd name="T68" fmla="*/ 2147483646 w 156"/>
                <a:gd name="T69" fmla="*/ 2147483646 h 161"/>
                <a:gd name="T70" fmla="*/ 2147483646 w 156"/>
                <a:gd name="T71" fmla="*/ 2147483646 h 161"/>
                <a:gd name="T72" fmla="*/ 2147483646 w 156"/>
                <a:gd name="T73" fmla="*/ 2147483646 h 16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6" h="161">
                  <a:moveTo>
                    <a:pt x="120" y="64"/>
                  </a:moveTo>
                  <a:lnTo>
                    <a:pt x="120" y="137"/>
                  </a:lnTo>
                  <a:lnTo>
                    <a:pt x="127" y="137"/>
                  </a:lnTo>
                  <a:lnTo>
                    <a:pt x="127" y="55"/>
                  </a:lnTo>
                  <a:lnTo>
                    <a:pt x="120" y="64"/>
                  </a:lnTo>
                  <a:close/>
                  <a:moveTo>
                    <a:pt x="0" y="144"/>
                  </a:moveTo>
                  <a:lnTo>
                    <a:pt x="156" y="144"/>
                  </a:lnTo>
                  <a:lnTo>
                    <a:pt x="156" y="161"/>
                  </a:lnTo>
                  <a:lnTo>
                    <a:pt x="0" y="161"/>
                  </a:lnTo>
                  <a:lnTo>
                    <a:pt x="0" y="144"/>
                  </a:lnTo>
                  <a:close/>
                  <a:moveTo>
                    <a:pt x="0" y="100"/>
                  </a:moveTo>
                  <a:lnTo>
                    <a:pt x="49" y="50"/>
                  </a:lnTo>
                  <a:lnTo>
                    <a:pt x="71" y="71"/>
                  </a:lnTo>
                  <a:lnTo>
                    <a:pt x="130" y="12"/>
                  </a:lnTo>
                  <a:lnTo>
                    <a:pt x="118" y="0"/>
                  </a:lnTo>
                  <a:lnTo>
                    <a:pt x="156" y="0"/>
                  </a:lnTo>
                  <a:lnTo>
                    <a:pt x="156" y="38"/>
                  </a:lnTo>
                  <a:lnTo>
                    <a:pt x="144" y="26"/>
                  </a:lnTo>
                  <a:lnTo>
                    <a:pt x="71" y="100"/>
                  </a:lnTo>
                  <a:lnTo>
                    <a:pt x="49" y="78"/>
                  </a:lnTo>
                  <a:lnTo>
                    <a:pt x="0" y="128"/>
                  </a:lnTo>
                  <a:lnTo>
                    <a:pt x="0" y="100"/>
                  </a:lnTo>
                  <a:close/>
                  <a:moveTo>
                    <a:pt x="134" y="48"/>
                  </a:moveTo>
                  <a:lnTo>
                    <a:pt x="134" y="137"/>
                  </a:lnTo>
                  <a:lnTo>
                    <a:pt x="144" y="137"/>
                  </a:lnTo>
                  <a:lnTo>
                    <a:pt x="144" y="38"/>
                  </a:lnTo>
                  <a:lnTo>
                    <a:pt x="134" y="48"/>
                  </a:lnTo>
                  <a:close/>
                  <a:moveTo>
                    <a:pt x="14" y="128"/>
                  </a:moveTo>
                  <a:lnTo>
                    <a:pt x="14" y="137"/>
                  </a:lnTo>
                  <a:lnTo>
                    <a:pt x="21" y="137"/>
                  </a:lnTo>
                  <a:lnTo>
                    <a:pt x="21" y="118"/>
                  </a:lnTo>
                  <a:lnTo>
                    <a:pt x="14" y="128"/>
                  </a:lnTo>
                  <a:close/>
                  <a:moveTo>
                    <a:pt x="28" y="111"/>
                  </a:moveTo>
                  <a:lnTo>
                    <a:pt x="28" y="137"/>
                  </a:lnTo>
                  <a:lnTo>
                    <a:pt x="38" y="137"/>
                  </a:lnTo>
                  <a:lnTo>
                    <a:pt x="38" y="104"/>
                  </a:lnTo>
                  <a:lnTo>
                    <a:pt x="28" y="111"/>
                  </a:lnTo>
                  <a:close/>
                  <a:moveTo>
                    <a:pt x="42" y="97"/>
                  </a:moveTo>
                  <a:lnTo>
                    <a:pt x="42" y="137"/>
                  </a:lnTo>
                  <a:lnTo>
                    <a:pt x="52" y="137"/>
                  </a:lnTo>
                  <a:lnTo>
                    <a:pt x="52" y="93"/>
                  </a:lnTo>
                  <a:lnTo>
                    <a:pt x="49" y="90"/>
                  </a:lnTo>
                  <a:lnTo>
                    <a:pt x="42" y="97"/>
                  </a:lnTo>
                  <a:close/>
                  <a:moveTo>
                    <a:pt x="59" y="100"/>
                  </a:moveTo>
                  <a:lnTo>
                    <a:pt x="59" y="137"/>
                  </a:lnTo>
                  <a:lnTo>
                    <a:pt x="68" y="137"/>
                  </a:lnTo>
                  <a:lnTo>
                    <a:pt x="68" y="109"/>
                  </a:lnTo>
                  <a:lnTo>
                    <a:pt x="61" y="102"/>
                  </a:lnTo>
                  <a:lnTo>
                    <a:pt x="59" y="100"/>
                  </a:lnTo>
                  <a:close/>
                  <a:moveTo>
                    <a:pt x="73" y="109"/>
                  </a:moveTo>
                  <a:lnTo>
                    <a:pt x="73" y="137"/>
                  </a:lnTo>
                  <a:lnTo>
                    <a:pt x="82" y="137"/>
                  </a:lnTo>
                  <a:lnTo>
                    <a:pt x="82" y="100"/>
                  </a:lnTo>
                  <a:lnTo>
                    <a:pt x="80" y="102"/>
                  </a:lnTo>
                  <a:lnTo>
                    <a:pt x="73" y="109"/>
                  </a:lnTo>
                  <a:close/>
                  <a:moveTo>
                    <a:pt x="90" y="95"/>
                  </a:moveTo>
                  <a:lnTo>
                    <a:pt x="90" y="137"/>
                  </a:lnTo>
                  <a:lnTo>
                    <a:pt x="99" y="137"/>
                  </a:lnTo>
                  <a:lnTo>
                    <a:pt x="99" y="85"/>
                  </a:lnTo>
                  <a:lnTo>
                    <a:pt x="90" y="95"/>
                  </a:lnTo>
                  <a:close/>
                  <a:moveTo>
                    <a:pt x="104" y="78"/>
                  </a:moveTo>
                  <a:lnTo>
                    <a:pt x="104" y="137"/>
                  </a:lnTo>
                  <a:lnTo>
                    <a:pt x="113" y="137"/>
                  </a:lnTo>
                  <a:lnTo>
                    <a:pt x="113" y="69"/>
                  </a:lnTo>
                  <a:lnTo>
                    <a:pt x="104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386" name="Straight Connector 5"/>
          <p:cNvCxnSpPr>
            <a:cxnSpLocks noChangeShapeType="1"/>
          </p:cNvCxnSpPr>
          <p:nvPr/>
        </p:nvCxnSpPr>
        <p:spPr bwMode="auto">
          <a:xfrm>
            <a:off x="1044575" y="3313113"/>
            <a:ext cx="6950075" cy="0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87" name="Straight Connector 6"/>
          <p:cNvCxnSpPr>
            <a:cxnSpLocks noChangeShapeType="1"/>
          </p:cNvCxnSpPr>
          <p:nvPr/>
        </p:nvCxnSpPr>
        <p:spPr bwMode="auto">
          <a:xfrm flipV="1">
            <a:off x="1074738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88" name="Straight Connector 7"/>
          <p:cNvCxnSpPr>
            <a:cxnSpLocks noChangeShapeType="1"/>
          </p:cNvCxnSpPr>
          <p:nvPr/>
        </p:nvCxnSpPr>
        <p:spPr bwMode="auto">
          <a:xfrm flipV="1">
            <a:off x="3359150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89" name="Straight Connector 8"/>
          <p:cNvCxnSpPr>
            <a:cxnSpLocks noChangeShapeType="1"/>
          </p:cNvCxnSpPr>
          <p:nvPr/>
        </p:nvCxnSpPr>
        <p:spPr bwMode="auto">
          <a:xfrm flipV="1">
            <a:off x="5675313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Rectangle 10"/>
          <p:cNvSpPr/>
          <p:nvPr/>
        </p:nvSpPr>
        <p:spPr bwMode="auto">
          <a:xfrm>
            <a:off x="1044575" y="1203325"/>
            <a:ext cx="5580063" cy="469900"/>
          </a:xfrm>
          <a:prstGeom prst="rect">
            <a:avLst/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Rectangle 11"/>
          <p:cNvSpPr/>
          <p:nvPr/>
        </p:nvSpPr>
        <p:spPr bwMode="auto">
          <a:xfrm>
            <a:off x="1044972" y="1789386"/>
            <a:ext cx="3340100" cy="46831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008FBA">
                <a:satMod val="300000"/>
              </a:srgbClr>
            </a:contourClr>
          </a:sp3d>
        </p:spPr>
        <p:txBody>
          <a:bodyPr lIns="186423" tIns="93212" rIns="186423" bIns="93212" anchor="b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28" name="Rectangle 12"/>
          <p:cNvSpPr/>
          <p:nvPr/>
        </p:nvSpPr>
        <p:spPr bwMode="auto">
          <a:xfrm>
            <a:off x="1044575" y="2400300"/>
            <a:ext cx="1941513" cy="468313"/>
          </a:xfrm>
          <a:prstGeom prst="rect">
            <a:avLst/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6395" name="Straight Connector 13"/>
          <p:cNvCxnSpPr>
            <a:cxnSpLocks noChangeShapeType="1"/>
          </p:cNvCxnSpPr>
          <p:nvPr/>
        </p:nvCxnSpPr>
        <p:spPr bwMode="auto">
          <a:xfrm flipV="1">
            <a:off x="7959725" y="3074988"/>
            <a:ext cx="0" cy="201612"/>
          </a:xfrm>
          <a:prstGeom prst="line">
            <a:avLst/>
          </a:prstGeom>
          <a:noFill/>
          <a:ln w="57150" algn="ctr">
            <a:solidFill>
              <a:srgbClr val="173E49">
                <a:alpha val="50195"/>
              </a:srgbClr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396" name="矩形 29"/>
          <p:cNvSpPr>
            <a:spLocks noChangeArrowheads="1"/>
          </p:cNvSpPr>
          <p:nvPr/>
        </p:nvSpPr>
        <p:spPr bwMode="auto">
          <a:xfrm>
            <a:off x="5313363" y="1235075"/>
            <a:ext cx="725487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16397" name="矩形 30"/>
          <p:cNvSpPr>
            <a:spLocks noChangeArrowheads="1"/>
          </p:cNvSpPr>
          <p:nvPr/>
        </p:nvSpPr>
        <p:spPr bwMode="auto">
          <a:xfrm>
            <a:off x="1757363" y="2432050"/>
            <a:ext cx="725487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16398" name="矩形 31"/>
          <p:cNvSpPr>
            <a:spLocks noChangeArrowheads="1"/>
          </p:cNvSpPr>
          <p:nvPr/>
        </p:nvSpPr>
        <p:spPr bwMode="auto">
          <a:xfrm>
            <a:off x="3081338" y="1820863"/>
            <a:ext cx="725487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5%</a:t>
            </a: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16399" name="组合 32"/>
          <p:cNvGrpSpPr/>
          <p:nvPr/>
        </p:nvGrpSpPr>
        <p:grpSpPr bwMode="auto">
          <a:xfrm>
            <a:off x="1344613" y="3425825"/>
            <a:ext cx="1685925" cy="782638"/>
            <a:chOff x="1403648" y="3508614"/>
            <a:chExt cx="1685835" cy="782569"/>
          </a:xfrm>
        </p:grpSpPr>
        <p:sp>
          <p:nvSpPr>
            <p:cNvPr id="34" name="矩形 33"/>
            <p:cNvSpPr/>
            <p:nvPr/>
          </p:nvSpPr>
          <p:spPr>
            <a:xfrm>
              <a:off x="1403648" y="3508614"/>
              <a:ext cx="1685835" cy="78256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425" name="矩形 34"/>
            <p:cNvSpPr>
              <a:spLocks noChangeArrowheads="1"/>
            </p:cNvSpPr>
            <p:nvPr/>
          </p:nvSpPr>
          <p:spPr bwMode="auto">
            <a:xfrm>
              <a:off x="1403648" y="3537186"/>
              <a:ext cx="1679485" cy="646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400" name="组合 35"/>
          <p:cNvGrpSpPr/>
          <p:nvPr/>
        </p:nvGrpSpPr>
        <p:grpSpPr bwMode="auto">
          <a:xfrm>
            <a:off x="3648075" y="3425825"/>
            <a:ext cx="1685925" cy="782638"/>
            <a:chOff x="3706999" y="3508614"/>
            <a:chExt cx="1685836" cy="782569"/>
          </a:xfrm>
        </p:grpSpPr>
        <p:sp>
          <p:nvSpPr>
            <p:cNvPr id="37" name="矩形 36"/>
            <p:cNvSpPr/>
            <p:nvPr/>
          </p:nvSpPr>
          <p:spPr>
            <a:xfrm>
              <a:off x="3706999" y="3508614"/>
              <a:ext cx="1685836" cy="78256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6423" name="矩形 37"/>
            <p:cNvSpPr>
              <a:spLocks noChangeArrowheads="1"/>
            </p:cNvSpPr>
            <p:nvPr/>
          </p:nvSpPr>
          <p:spPr bwMode="auto">
            <a:xfrm>
              <a:off x="3706999" y="3537186"/>
              <a:ext cx="1679486" cy="646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401" name="组合 38"/>
          <p:cNvGrpSpPr/>
          <p:nvPr/>
        </p:nvGrpSpPr>
        <p:grpSpPr bwMode="auto">
          <a:xfrm>
            <a:off x="5986463" y="3425825"/>
            <a:ext cx="1685925" cy="782638"/>
            <a:chOff x="6044992" y="3508614"/>
            <a:chExt cx="1685835" cy="782569"/>
          </a:xfrm>
        </p:grpSpPr>
        <p:sp>
          <p:nvSpPr>
            <p:cNvPr id="40" name="矩形 39"/>
            <p:cNvSpPr/>
            <p:nvPr/>
          </p:nvSpPr>
          <p:spPr>
            <a:xfrm>
              <a:off x="6044992" y="3508614"/>
              <a:ext cx="1685835" cy="782569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419" name="矩形 40"/>
            <p:cNvSpPr>
              <a:spLocks noChangeArrowheads="1"/>
            </p:cNvSpPr>
            <p:nvPr/>
          </p:nvSpPr>
          <p:spPr bwMode="auto">
            <a:xfrm>
              <a:off x="6044992" y="3537186"/>
              <a:ext cx="1679485" cy="646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6402" name="Rectangle 29"/>
          <p:cNvSpPr>
            <a:spLocks noChangeArrowheads="1"/>
          </p:cNvSpPr>
          <p:nvPr/>
        </p:nvSpPr>
        <p:spPr bwMode="auto">
          <a:xfrm>
            <a:off x="6643688" y="1296988"/>
            <a:ext cx="13843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altLang="zh-CN" sz="1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6403" name="Rectangle 29"/>
          <p:cNvSpPr>
            <a:spLocks noChangeArrowheads="1"/>
          </p:cNvSpPr>
          <p:nvPr/>
        </p:nvSpPr>
        <p:spPr bwMode="auto">
          <a:xfrm>
            <a:off x="4389438" y="1855788"/>
            <a:ext cx="13843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altLang="zh-CN" sz="1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6404" name="Rectangle 29"/>
          <p:cNvSpPr>
            <a:spLocks noChangeArrowheads="1"/>
          </p:cNvSpPr>
          <p:nvPr/>
        </p:nvSpPr>
        <p:spPr bwMode="auto">
          <a:xfrm>
            <a:off x="2995613" y="2455863"/>
            <a:ext cx="13843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154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930" indent="-28575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3130" indent="-228600" defTabSz="93154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70330" indent="-228600" defTabSz="93154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7530" indent="-228600" defTabSz="93154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2847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7419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1991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656330" indent="-228600" defTabSz="93154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文字</a:t>
            </a:r>
            <a:endParaRPr lang="en-US" altLang="zh-CN" sz="18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6405" name="Freeform 51"/>
          <p:cNvSpPr>
            <a:spLocks noEditPoints="1"/>
          </p:cNvSpPr>
          <p:nvPr/>
        </p:nvSpPr>
        <p:spPr bwMode="auto">
          <a:xfrm rot="10800000" flipH="1" flipV="1">
            <a:off x="5065713" y="1366838"/>
            <a:ext cx="157162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6406" name="Freeform 51"/>
          <p:cNvSpPr>
            <a:spLocks noEditPoints="1"/>
          </p:cNvSpPr>
          <p:nvPr/>
        </p:nvSpPr>
        <p:spPr bwMode="auto">
          <a:xfrm rot="10800000" flipH="1" flipV="1">
            <a:off x="2863850" y="1952625"/>
            <a:ext cx="157163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6407" name="Freeform 51"/>
          <p:cNvSpPr>
            <a:spLocks noEditPoints="1"/>
          </p:cNvSpPr>
          <p:nvPr/>
        </p:nvSpPr>
        <p:spPr bwMode="auto">
          <a:xfrm rot="10800000" flipH="1" flipV="1">
            <a:off x="1590675" y="2563813"/>
            <a:ext cx="158750" cy="142875"/>
          </a:xfrm>
          <a:custGeom>
            <a:avLst/>
            <a:gdLst>
              <a:gd name="T0" fmla="*/ 2147483646 w 160"/>
              <a:gd name="T1" fmla="*/ 0 h 145"/>
              <a:gd name="T2" fmla="*/ 2147483646 w 160"/>
              <a:gd name="T3" fmla="*/ 2147483646 h 145"/>
              <a:gd name="T4" fmla="*/ 2147483646 w 160"/>
              <a:gd name="T5" fmla="*/ 2147483646 h 145"/>
              <a:gd name="T6" fmla="*/ 2147483646 w 160"/>
              <a:gd name="T7" fmla="*/ 2147483646 h 145"/>
              <a:gd name="T8" fmla="*/ 2147483646 w 160"/>
              <a:gd name="T9" fmla="*/ 2147483646 h 145"/>
              <a:gd name="T10" fmla="*/ 2147483646 w 160"/>
              <a:gd name="T11" fmla="*/ 2147483646 h 145"/>
              <a:gd name="T12" fmla="*/ 2147483646 w 160"/>
              <a:gd name="T13" fmla="*/ 0 h 145"/>
              <a:gd name="T14" fmla="*/ 2147483646 w 160"/>
              <a:gd name="T15" fmla="*/ 0 h 145"/>
              <a:gd name="T16" fmla="*/ 2147483646 w 160"/>
              <a:gd name="T17" fmla="*/ 2147483646 h 145"/>
              <a:gd name="T18" fmla="*/ 2147483646 w 160"/>
              <a:gd name="T19" fmla="*/ 2147483646 h 145"/>
              <a:gd name="T20" fmla="*/ 2147483646 w 160"/>
              <a:gd name="T21" fmla="*/ 2147483646 h 145"/>
              <a:gd name="T22" fmla="*/ 2147483646 w 160"/>
              <a:gd name="T23" fmla="*/ 2147483646 h 145"/>
              <a:gd name="T24" fmla="*/ 2147483646 w 160"/>
              <a:gd name="T25" fmla="*/ 2147483646 h 145"/>
              <a:gd name="T26" fmla="*/ 2147483646 w 160"/>
              <a:gd name="T27" fmla="*/ 0 h 145"/>
              <a:gd name="T28" fmla="*/ 2147483646 w 160"/>
              <a:gd name="T29" fmla="*/ 0 h 145"/>
              <a:gd name="T30" fmla="*/ 0 w 160"/>
              <a:gd name="T31" fmla="*/ 2147483646 h 145"/>
              <a:gd name="T32" fmla="*/ 2147483646 w 160"/>
              <a:gd name="T33" fmla="*/ 2147483646 h 145"/>
              <a:gd name="T34" fmla="*/ 0 w 160"/>
              <a:gd name="T35" fmla="*/ 2147483646 h 145"/>
              <a:gd name="T36" fmla="*/ 2147483646 w 160"/>
              <a:gd name="T37" fmla="*/ 2147483646 h 145"/>
              <a:gd name="T38" fmla="*/ 2147483646 w 160"/>
              <a:gd name="T39" fmla="*/ 2147483646 h 145"/>
              <a:gd name="T40" fmla="*/ 2147483646 w 160"/>
              <a:gd name="T41" fmla="*/ 0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60" h="145">
                <a:moveTo>
                  <a:pt x="92" y="0"/>
                </a:moveTo>
                <a:lnTo>
                  <a:pt x="76" y="15"/>
                </a:lnTo>
                <a:lnTo>
                  <a:pt x="137" y="76"/>
                </a:lnTo>
                <a:lnTo>
                  <a:pt x="76" y="137"/>
                </a:lnTo>
                <a:lnTo>
                  <a:pt x="92" y="145"/>
                </a:lnTo>
                <a:lnTo>
                  <a:pt x="160" y="76"/>
                </a:lnTo>
                <a:lnTo>
                  <a:pt x="92" y="0"/>
                </a:lnTo>
                <a:close/>
                <a:moveTo>
                  <a:pt x="54" y="0"/>
                </a:moveTo>
                <a:lnTo>
                  <a:pt x="38" y="15"/>
                </a:lnTo>
                <a:lnTo>
                  <a:pt x="99" y="76"/>
                </a:lnTo>
                <a:lnTo>
                  <a:pt x="38" y="137"/>
                </a:lnTo>
                <a:lnTo>
                  <a:pt x="54" y="145"/>
                </a:lnTo>
                <a:lnTo>
                  <a:pt x="122" y="76"/>
                </a:lnTo>
                <a:lnTo>
                  <a:pt x="54" y="0"/>
                </a:lnTo>
                <a:close/>
                <a:moveTo>
                  <a:pt x="8" y="0"/>
                </a:moveTo>
                <a:lnTo>
                  <a:pt x="0" y="15"/>
                </a:lnTo>
                <a:lnTo>
                  <a:pt x="61" y="76"/>
                </a:lnTo>
                <a:lnTo>
                  <a:pt x="0" y="137"/>
                </a:lnTo>
                <a:lnTo>
                  <a:pt x="8" y="145"/>
                </a:lnTo>
                <a:lnTo>
                  <a:pt x="84" y="76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16408" name="组合 47"/>
          <p:cNvGrpSpPr/>
          <p:nvPr/>
        </p:nvGrpSpPr>
        <p:grpSpPr bwMode="auto">
          <a:xfrm>
            <a:off x="6038850" y="1270000"/>
            <a:ext cx="336550" cy="336550"/>
            <a:chOff x="730250" y="-1925638"/>
            <a:chExt cx="958850" cy="958850"/>
          </a:xfrm>
        </p:grpSpPr>
        <p:sp>
          <p:nvSpPr>
            <p:cNvPr id="49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417" name="Freeform 64"/>
            <p:cNvSpPr/>
            <p:nvPr/>
          </p:nvSpPr>
          <p:spPr bwMode="auto">
            <a:xfrm>
              <a:off x="1085850" y="-1685925"/>
              <a:ext cx="153988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6409" name="组合 53"/>
          <p:cNvGrpSpPr/>
          <p:nvPr/>
        </p:nvGrpSpPr>
        <p:grpSpPr bwMode="auto">
          <a:xfrm>
            <a:off x="3806825" y="1855788"/>
            <a:ext cx="334963" cy="334962"/>
            <a:chOff x="-1789113" y="-1925638"/>
            <a:chExt cx="958850" cy="958850"/>
          </a:xfrm>
        </p:grpSpPr>
        <p:sp>
          <p:nvSpPr>
            <p:cNvPr id="55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415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6410" name="组合 58"/>
          <p:cNvGrpSpPr/>
          <p:nvPr/>
        </p:nvGrpSpPr>
        <p:grpSpPr bwMode="auto">
          <a:xfrm>
            <a:off x="2482850" y="2465388"/>
            <a:ext cx="338138" cy="339725"/>
            <a:chOff x="-2120900" y="2405063"/>
            <a:chExt cx="968375" cy="968375"/>
          </a:xfrm>
        </p:grpSpPr>
        <p:sp>
          <p:nvSpPr>
            <p:cNvPr id="16411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1" name="Oval 73"/>
            <p:cNvSpPr>
              <a:spLocks noChangeArrowheads="1"/>
            </p:cNvSpPr>
            <p:nvPr/>
          </p:nvSpPr>
          <p:spPr bwMode="auto">
            <a:xfrm>
              <a:off x="-2116352" y="2409587"/>
              <a:ext cx="959279" cy="959325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413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Content Placeholder 10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013" y="2027238"/>
            <a:ext cx="2589212" cy="212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411" name="组合 1"/>
          <p:cNvGrpSpPr/>
          <p:nvPr/>
        </p:nvGrpSpPr>
        <p:grpSpPr bwMode="auto">
          <a:xfrm>
            <a:off x="611188" y="915988"/>
            <a:ext cx="2589212" cy="2168525"/>
            <a:chOff x="611561" y="915566"/>
            <a:chExt cx="2589530" cy="2169732"/>
          </a:xfrm>
        </p:grpSpPr>
        <p:sp>
          <p:nvSpPr>
            <p:cNvPr id="17433" name="矩形 58"/>
            <p:cNvSpPr>
              <a:spLocks noChangeArrowheads="1"/>
            </p:cNvSpPr>
            <p:nvPr/>
          </p:nvSpPr>
          <p:spPr bwMode="auto">
            <a:xfrm>
              <a:off x="611561" y="915566"/>
              <a:ext cx="2589530" cy="2169732"/>
            </a:xfrm>
            <a:prstGeom prst="rect">
              <a:avLst/>
            </a:prstGeom>
            <a:solidFill>
              <a:srgbClr val="4395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17434" name="Group 11"/>
            <p:cNvGrpSpPr/>
            <p:nvPr/>
          </p:nvGrpSpPr>
          <p:grpSpPr bwMode="auto">
            <a:xfrm>
              <a:off x="2513274" y="1581816"/>
              <a:ext cx="444812" cy="477977"/>
              <a:chOff x="10098722" y="4844264"/>
              <a:chExt cx="721677" cy="775485"/>
            </a:xfrm>
          </p:grpSpPr>
          <p:pic>
            <p:nvPicPr>
              <p:cNvPr id="17448" name="Picture 5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" t="2" r="-5029" b="-3754"/>
              <a:stretch>
                <a:fillRect/>
              </a:stretch>
            </p:blipFill>
            <p:spPr bwMode="auto">
              <a:xfrm>
                <a:off x="10098722" y="4844264"/>
                <a:ext cx="721677" cy="7754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5" name="Picture 4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967" t="23715" r="34093" b="38032"/>
              <a:stretch>
                <a:fillRect/>
              </a:stretch>
            </p:blipFill>
            <p:spPr bwMode="auto">
              <a:xfrm>
                <a:off x="10243328" y="4934580"/>
                <a:ext cx="408323" cy="5890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1743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-8958" b="-23366"/>
            <a:stretch>
              <a:fillRect/>
            </a:stretch>
          </p:blipFill>
          <p:spPr bwMode="auto">
            <a:xfrm>
              <a:off x="993469" y="1581587"/>
              <a:ext cx="503955" cy="478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7436" name="Group 15"/>
            <p:cNvGrpSpPr/>
            <p:nvPr/>
          </p:nvGrpSpPr>
          <p:grpSpPr bwMode="auto">
            <a:xfrm>
              <a:off x="1755539" y="2230122"/>
              <a:ext cx="465351" cy="465229"/>
              <a:chOff x="3249834" y="963808"/>
              <a:chExt cx="1000896" cy="1000896"/>
            </a:xfrm>
          </p:grpSpPr>
          <p:sp>
            <p:nvSpPr>
              <p:cNvPr id="38" name="Freeform 6"/>
              <p:cNvSpPr/>
              <p:nvPr/>
            </p:nvSpPr>
            <p:spPr bwMode="black">
              <a:xfrm>
                <a:off x="3251445" y="965153"/>
                <a:ext cx="1000560" cy="1001255"/>
              </a:xfrm>
              <a:custGeom>
                <a:avLst/>
                <a:gdLst>
                  <a:gd name="T0" fmla="*/ 0 w 1550"/>
                  <a:gd name="T1" fmla="*/ 278 h 1550"/>
                  <a:gd name="T2" fmla="*/ 0 w 1550"/>
                  <a:gd name="T3" fmla="*/ 1272 h 1550"/>
                  <a:gd name="T4" fmla="*/ 278 w 1550"/>
                  <a:gd name="T5" fmla="*/ 1550 h 1550"/>
                  <a:gd name="T6" fmla="*/ 1272 w 1550"/>
                  <a:gd name="T7" fmla="*/ 1550 h 1550"/>
                  <a:gd name="T8" fmla="*/ 1550 w 1550"/>
                  <a:gd name="T9" fmla="*/ 1272 h 1550"/>
                  <a:gd name="T10" fmla="*/ 1550 w 1550"/>
                  <a:gd name="T11" fmla="*/ 278 h 1550"/>
                  <a:gd name="T12" fmla="*/ 1272 w 1550"/>
                  <a:gd name="T13" fmla="*/ 0 h 1550"/>
                  <a:gd name="T14" fmla="*/ 278 w 1550"/>
                  <a:gd name="T15" fmla="*/ 0 h 1550"/>
                  <a:gd name="T16" fmla="*/ 0 w 1550"/>
                  <a:gd name="T17" fmla="*/ 278 h 1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0" h="1550">
                    <a:moveTo>
                      <a:pt x="0" y="278"/>
                    </a:moveTo>
                    <a:cubicBezTo>
                      <a:pt x="0" y="1272"/>
                      <a:pt x="0" y="1272"/>
                      <a:pt x="0" y="1272"/>
                    </a:cubicBezTo>
                    <a:cubicBezTo>
                      <a:pt x="0" y="1425"/>
                      <a:pt x="125" y="1550"/>
                      <a:pt x="278" y="1550"/>
                    </a:cubicBezTo>
                    <a:cubicBezTo>
                      <a:pt x="1272" y="1550"/>
                      <a:pt x="1272" y="1550"/>
                      <a:pt x="1272" y="1550"/>
                    </a:cubicBezTo>
                    <a:cubicBezTo>
                      <a:pt x="1425" y="1550"/>
                      <a:pt x="1550" y="1425"/>
                      <a:pt x="1550" y="1272"/>
                    </a:cubicBezTo>
                    <a:cubicBezTo>
                      <a:pt x="1550" y="278"/>
                      <a:pt x="1550" y="278"/>
                      <a:pt x="1550" y="278"/>
                    </a:cubicBezTo>
                    <a:cubicBezTo>
                      <a:pt x="1550" y="125"/>
                      <a:pt x="1425" y="0"/>
                      <a:pt x="1272" y="0"/>
                    </a:cubicBezTo>
                    <a:cubicBezTo>
                      <a:pt x="278" y="0"/>
                      <a:pt x="278" y="0"/>
                      <a:pt x="278" y="0"/>
                    </a:cubicBezTo>
                    <a:cubicBezTo>
                      <a:pt x="125" y="0"/>
                      <a:pt x="0" y="125"/>
                      <a:pt x="0" y="27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39" name="Freeform 7"/>
              <p:cNvSpPr/>
              <p:nvPr/>
            </p:nvSpPr>
            <p:spPr bwMode="black">
              <a:xfrm>
                <a:off x="3678306" y="1088175"/>
                <a:ext cx="423445" cy="796220"/>
              </a:xfrm>
              <a:custGeom>
                <a:avLst/>
                <a:gdLst>
                  <a:gd name="T0" fmla="*/ 548 w 652"/>
                  <a:gd name="T1" fmla="*/ 211 h 1234"/>
                  <a:gd name="T2" fmla="*/ 652 w 652"/>
                  <a:gd name="T3" fmla="*/ 211 h 1234"/>
                  <a:gd name="T4" fmla="*/ 652 w 652"/>
                  <a:gd name="T5" fmla="*/ 0 h 1234"/>
                  <a:gd name="T6" fmla="*/ 426 w 652"/>
                  <a:gd name="T7" fmla="*/ 0 h 1234"/>
                  <a:gd name="T8" fmla="*/ 178 w 652"/>
                  <a:gd name="T9" fmla="*/ 248 h 1234"/>
                  <a:gd name="T10" fmla="*/ 178 w 652"/>
                  <a:gd name="T11" fmla="*/ 374 h 1234"/>
                  <a:gd name="T12" fmla="*/ 0 w 652"/>
                  <a:gd name="T13" fmla="*/ 374 h 1234"/>
                  <a:gd name="T14" fmla="*/ 0 w 652"/>
                  <a:gd name="T15" fmla="*/ 585 h 1234"/>
                  <a:gd name="T16" fmla="*/ 178 w 652"/>
                  <a:gd name="T17" fmla="*/ 585 h 1234"/>
                  <a:gd name="T18" fmla="*/ 178 w 652"/>
                  <a:gd name="T19" fmla="*/ 1234 h 1234"/>
                  <a:gd name="T20" fmla="*/ 455 w 652"/>
                  <a:gd name="T21" fmla="*/ 1234 h 1234"/>
                  <a:gd name="T22" fmla="*/ 455 w 652"/>
                  <a:gd name="T23" fmla="*/ 585 h 1234"/>
                  <a:gd name="T24" fmla="*/ 652 w 652"/>
                  <a:gd name="T25" fmla="*/ 585 h 1234"/>
                  <a:gd name="T26" fmla="*/ 652 w 652"/>
                  <a:gd name="T27" fmla="*/ 374 h 1234"/>
                  <a:gd name="T28" fmla="*/ 455 w 652"/>
                  <a:gd name="T29" fmla="*/ 374 h 1234"/>
                  <a:gd name="T30" fmla="*/ 455 w 652"/>
                  <a:gd name="T31" fmla="*/ 304 h 1234"/>
                  <a:gd name="T32" fmla="*/ 548 w 652"/>
                  <a:gd name="T33" fmla="*/ 211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2" h="1234">
                    <a:moveTo>
                      <a:pt x="548" y="211"/>
                    </a:moveTo>
                    <a:cubicBezTo>
                      <a:pt x="652" y="211"/>
                      <a:pt x="652" y="211"/>
                      <a:pt x="652" y="211"/>
                    </a:cubicBezTo>
                    <a:cubicBezTo>
                      <a:pt x="652" y="0"/>
                      <a:pt x="652" y="0"/>
                      <a:pt x="652" y="0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289" y="0"/>
                      <a:pt x="178" y="111"/>
                      <a:pt x="178" y="248"/>
                    </a:cubicBezTo>
                    <a:cubicBezTo>
                      <a:pt x="178" y="374"/>
                      <a:pt x="178" y="374"/>
                      <a:pt x="178" y="374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585"/>
                      <a:pt x="0" y="585"/>
                      <a:pt x="0" y="585"/>
                    </a:cubicBezTo>
                    <a:cubicBezTo>
                      <a:pt x="178" y="585"/>
                      <a:pt x="178" y="585"/>
                      <a:pt x="178" y="585"/>
                    </a:cubicBezTo>
                    <a:cubicBezTo>
                      <a:pt x="178" y="1234"/>
                      <a:pt x="178" y="1234"/>
                      <a:pt x="178" y="1234"/>
                    </a:cubicBezTo>
                    <a:cubicBezTo>
                      <a:pt x="455" y="1234"/>
                      <a:pt x="455" y="1234"/>
                      <a:pt x="455" y="1234"/>
                    </a:cubicBezTo>
                    <a:cubicBezTo>
                      <a:pt x="455" y="585"/>
                      <a:pt x="455" y="585"/>
                      <a:pt x="455" y="585"/>
                    </a:cubicBezTo>
                    <a:cubicBezTo>
                      <a:pt x="652" y="585"/>
                      <a:pt x="652" y="585"/>
                      <a:pt x="652" y="585"/>
                    </a:cubicBezTo>
                    <a:cubicBezTo>
                      <a:pt x="652" y="374"/>
                      <a:pt x="652" y="374"/>
                      <a:pt x="652" y="374"/>
                    </a:cubicBezTo>
                    <a:cubicBezTo>
                      <a:pt x="455" y="374"/>
                      <a:pt x="455" y="374"/>
                      <a:pt x="455" y="374"/>
                    </a:cubicBezTo>
                    <a:cubicBezTo>
                      <a:pt x="455" y="304"/>
                      <a:pt x="455" y="304"/>
                      <a:pt x="455" y="304"/>
                    </a:cubicBezTo>
                    <a:cubicBezTo>
                      <a:pt x="455" y="252"/>
                      <a:pt x="496" y="211"/>
                      <a:pt x="548" y="211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algn="ctr" defTabSz="1118235" eaLnBrk="1" hangingPunct="1">
                  <a:defRPr/>
                </a:pPr>
                <a:endParaRPr lang="en-US" sz="16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</p:grpSp>
        <p:sp>
          <p:nvSpPr>
            <p:cNvPr id="40" name="Freeform 13"/>
            <p:cNvSpPr>
              <a:spLocks noEditPoints="1"/>
            </p:cNvSpPr>
            <p:nvPr/>
          </p:nvSpPr>
          <p:spPr bwMode="black">
            <a:xfrm>
              <a:off x="2392955" y="2249808"/>
              <a:ext cx="504887" cy="430451"/>
            </a:xfrm>
            <a:custGeom>
              <a:avLst/>
              <a:gdLst>
                <a:gd name="T0" fmla="*/ 344 w 414"/>
                <a:gd name="T1" fmla="*/ 55 h 353"/>
                <a:gd name="T2" fmla="*/ 296 w 414"/>
                <a:gd name="T3" fmla="*/ 9 h 353"/>
                <a:gd name="T4" fmla="*/ 206 w 414"/>
                <a:gd name="T5" fmla="*/ 45 h 353"/>
                <a:gd name="T6" fmla="*/ 0 w 414"/>
                <a:gd name="T7" fmla="*/ 174 h 353"/>
                <a:gd name="T8" fmla="*/ 158 w 414"/>
                <a:gd name="T9" fmla="*/ 278 h 353"/>
                <a:gd name="T10" fmla="*/ 160 w 414"/>
                <a:gd name="T11" fmla="*/ 278 h 353"/>
                <a:gd name="T12" fmla="*/ 160 w 414"/>
                <a:gd name="T13" fmla="*/ 332 h 353"/>
                <a:gd name="T14" fmla="*/ 133 w 414"/>
                <a:gd name="T15" fmla="*/ 337 h 353"/>
                <a:gd name="T16" fmla="*/ 128 w 414"/>
                <a:gd name="T17" fmla="*/ 347 h 353"/>
                <a:gd name="T18" fmla="*/ 137 w 414"/>
                <a:gd name="T19" fmla="*/ 352 h 353"/>
                <a:gd name="T20" fmla="*/ 137 w 414"/>
                <a:gd name="T21" fmla="*/ 352 h 353"/>
                <a:gd name="T22" fmla="*/ 176 w 414"/>
                <a:gd name="T23" fmla="*/ 346 h 353"/>
                <a:gd name="T24" fmla="*/ 215 w 414"/>
                <a:gd name="T25" fmla="*/ 352 h 353"/>
                <a:gd name="T26" fmla="*/ 218 w 414"/>
                <a:gd name="T27" fmla="*/ 352 h 353"/>
                <a:gd name="T28" fmla="*/ 224 w 414"/>
                <a:gd name="T29" fmla="*/ 347 h 353"/>
                <a:gd name="T30" fmla="*/ 245 w 414"/>
                <a:gd name="T31" fmla="*/ 352 h 353"/>
                <a:gd name="T32" fmla="*/ 248 w 414"/>
                <a:gd name="T33" fmla="*/ 352 h 353"/>
                <a:gd name="T34" fmla="*/ 255 w 414"/>
                <a:gd name="T35" fmla="*/ 347 h 353"/>
                <a:gd name="T36" fmla="*/ 250 w 414"/>
                <a:gd name="T37" fmla="*/ 337 h 353"/>
                <a:gd name="T38" fmla="*/ 207 w 414"/>
                <a:gd name="T39" fmla="*/ 331 h 353"/>
                <a:gd name="T40" fmla="*/ 207 w 414"/>
                <a:gd name="T41" fmla="*/ 271 h 353"/>
                <a:gd name="T42" fmla="*/ 343 w 414"/>
                <a:gd name="T43" fmla="*/ 112 h 353"/>
                <a:gd name="T44" fmla="*/ 414 w 414"/>
                <a:gd name="T45" fmla="*/ 83 h 353"/>
                <a:gd name="T46" fmla="*/ 344 w 414"/>
                <a:gd name="T47" fmla="*/ 55 h 353"/>
                <a:gd name="T48" fmla="*/ 192 w 414"/>
                <a:gd name="T49" fmla="*/ 332 h 353"/>
                <a:gd name="T50" fmla="*/ 192 w 414"/>
                <a:gd name="T51" fmla="*/ 332 h 353"/>
                <a:gd name="T52" fmla="*/ 191 w 414"/>
                <a:gd name="T53" fmla="*/ 332 h 353"/>
                <a:gd name="T54" fmla="*/ 176 w 414"/>
                <a:gd name="T55" fmla="*/ 331 h 353"/>
                <a:gd name="T56" fmla="*/ 175 w 414"/>
                <a:gd name="T57" fmla="*/ 331 h 353"/>
                <a:gd name="T58" fmla="*/ 175 w 414"/>
                <a:gd name="T59" fmla="*/ 277 h 353"/>
                <a:gd name="T60" fmla="*/ 192 w 414"/>
                <a:gd name="T61" fmla="*/ 275 h 353"/>
                <a:gd name="T62" fmla="*/ 192 w 414"/>
                <a:gd name="T63" fmla="*/ 332 h 353"/>
                <a:gd name="T64" fmla="*/ 286 w 414"/>
                <a:gd name="T65" fmla="*/ 82 h 353"/>
                <a:gd name="T66" fmla="*/ 271 w 414"/>
                <a:gd name="T67" fmla="*/ 67 h 353"/>
                <a:gd name="T68" fmla="*/ 286 w 414"/>
                <a:gd name="T69" fmla="*/ 52 h 353"/>
                <a:gd name="T70" fmla="*/ 301 w 414"/>
                <a:gd name="T71" fmla="*/ 67 h 353"/>
                <a:gd name="T72" fmla="*/ 286 w 414"/>
                <a:gd name="T73" fmla="*/ 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4" h="353">
                  <a:moveTo>
                    <a:pt x="344" y="55"/>
                  </a:moveTo>
                  <a:cubicBezTo>
                    <a:pt x="336" y="33"/>
                    <a:pt x="319" y="16"/>
                    <a:pt x="296" y="9"/>
                  </a:cubicBezTo>
                  <a:cubicBezTo>
                    <a:pt x="263" y="0"/>
                    <a:pt x="228" y="11"/>
                    <a:pt x="206" y="45"/>
                  </a:cubicBezTo>
                  <a:cubicBezTo>
                    <a:pt x="145" y="140"/>
                    <a:pt x="71" y="200"/>
                    <a:pt x="0" y="174"/>
                  </a:cubicBezTo>
                  <a:cubicBezTo>
                    <a:pt x="0" y="174"/>
                    <a:pt x="50" y="278"/>
                    <a:pt x="158" y="278"/>
                  </a:cubicBezTo>
                  <a:cubicBezTo>
                    <a:pt x="159" y="278"/>
                    <a:pt x="160" y="278"/>
                    <a:pt x="160" y="278"/>
                  </a:cubicBezTo>
                  <a:cubicBezTo>
                    <a:pt x="160" y="332"/>
                    <a:pt x="160" y="332"/>
                    <a:pt x="160" y="332"/>
                  </a:cubicBezTo>
                  <a:cubicBezTo>
                    <a:pt x="150" y="333"/>
                    <a:pt x="140" y="335"/>
                    <a:pt x="133" y="337"/>
                  </a:cubicBezTo>
                  <a:cubicBezTo>
                    <a:pt x="129" y="339"/>
                    <a:pt x="127" y="343"/>
                    <a:pt x="128" y="347"/>
                  </a:cubicBezTo>
                  <a:cubicBezTo>
                    <a:pt x="129" y="351"/>
                    <a:pt x="134" y="353"/>
                    <a:pt x="137" y="352"/>
                  </a:cubicBezTo>
                  <a:cubicBezTo>
                    <a:pt x="137" y="352"/>
                    <a:pt x="137" y="352"/>
                    <a:pt x="137" y="352"/>
                  </a:cubicBezTo>
                  <a:cubicBezTo>
                    <a:pt x="147" y="348"/>
                    <a:pt x="161" y="346"/>
                    <a:pt x="176" y="346"/>
                  </a:cubicBezTo>
                  <a:cubicBezTo>
                    <a:pt x="192" y="346"/>
                    <a:pt x="206" y="348"/>
                    <a:pt x="215" y="352"/>
                  </a:cubicBezTo>
                  <a:cubicBezTo>
                    <a:pt x="216" y="352"/>
                    <a:pt x="217" y="352"/>
                    <a:pt x="218" y="352"/>
                  </a:cubicBezTo>
                  <a:cubicBezTo>
                    <a:pt x="221" y="352"/>
                    <a:pt x="223" y="350"/>
                    <a:pt x="224" y="347"/>
                  </a:cubicBezTo>
                  <a:cubicBezTo>
                    <a:pt x="232" y="348"/>
                    <a:pt x="240" y="350"/>
                    <a:pt x="245" y="352"/>
                  </a:cubicBezTo>
                  <a:cubicBezTo>
                    <a:pt x="246" y="352"/>
                    <a:pt x="247" y="352"/>
                    <a:pt x="248" y="352"/>
                  </a:cubicBezTo>
                  <a:cubicBezTo>
                    <a:pt x="251" y="352"/>
                    <a:pt x="254" y="350"/>
                    <a:pt x="255" y="347"/>
                  </a:cubicBezTo>
                  <a:cubicBezTo>
                    <a:pt x="256" y="343"/>
                    <a:pt x="254" y="339"/>
                    <a:pt x="250" y="337"/>
                  </a:cubicBezTo>
                  <a:cubicBezTo>
                    <a:pt x="239" y="334"/>
                    <a:pt x="224" y="331"/>
                    <a:pt x="207" y="331"/>
                  </a:cubicBezTo>
                  <a:cubicBezTo>
                    <a:pt x="207" y="271"/>
                    <a:pt x="207" y="271"/>
                    <a:pt x="207" y="271"/>
                  </a:cubicBezTo>
                  <a:cubicBezTo>
                    <a:pt x="283" y="251"/>
                    <a:pt x="323" y="185"/>
                    <a:pt x="343" y="112"/>
                  </a:cubicBezTo>
                  <a:cubicBezTo>
                    <a:pt x="414" y="83"/>
                    <a:pt x="414" y="83"/>
                    <a:pt x="414" y="83"/>
                  </a:cubicBezTo>
                  <a:lnTo>
                    <a:pt x="344" y="55"/>
                  </a:lnTo>
                  <a:close/>
                  <a:moveTo>
                    <a:pt x="192" y="332"/>
                  </a:moveTo>
                  <a:cubicBezTo>
                    <a:pt x="192" y="332"/>
                    <a:pt x="192" y="332"/>
                    <a:pt x="192" y="332"/>
                  </a:cubicBezTo>
                  <a:cubicBezTo>
                    <a:pt x="192" y="332"/>
                    <a:pt x="192" y="332"/>
                    <a:pt x="191" y="332"/>
                  </a:cubicBezTo>
                  <a:cubicBezTo>
                    <a:pt x="187" y="331"/>
                    <a:pt x="181" y="331"/>
                    <a:pt x="176" y="331"/>
                  </a:cubicBezTo>
                  <a:cubicBezTo>
                    <a:pt x="176" y="331"/>
                    <a:pt x="176" y="331"/>
                    <a:pt x="175" y="331"/>
                  </a:cubicBezTo>
                  <a:cubicBezTo>
                    <a:pt x="175" y="277"/>
                    <a:pt x="175" y="277"/>
                    <a:pt x="175" y="277"/>
                  </a:cubicBezTo>
                  <a:cubicBezTo>
                    <a:pt x="181" y="276"/>
                    <a:pt x="187" y="276"/>
                    <a:pt x="192" y="275"/>
                  </a:cubicBezTo>
                  <a:lnTo>
                    <a:pt x="192" y="332"/>
                  </a:lnTo>
                  <a:close/>
                  <a:moveTo>
                    <a:pt x="286" y="82"/>
                  </a:moveTo>
                  <a:cubicBezTo>
                    <a:pt x="278" y="82"/>
                    <a:pt x="271" y="75"/>
                    <a:pt x="271" y="67"/>
                  </a:cubicBezTo>
                  <a:cubicBezTo>
                    <a:pt x="271" y="59"/>
                    <a:pt x="278" y="52"/>
                    <a:pt x="286" y="52"/>
                  </a:cubicBezTo>
                  <a:cubicBezTo>
                    <a:pt x="294" y="52"/>
                    <a:pt x="301" y="59"/>
                    <a:pt x="301" y="67"/>
                  </a:cubicBezTo>
                  <a:cubicBezTo>
                    <a:pt x="301" y="75"/>
                    <a:pt x="294" y="82"/>
                    <a:pt x="286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83909" tIns="41954" rIns="83909" bIns="41954" anchor="ctr"/>
            <a:lstStyle/>
            <a:p>
              <a:pPr defTabSz="100647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pc="-166">
                <a:solidFill>
                  <a:prstClr val="black">
                    <a:lumMod val="50000"/>
                  </a:prstClr>
                </a:solidFill>
                <a:latin typeface="Segoe Light" pitchFamily="34" charset="0"/>
              </a:endParaRPr>
            </a:p>
          </p:txBody>
        </p:sp>
        <p:grpSp>
          <p:nvGrpSpPr>
            <p:cNvPr id="17438" name="Group 19"/>
            <p:cNvGrpSpPr/>
            <p:nvPr/>
          </p:nvGrpSpPr>
          <p:grpSpPr bwMode="auto">
            <a:xfrm>
              <a:off x="942513" y="2226762"/>
              <a:ext cx="616815" cy="468592"/>
              <a:chOff x="4951709" y="-1796350"/>
              <a:chExt cx="1938338" cy="1514475"/>
            </a:xfrm>
          </p:grpSpPr>
          <p:sp>
            <p:nvSpPr>
              <p:cNvPr id="42" name="Freeform 5"/>
              <p:cNvSpPr/>
              <p:nvPr/>
            </p:nvSpPr>
            <p:spPr bwMode="black">
              <a:xfrm>
                <a:off x="5762733" y="-1798872"/>
                <a:ext cx="1107630" cy="1155064"/>
              </a:xfrm>
              <a:custGeom>
                <a:avLst/>
                <a:gdLst>
                  <a:gd name="T0" fmla="*/ 65 w 294"/>
                  <a:gd name="T1" fmla="*/ 149 h 305"/>
                  <a:gd name="T2" fmla="*/ 0 w 294"/>
                  <a:gd name="T3" fmla="*/ 221 h 305"/>
                  <a:gd name="T4" fmla="*/ 82 w 294"/>
                  <a:gd name="T5" fmla="*/ 260 h 305"/>
                  <a:gd name="T6" fmla="*/ 222 w 294"/>
                  <a:gd name="T7" fmla="*/ 305 h 305"/>
                  <a:gd name="T8" fmla="*/ 215 w 294"/>
                  <a:gd name="T9" fmla="*/ 253 h 305"/>
                  <a:gd name="T10" fmla="*/ 211 w 294"/>
                  <a:gd name="T11" fmla="*/ 238 h 305"/>
                  <a:gd name="T12" fmla="*/ 281 w 294"/>
                  <a:gd name="T13" fmla="*/ 174 h 305"/>
                  <a:gd name="T14" fmla="*/ 281 w 294"/>
                  <a:gd name="T15" fmla="*/ 166 h 305"/>
                  <a:gd name="T16" fmla="*/ 208 w 294"/>
                  <a:gd name="T17" fmla="*/ 225 h 305"/>
                  <a:gd name="T18" fmla="*/ 173 w 294"/>
                  <a:gd name="T19" fmla="*/ 167 h 305"/>
                  <a:gd name="T20" fmla="*/ 133 w 294"/>
                  <a:gd name="T21" fmla="*/ 148 h 305"/>
                  <a:gd name="T22" fmla="*/ 165 w 294"/>
                  <a:gd name="T23" fmla="*/ 121 h 305"/>
                  <a:gd name="T24" fmla="*/ 177 w 294"/>
                  <a:gd name="T25" fmla="*/ 78 h 305"/>
                  <a:gd name="T26" fmla="*/ 99 w 294"/>
                  <a:gd name="T27" fmla="*/ 0 h 305"/>
                  <a:gd name="T28" fmla="*/ 21 w 294"/>
                  <a:gd name="T29" fmla="*/ 78 h 305"/>
                  <a:gd name="T30" fmla="*/ 34 w 294"/>
                  <a:gd name="T31" fmla="*/ 121 h 305"/>
                  <a:gd name="T32" fmla="*/ 65 w 294"/>
                  <a:gd name="T33" fmla="*/ 149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4" h="305">
                    <a:moveTo>
                      <a:pt x="65" y="149"/>
                    </a:moveTo>
                    <a:cubicBezTo>
                      <a:pt x="26" y="163"/>
                      <a:pt x="9" y="195"/>
                      <a:pt x="0" y="221"/>
                    </a:cubicBezTo>
                    <a:cubicBezTo>
                      <a:pt x="27" y="234"/>
                      <a:pt x="55" y="249"/>
                      <a:pt x="82" y="260"/>
                    </a:cubicBezTo>
                    <a:cubicBezTo>
                      <a:pt x="130" y="282"/>
                      <a:pt x="171" y="296"/>
                      <a:pt x="222" y="305"/>
                    </a:cubicBezTo>
                    <a:cubicBezTo>
                      <a:pt x="221" y="290"/>
                      <a:pt x="219" y="272"/>
                      <a:pt x="215" y="253"/>
                    </a:cubicBezTo>
                    <a:cubicBezTo>
                      <a:pt x="214" y="248"/>
                      <a:pt x="212" y="243"/>
                      <a:pt x="211" y="238"/>
                    </a:cubicBezTo>
                    <a:cubicBezTo>
                      <a:pt x="248" y="223"/>
                      <a:pt x="270" y="193"/>
                      <a:pt x="281" y="174"/>
                    </a:cubicBezTo>
                    <a:cubicBezTo>
                      <a:pt x="294" y="151"/>
                      <a:pt x="283" y="163"/>
                      <a:pt x="281" y="166"/>
                    </a:cubicBezTo>
                    <a:cubicBezTo>
                      <a:pt x="252" y="203"/>
                      <a:pt x="226" y="218"/>
                      <a:pt x="208" y="225"/>
                    </a:cubicBezTo>
                    <a:cubicBezTo>
                      <a:pt x="200" y="200"/>
                      <a:pt x="191" y="184"/>
                      <a:pt x="173" y="167"/>
                    </a:cubicBezTo>
                    <a:cubicBezTo>
                      <a:pt x="160" y="156"/>
                      <a:pt x="145" y="150"/>
                      <a:pt x="133" y="148"/>
                    </a:cubicBezTo>
                    <a:cubicBezTo>
                      <a:pt x="146" y="142"/>
                      <a:pt x="157" y="133"/>
                      <a:pt x="165" y="121"/>
                    </a:cubicBezTo>
                    <a:cubicBezTo>
                      <a:pt x="173" y="108"/>
                      <a:pt x="177" y="93"/>
                      <a:pt x="177" y="78"/>
                    </a:cubicBezTo>
                    <a:cubicBezTo>
                      <a:pt x="177" y="35"/>
                      <a:pt x="142" y="0"/>
                      <a:pt x="99" y="0"/>
                    </a:cubicBezTo>
                    <a:cubicBezTo>
                      <a:pt x="56" y="0"/>
                      <a:pt x="21" y="35"/>
                      <a:pt x="21" y="78"/>
                    </a:cubicBezTo>
                    <a:cubicBezTo>
                      <a:pt x="21" y="94"/>
                      <a:pt x="26" y="108"/>
                      <a:pt x="34" y="121"/>
                    </a:cubicBezTo>
                    <a:cubicBezTo>
                      <a:pt x="42" y="133"/>
                      <a:pt x="53" y="142"/>
                      <a:pt x="65" y="1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3" name="Freeform 6"/>
              <p:cNvSpPr/>
              <p:nvPr/>
            </p:nvSpPr>
            <p:spPr bwMode="black">
              <a:xfrm>
                <a:off x="5208919" y="-1721867"/>
                <a:ext cx="603707" cy="739240"/>
              </a:xfrm>
              <a:custGeom>
                <a:avLst/>
                <a:gdLst>
                  <a:gd name="T0" fmla="*/ 53 w 159"/>
                  <a:gd name="T1" fmla="*/ 165 h 195"/>
                  <a:gd name="T2" fmla="*/ 135 w 159"/>
                  <a:gd name="T3" fmla="*/ 195 h 195"/>
                  <a:gd name="T4" fmla="*/ 159 w 159"/>
                  <a:gd name="T5" fmla="*/ 152 h 195"/>
                  <a:gd name="T6" fmla="*/ 115 w 159"/>
                  <a:gd name="T7" fmla="*/ 127 h 195"/>
                  <a:gd name="T8" fmla="*/ 151 w 159"/>
                  <a:gd name="T9" fmla="*/ 68 h 195"/>
                  <a:gd name="T10" fmla="*/ 84 w 159"/>
                  <a:gd name="T11" fmla="*/ 0 h 195"/>
                  <a:gd name="T12" fmla="*/ 17 w 159"/>
                  <a:gd name="T13" fmla="*/ 68 h 195"/>
                  <a:gd name="T14" fmla="*/ 53 w 159"/>
                  <a:gd name="T15" fmla="*/ 127 h 195"/>
                  <a:gd name="T16" fmla="*/ 0 w 159"/>
                  <a:gd name="T17" fmla="*/ 164 h 195"/>
                  <a:gd name="T18" fmla="*/ 53 w 159"/>
                  <a:gd name="T19" fmla="*/ 16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195">
                    <a:moveTo>
                      <a:pt x="53" y="165"/>
                    </a:moveTo>
                    <a:cubicBezTo>
                      <a:pt x="81" y="171"/>
                      <a:pt x="108" y="182"/>
                      <a:pt x="135" y="195"/>
                    </a:cubicBezTo>
                    <a:cubicBezTo>
                      <a:pt x="142" y="178"/>
                      <a:pt x="149" y="164"/>
                      <a:pt x="159" y="152"/>
                    </a:cubicBezTo>
                    <a:cubicBezTo>
                      <a:pt x="141" y="134"/>
                      <a:pt x="122" y="128"/>
                      <a:pt x="115" y="127"/>
                    </a:cubicBezTo>
                    <a:cubicBezTo>
                      <a:pt x="137" y="116"/>
                      <a:pt x="151" y="94"/>
                      <a:pt x="151" y="68"/>
                    </a:cubicBezTo>
                    <a:cubicBezTo>
                      <a:pt x="151" y="30"/>
                      <a:pt x="121" y="0"/>
                      <a:pt x="84" y="0"/>
                    </a:cubicBezTo>
                    <a:cubicBezTo>
                      <a:pt x="47" y="0"/>
                      <a:pt x="17" y="30"/>
                      <a:pt x="17" y="68"/>
                    </a:cubicBezTo>
                    <a:cubicBezTo>
                      <a:pt x="17" y="94"/>
                      <a:pt x="31" y="116"/>
                      <a:pt x="53" y="127"/>
                    </a:cubicBezTo>
                    <a:cubicBezTo>
                      <a:pt x="47" y="129"/>
                      <a:pt x="21" y="136"/>
                      <a:pt x="0" y="164"/>
                    </a:cubicBezTo>
                    <a:cubicBezTo>
                      <a:pt x="15" y="161"/>
                      <a:pt x="35" y="161"/>
                      <a:pt x="53" y="1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4" name="Freeform 7"/>
              <p:cNvSpPr>
                <a:spLocks noEditPoints="1"/>
              </p:cNvSpPr>
              <p:nvPr/>
            </p:nvSpPr>
            <p:spPr bwMode="black">
              <a:xfrm>
                <a:off x="4949474" y="-1064764"/>
                <a:ext cx="1940846" cy="785441"/>
              </a:xfrm>
              <a:custGeom>
                <a:avLst/>
                <a:gdLst>
                  <a:gd name="T0" fmla="*/ 510 w 514"/>
                  <a:gd name="T1" fmla="*/ 123 h 207"/>
                  <a:gd name="T2" fmla="*/ 486 w 514"/>
                  <a:gd name="T3" fmla="*/ 122 h 207"/>
                  <a:gd name="T4" fmla="*/ 400 w 514"/>
                  <a:gd name="T5" fmla="*/ 109 h 207"/>
                  <a:gd name="T6" fmla="*/ 280 w 514"/>
                  <a:gd name="T7" fmla="*/ 70 h 207"/>
                  <a:gd name="T8" fmla="*/ 89 w 514"/>
                  <a:gd name="T9" fmla="*/ 2 h 207"/>
                  <a:gd name="T10" fmla="*/ 38 w 514"/>
                  <a:gd name="T11" fmla="*/ 8 h 207"/>
                  <a:gd name="T12" fmla="*/ 0 w 514"/>
                  <a:gd name="T13" fmla="*/ 60 h 207"/>
                  <a:gd name="T14" fmla="*/ 39 w 514"/>
                  <a:gd name="T15" fmla="*/ 109 h 207"/>
                  <a:gd name="T16" fmla="*/ 39 w 514"/>
                  <a:gd name="T17" fmla="*/ 110 h 207"/>
                  <a:gd name="T18" fmla="*/ 52 w 514"/>
                  <a:gd name="T19" fmla="*/ 123 h 207"/>
                  <a:gd name="T20" fmla="*/ 65 w 514"/>
                  <a:gd name="T21" fmla="*/ 123 h 207"/>
                  <a:gd name="T22" fmla="*/ 69 w 514"/>
                  <a:gd name="T23" fmla="*/ 122 h 207"/>
                  <a:gd name="T24" fmla="*/ 69 w 514"/>
                  <a:gd name="T25" fmla="*/ 143 h 207"/>
                  <a:gd name="T26" fmla="*/ 154 w 514"/>
                  <a:gd name="T27" fmla="*/ 160 h 207"/>
                  <a:gd name="T28" fmla="*/ 204 w 514"/>
                  <a:gd name="T29" fmla="*/ 158 h 207"/>
                  <a:gd name="T30" fmla="*/ 204 w 514"/>
                  <a:gd name="T31" fmla="*/ 154 h 207"/>
                  <a:gd name="T32" fmla="*/ 194 w 514"/>
                  <a:gd name="T33" fmla="*/ 133 h 207"/>
                  <a:gd name="T34" fmla="*/ 198 w 514"/>
                  <a:gd name="T35" fmla="*/ 48 h 207"/>
                  <a:gd name="T36" fmla="*/ 210 w 514"/>
                  <a:gd name="T37" fmla="*/ 52 h 207"/>
                  <a:gd name="T38" fmla="*/ 206 w 514"/>
                  <a:gd name="T39" fmla="*/ 133 h 207"/>
                  <a:gd name="T40" fmla="*/ 216 w 514"/>
                  <a:gd name="T41" fmla="*/ 145 h 207"/>
                  <a:gd name="T42" fmla="*/ 221 w 514"/>
                  <a:gd name="T43" fmla="*/ 186 h 207"/>
                  <a:gd name="T44" fmla="*/ 315 w 514"/>
                  <a:gd name="T45" fmla="*/ 207 h 207"/>
                  <a:gd name="T46" fmla="*/ 414 w 514"/>
                  <a:gd name="T47" fmla="*/ 184 h 207"/>
                  <a:gd name="T48" fmla="*/ 414 w 514"/>
                  <a:gd name="T49" fmla="*/ 171 h 207"/>
                  <a:gd name="T50" fmla="*/ 430 w 514"/>
                  <a:gd name="T51" fmla="*/ 168 h 207"/>
                  <a:gd name="T52" fmla="*/ 437 w 514"/>
                  <a:gd name="T53" fmla="*/ 151 h 207"/>
                  <a:gd name="T54" fmla="*/ 437 w 514"/>
                  <a:gd name="T55" fmla="*/ 138 h 207"/>
                  <a:gd name="T56" fmla="*/ 437 w 514"/>
                  <a:gd name="T57" fmla="*/ 125 h 207"/>
                  <a:gd name="T58" fmla="*/ 509 w 514"/>
                  <a:gd name="T59" fmla="*/ 126 h 207"/>
                  <a:gd name="T60" fmla="*/ 514 w 514"/>
                  <a:gd name="T61" fmla="*/ 124 h 207"/>
                  <a:gd name="T62" fmla="*/ 510 w 514"/>
                  <a:gd name="T63" fmla="*/ 123 h 207"/>
                  <a:gd name="T64" fmla="*/ 39 w 514"/>
                  <a:gd name="T65" fmla="*/ 90 h 207"/>
                  <a:gd name="T66" fmla="*/ 11 w 514"/>
                  <a:gd name="T67" fmla="*/ 61 h 207"/>
                  <a:gd name="T68" fmla="*/ 53 w 514"/>
                  <a:gd name="T69" fmla="*/ 21 h 207"/>
                  <a:gd name="T70" fmla="*/ 39 w 514"/>
                  <a:gd name="T71" fmla="*/ 9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14" h="207">
                    <a:moveTo>
                      <a:pt x="510" y="123"/>
                    </a:moveTo>
                    <a:cubicBezTo>
                      <a:pt x="509" y="123"/>
                      <a:pt x="500" y="123"/>
                      <a:pt x="486" y="122"/>
                    </a:cubicBezTo>
                    <a:cubicBezTo>
                      <a:pt x="479" y="121"/>
                      <a:pt x="445" y="119"/>
                      <a:pt x="400" y="109"/>
                    </a:cubicBezTo>
                    <a:cubicBezTo>
                      <a:pt x="364" y="101"/>
                      <a:pt x="319" y="86"/>
                      <a:pt x="280" y="70"/>
                    </a:cubicBezTo>
                    <a:cubicBezTo>
                      <a:pt x="212" y="43"/>
                      <a:pt x="147" y="5"/>
                      <a:pt x="89" y="2"/>
                    </a:cubicBezTo>
                    <a:cubicBezTo>
                      <a:pt x="58" y="0"/>
                      <a:pt x="49" y="5"/>
                      <a:pt x="38" y="8"/>
                    </a:cubicBezTo>
                    <a:cubicBezTo>
                      <a:pt x="10" y="19"/>
                      <a:pt x="0" y="41"/>
                      <a:pt x="0" y="60"/>
                    </a:cubicBezTo>
                    <a:cubicBezTo>
                      <a:pt x="0" y="79"/>
                      <a:pt x="8" y="103"/>
                      <a:pt x="39" y="109"/>
                    </a:cubicBezTo>
                    <a:cubicBezTo>
                      <a:pt x="39" y="109"/>
                      <a:pt x="39" y="110"/>
                      <a:pt x="39" y="110"/>
                    </a:cubicBezTo>
                    <a:cubicBezTo>
                      <a:pt x="39" y="119"/>
                      <a:pt x="44" y="123"/>
                      <a:pt x="52" y="123"/>
                    </a:cubicBezTo>
                    <a:cubicBezTo>
                      <a:pt x="56" y="123"/>
                      <a:pt x="65" y="123"/>
                      <a:pt x="65" y="123"/>
                    </a:cubicBezTo>
                    <a:cubicBezTo>
                      <a:pt x="65" y="123"/>
                      <a:pt x="68" y="123"/>
                      <a:pt x="69" y="122"/>
                    </a:cubicBezTo>
                    <a:cubicBezTo>
                      <a:pt x="69" y="143"/>
                      <a:pt x="69" y="143"/>
                      <a:pt x="69" y="143"/>
                    </a:cubicBezTo>
                    <a:cubicBezTo>
                      <a:pt x="69" y="153"/>
                      <a:pt x="79" y="160"/>
                      <a:pt x="154" y="160"/>
                    </a:cubicBezTo>
                    <a:cubicBezTo>
                      <a:pt x="176" y="160"/>
                      <a:pt x="192" y="159"/>
                      <a:pt x="204" y="158"/>
                    </a:cubicBezTo>
                    <a:cubicBezTo>
                      <a:pt x="204" y="157"/>
                      <a:pt x="204" y="155"/>
                      <a:pt x="204" y="154"/>
                    </a:cubicBezTo>
                    <a:cubicBezTo>
                      <a:pt x="199" y="150"/>
                      <a:pt x="194" y="144"/>
                      <a:pt x="194" y="133"/>
                    </a:cubicBezTo>
                    <a:cubicBezTo>
                      <a:pt x="194" y="131"/>
                      <a:pt x="193" y="82"/>
                      <a:pt x="198" y="48"/>
                    </a:cubicBezTo>
                    <a:cubicBezTo>
                      <a:pt x="202" y="49"/>
                      <a:pt x="206" y="51"/>
                      <a:pt x="210" y="52"/>
                    </a:cubicBezTo>
                    <a:cubicBezTo>
                      <a:pt x="206" y="82"/>
                      <a:pt x="206" y="122"/>
                      <a:pt x="206" y="133"/>
                    </a:cubicBezTo>
                    <a:cubicBezTo>
                      <a:pt x="206" y="146"/>
                      <a:pt x="216" y="145"/>
                      <a:pt x="216" y="145"/>
                    </a:cubicBezTo>
                    <a:cubicBezTo>
                      <a:pt x="216" y="177"/>
                      <a:pt x="219" y="183"/>
                      <a:pt x="221" y="186"/>
                    </a:cubicBezTo>
                    <a:cubicBezTo>
                      <a:pt x="222" y="189"/>
                      <a:pt x="226" y="207"/>
                      <a:pt x="315" y="207"/>
                    </a:cubicBezTo>
                    <a:cubicBezTo>
                      <a:pt x="412" y="207"/>
                      <a:pt x="414" y="184"/>
                      <a:pt x="414" y="184"/>
                    </a:cubicBezTo>
                    <a:cubicBezTo>
                      <a:pt x="414" y="171"/>
                      <a:pt x="414" y="171"/>
                      <a:pt x="414" y="171"/>
                    </a:cubicBezTo>
                    <a:cubicBezTo>
                      <a:pt x="422" y="172"/>
                      <a:pt x="427" y="170"/>
                      <a:pt x="430" y="168"/>
                    </a:cubicBezTo>
                    <a:cubicBezTo>
                      <a:pt x="437" y="163"/>
                      <a:pt x="437" y="155"/>
                      <a:pt x="437" y="151"/>
                    </a:cubicBezTo>
                    <a:cubicBezTo>
                      <a:pt x="437" y="150"/>
                      <a:pt x="437" y="145"/>
                      <a:pt x="437" y="138"/>
                    </a:cubicBezTo>
                    <a:cubicBezTo>
                      <a:pt x="437" y="134"/>
                      <a:pt x="437" y="130"/>
                      <a:pt x="437" y="125"/>
                    </a:cubicBezTo>
                    <a:cubicBezTo>
                      <a:pt x="482" y="127"/>
                      <a:pt x="502" y="127"/>
                      <a:pt x="509" y="126"/>
                    </a:cubicBezTo>
                    <a:cubicBezTo>
                      <a:pt x="513" y="126"/>
                      <a:pt x="514" y="124"/>
                      <a:pt x="514" y="124"/>
                    </a:cubicBezTo>
                    <a:cubicBezTo>
                      <a:pt x="513" y="123"/>
                      <a:pt x="511" y="123"/>
                      <a:pt x="510" y="123"/>
                    </a:cubicBezTo>
                    <a:close/>
                    <a:moveTo>
                      <a:pt x="39" y="90"/>
                    </a:moveTo>
                    <a:cubicBezTo>
                      <a:pt x="29" y="88"/>
                      <a:pt x="11" y="82"/>
                      <a:pt x="11" y="61"/>
                    </a:cubicBezTo>
                    <a:cubicBezTo>
                      <a:pt x="11" y="39"/>
                      <a:pt x="27" y="26"/>
                      <a:pt x="53" y="21"/>
                    </a:cubicBezTo>
                    <a:cubicBezTo>
                      <a:pt x="42" y="46"/>
                      <a:pt x="40" y="66"/>
                      <a:pt x="39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</p:grpSp>
        <p:grpSp>
          <p:nvGrpSpPr>
            <p:cNvPr id="17439" name="Group 23"/>
            <p:cNvGrpSpPr/>
            <p:nvPr/>
          </p:nvGrpSpPr>
          <p:grpSpPr bwMode="auto">
            <a:xfrm>
              <a:off x="1693634" y="1594639"/>
              <a:ext cx="648013" cy="432315"/>
              <a:chOff x="8672460" y="-1818199"/>
              <a:chExt cx="1811337" cy="1203325"/>
            </a:xfrm>
          </p:grpSpPr>
          <p:sp>
            <p:nvSpPr>
              <p:cNvPr id="46" name="Freeform 11"/>
              <p:cNvSpPr/>
              <p:nvPr/>
            </p:nvSpPr>
            <p:spPr bwMode="black">
              <a:xfrm>
                <a:off x="8847594" y="-1572933"/>
                <a:ext cx="1593227" cy="804654"/>
              </a:xfrm>
              <a:custGeom>
                <a:avLst/>
                <a:gdLst>
                  <a:gd name="T0" fmla="*/ 363 w 422"/>
                  <a:gd name="T1" fmla="*/ 1 h 213"/>
                  <a:gd name="T2" fmla="*/ 346 w 422"/>
                  <a:gd name="T3" fmla="*/ 0 h 213"/>
                  <a:gd name="T4" fmla="*/ 346 w 422"/>
                  <a:gd name="T5" fmla="*/ 0 h 213"/>
                  <a:gd name="T6" fmla="*/ 346 w 422"/>
                  <a:gd name="T7" fmla="*/ 0 h 213"/>
                  <a:gd name="T8" fmla="*/ 346 w 422"/>
                  <a:gd name="T9" fmla="*/ 0 h 213"/>
                  <a:gd name="T10" fmla="*/ 185 w 422"/>
                  <a:gd name="T11" fmla="*/ 98 h 213"/>
                  <a:gd name="T12" fmla="*/ 164 w 422"/>
                  <a:gd name="T13" fmla="*/ 105 h 213"/>
                  <a:gd name="T14" fmla="*/ 141 w 422"/>
                  <a:gd name="T15" fmla="*/ 96 h 213"/>
                  <a:gd name="T16" fmla="*/ 14 w 422"/>
                  <a:gd name="T17" fmla="*/ 2 h 213"/>
                  <a:gd name="T18" fmla="*/ 14 w 422"/>
                  <a:gd name="T19" fmla="*/ 2 h 213"/>
                  <a:gd name="T20" fmla="*/ 0 w 422"/>
                  <a:gd name="T21" fmla="*/ 1 h 213"/>
                  <a:gd name="T22" fmla="*/ 1 w 422"/>
                  <a:gd name="T23" fmla="*/ 100 h 213"/>
                  <a:gd name="T24" fmla="*/ 40 w 422"/>
                  <a:gd name="T25" fmla="*/ 98 h 213"/>
                  <a:gd name="T26" fmla="*/ 181 w 422"/>
                  <a:gd name="T27" fmla="*/ 149 h 213"/>
                  <a:gd name="T28" fmla="*/ 335 w 422"/>
                  <a:gd name="T29" fmla="*/ 211 h 213"/>
                  <a:gd name="T30" fmla="*/ 362 w 422"/>
                  <a:gd name="T31" fmla="*/ 213 h 213"/>
                  <a:gd name="T32" fmla="*/ 362 w 422"/>
                  <a:gd name="T33" fmla="*/ 169 h 213"/>
                  <a:gd name="T34" fmla="*/ 421 w 422"/>
                  <a:gd name="T35" fmla="*/ 114 h 213"/>
                  <a:gd name="T36" fmla="*/ 420 w 422"/>
                  <a:gd name="T37" fmla="*/ 111 h 213"/>
                  <a:gd name="T38" fmla="*/ 418 w 422"/>
                  <a:gd name="T39" fmla="*/ 115 h 213"/>
                  <a:gd name="T40" fmla="*/ 362 w 422"/>
                  <a:gd name="T41" fmla="*/ 155 h 213"/>
                  <a:gd name="T42" fmla="*/ 363 w 422"/>
                  <a:gd name="T43" fmla="*/ 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2" h="213">
                    <a:moveTo>
                      <a:pt x="363" y="1"/>
                    </a:moveTo>
                    <a:cubicBezTo>
                      <a:pt x="363" y="1"/>
                      <a:pt x="346" y="0"/>
                      <a:pt x="346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299" y="29"/>
                      <a:pt x="203" y="87"/>
                      <a:pt x="185" y="98"/>
                    </a:cubicBezTo>
                    <a:cubicBezTo>
                      <a:pt x="182" y="100"/>
                      <a:pt x="173" y="105"/>
                      <a:pt x="164" y="105"/>
                    </a:cubicBezTo>
                    <a:cubicBezTo>
                      <a:pt x="154" y="105"/>
                      <a:pt x="147" y="101"/>
                      <a:pt x="141" y="96"/>
                    </a:cubicBezTo>
                    <a:cubicBezTo>
                      <a:pt x="126" y="86"/>
                      <a:pt x="59" y="35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2"/>
                      <a:pt x="0" y="1"/>
                      <a:pt x="0" y="1"/>
                    </a:cubicBezTo>
                    <a:cubicBezTo>
                      <a:pt x="0" y="28"/>
                      <a:pt x="0" y="65"/>
                      <a:pt x="1" y="100"/>
                    </a:cubicBezTo>
                    <a:cubicBezTo>
                      <a:pt x="12" y="98"/>
                      <a:pt x="26" y="97"/>
                      <a:pt x="40" y="98"/>
                    </a:cubicBezTo>
                    <a:cubicBezTo>
                      <a:pt x="91" y="101"/>
                      <a:pt x="139" y="125"/>
                      <a:pt x="181" y="149"/>
                    </a:cubicBezTo>
                    <a:cubicBezTo>
                      <a:pt x="222" y="172"/>
                      <a:pt x="273" y="200"/>
                      <a:pt x="335" y="211"/>
                    </a:cubicBezTo>
                    <a:cubicBezTo>
                      <a:pt x="344" y="212"/>
                      <a:pt x="353" y="213"/>
                      <a:pt x="362" y="213"/>
                    </a:cubicBezTo>
                    <a:cubicBezTo>
                      <a:pt x="362" y="169"/>
                      <a:pt x="362" y="169"/>
                      <a:pt x="362" y="169"/>
                    </a:cubicBezTo>
                    <a:cubicBezTo>
                      <a:pt x="412" y="159"/>
                      <a:pt x="419" y="127"/>
                      <a:pt x="421" y="114"/>
                    </a:cubicBezTo>
                    <a:cubicBezTo>
                      <a:pt x="421" y="113"/>
                      <a:pt x="422" y="111"/>
                      <a:pt x="420" y="111"/>
                    </a:cubicBezTo>
                    <a:cubicBezTo>
                      <a:pt x="418" y="111"/>
                      <a:pt x="418" y="114"/>
                      <a:pt x="418" y="115"/>
                    </a:cubicBezTo>
                    <a:cubicBezTo>
                      <a:pt x="416" y="122"/>
                      <a:pt x="411" y="148"/>
                      <a:pt x="362" y="155"/>
                    </a:cubicBezTo>
                    <a:lnTo>
                      <a:pt x="36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7" name="Freeform 12"/>
              <p:cNvSpPr>
                <a:spLocks noEditPoints="1"/>
              </p:cNvSpPr>
              <p:nvPr/>
            </p:nvSpPr>
            <p:spPr bwMode="black">
              <a:xfrm>
                <a:off x="8674515" y="-1152920"/>
                <a:ext cx="1810686" cy="539383"/>
              </a:xfrm>
              <a:custGeom>
                <a:avLst/>
                <a:gdLst>
                  <a:gd name="T0" fmla="*/ 480 w 480"/>
                  <a:gd name="T1" fmla="*/ 81 h 143"/>
                  <a:gd name="T2" fmla="*/ 478 w 480"/>
                  <a:gd name="T3" fmla="*/ 81 h 143"/>
                  <a:gd name="T4" fmla="*/ 430 w 480"/>
                  <a:gd name="T5" fmla="*/ 106 h 143"/>
                  <a:gd name="T6" fmla="*/ 390 w 480"/>
                  <a:gd name="T7" fmla="*/ 107 h 143"/>
                  <a:gd name="T8" fmla="*/ 242 w 480"/>
                  <a:gd name="T9" fmla="*/ 62 h 143"/>
                  <a:gd name="T10" fmla="*/ 74 w 480"/>
                  <a:gd name="T11" fmla="*/ 1 h 143"/>
                  <a:gd name="T12" fmla="*/ 11 w 480"/>
                  <a:gd name="T13" fmla="*/ 19 h 143"/>
                  <a:gd name="T14" fmla="*/ 0 w 480"/>
                  <a:gd name="T15" fmla="*/ 53 h 143"/>
                  <a:gd name="T16" fmla="*/ 34 w 480"/>
                  <a:gd name="T17" fmla="*/ 89 h 143"/>
                  <a:gd name="T18" fmla="*/ 47 w 480"/>
                  <a:gd name="T19" fmla="*/ 90 h 143"/>
                  <a:gd name="T20" fmla="*/ 47 w 480"/>
                  <a:gd name="T21" fmla="*/ 102 h 143"/>
                  <a:gd name="T22" fmla="*/ 59 w 480"/>
                  <a:gd name="T23" fmla="*/ 117 h 143"/>
                  <a:gd name="T24" fmla="*/ 375 w 480"/>
                  <a:gd name="T25" fmla="*/ 143 h 143"/>
                  <a:gd name="T26" fmla="*/ 396 w 480"/>
                  <a:gd name="T27" fmla="*/ 139 h 143"/>
                  <a:gd name="T28" fmla="*/ 408 w 480"/>
                  <a:gd name="T29" fmla="*/ 123 h 143"/>
                  <a:gd name="T30" fmla="*/ 408 w 480"/>
                  <a:gd name="T31" fmla="*/ 115 h 143"/>
                  <a:gd name="T32" fmla="*/ 454 w 480"/>
                  <a:gd name="T33" fmla="*/ 105 h 143"/>
                  <a:gd name="T34" fmla="*/ 480 w 480"/>
                  <a:gd name="T35" fmla="*/ 82 h 143"/>
                  <a:gd name="T36" fmla="*/ 480 w 480"/>
                  <a:gd name="T37" fmla="*/ 81 h 143"/>
                  <a:gd name="T38" fmla="*/ 47 w 480"/>
                  <a:gd name="T39" fmla="*/ 73 h 143"/>
                  <a:gd name="T40" fmla="*/ 11 w 480"/>
                  <a:gd name="T41" fmla="*/ 51 h 143"/>
                  <a:gd name="T42" fmla="*/ 21 w 480"/>
                  <a:gd name="T43" fmla="*/ 26 h 143"/>
                  <a:gd name="T44" fmla="*/ 47 w 480"/>
                  <a:gd name="T45" fmla="*/ 18 h 143"/>
                  <a:gd name="T46" fmla="*/ 47 w 480"/>
                  <a:gd name="T47" fmla="*/ 7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80" h="143">
                    <a:moveTo>
                      <a:pt x="480" y="81"/>
                    </a:moveTo>
                    <a:cubicBezTo>
                      <a:pt x="479" y="80"/>
                      <a:pt x="478" y="81"/>
                      <a:pt x="478" y="81"/>
                    </a:cubicBezTo>
                    <a:cubicBezTo>
                      <a:pt x="463" y="97"/>
                      <a:pt x="443" y="103"/>
                      <a:pt x="430" y="106"/>
                    </a:cubicBezTo>
                    <a:cubicBezTo>
                      <a:pt x="420" y="108"/>
                      <a:pt x="408" y="108"/>
                      <a:pt x="390" y="107"/>
                    </a:cubicBezTo>
                    <a:cubicBezTo>
                      <a:pt x="350" y="103"/>
                      <a:pt x="301" y="91"/>
                      <a:pt x="242" y="62"/>
                    </a:cubicBezTo>
                    <a:cubicBezTo>
                      <a:pt x="169" y="25"/>
                      <a:pt x="119" y="3"/>
                      <a:pt x="74" y="1"/>
                    </a:cubicBezTo>
                    <a:cubicBezTo>
                      <a:pt x="54" y="0"/>
                      <a:pt x="26" y="1"/>
                      <a:pt x="11" y="19"/>
                    </a:cubicBezTo>
                    <a:cubicBezTo>
                      <a:pt x="3" y="27"/>
                      <a:pt x="0" y="40"/>
                      <a:pt x="0" y="53"/>
                    </a:cubicBezTo>
                    <a:cubicBezTo>
                      <a:pt x="1" y="80"/>
                      <a:pt x="23" y="88"/>
                      <a:pt x="34" y="89"/>
                    </a:cubicBezTo>
                    <a:cubicBezTo>
                      <a:pt x="38" y="90"/>
                      <a:pt x="43" y="91"/>
                      <a:pt x="47" y="90"/>
                    </a:cubicBezTo>
                    <a:cubicBezTo>
                      <a:pt x="47" y="97"/>
                      <a:pt x="47" y="101"/>
                      <a:pt x="47" y="102"/>
                    </a:cubicBezTo>
                    <a:cubicBezTo>
                      <a:pt x="47" y="112"/>
                      <a:pt x="50" y="116"/>
                      <a:pt x="59" y="117"/>
                    </a:cubicBezTo>
                    <a:cubicBezTo>
                      <a:pt x="68" y="117"/>
                      <a:pt x="371" y="143"/>
                      <a:pt x="375" y="143"/>
                    </a:cubicBezTo>
                    <a:cubicBezTo>
                      <a:pt x="380" y="143"/>
                      <a:pt x="391" y="142"/>
                      <a:pt x="396" y="139"/>
                    </a:cubicBezTo>
                    <a:cubicBezTo>
                      <a:pt x="401" y="136"/>
                      <a:pt x="408" y="133"/>
                      <a:pt x="408" y="123"/>
                    </a:cubicBezTo>
                    <a:cubicBezTo>
                      <a:pt x="408" y="115"/>
                      <a:pt x="408" y="115"/>
                      <a:pt x="408" y="115"/>
                    </a:cubicBezTo>
                    <a:cubicBezTo>
                      <a:pt x="425" y="115"/>
                      <a:pt x="441" y="111"/>
                      <a:pt x="454" y="105"/>
                    </a:cubicBezTo>
                    <a:cubicBezTo>
                      <a:pt x="464" y="100"/>
                      <a:pt x="473" y="92"/>
                      <a:pt x="480" y="82"/>
                    </a:cubicBezTo>
                    <a:cubicBezTo>
                      <a:pt x="480" y="82"/>
                      <a:pt x="480" y="81"/>
                      <a:pt x="480" y="81"/>
                    </a:cubicBezTo>
                    <a:close/>
                    <a:moveTo>
                      <a:pt x="47" y="73"/>
                    </a:moveTo>
                    <a:cubicBezTo>
                      <a:pt x="31" y="73"/>
                      <a:pt x="12" y="69"/>
                      <a:pt x="11" y="51"/>
                    </a:cubicBezTo>
                    <a:cubicBezTo>
                      <a:pt x="10" y="41"/>
                      <a:pt x="13" y="33"/>
                      <a:pt x="21" y="26"/>
                    </a:cubicBezTo>
                    <a:cubicBezTo>
                      <a:pt x="29" y="20"/>
                      <a:pt x="37" y="19"/>
                      <a:pt x="47" y="18"/>
                    </a:cubicBezTo>
                    <a:cubicBezTo>
                      <a:pt x="47" y="39"/>
                      <a:pt x="47" y="58"/>
                      <a:pt x="47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48" name="Freeform 13"/>
              <p:cNvSpPr/>
              <p:nvPr/>
            </p:nvSpPr>
            <p:spPr bwMode="black">
              <a:xfrm>
                <a:off x="8847594" y="-1816096"/>
                <a:ext cx="1371329" cy="561488"/>
              </a:xfrm>
              <a:custGeom>
                <a:avLst/>
                <a:gdLst>
                  <a:gd name="T0" fmla="*/ 137 w 363"/>
                  <a:gd name="T1" fmla="*/ 138 h 148"/>
                  <a:gd name="T2" fmla="*/ 163 w 363"/>
                  <a:gd name="T3" fmla="*/ 148 h 148"/>
                  <a:gd name="T4" fmla="*/ 189 w 363"/>
                  <a:gd name="T5" fmla="*/ 140 h 148"/>
                  <a:gd name="T6" fmla="*/ 363 w 363"/>
                  <a:gd name="T7" fmla="*/ 32 h 148"/>
                  <a:gd name="T8" fmla="*/ 363 w 363"/>
                  <a:gd name="T9" fmla="*/ 19 h 148"/>
                  <a:gd name="T10" fmla="*/ 348 w 363"/>
                  <a:gd name="T11" fmla="*/ 3 h 148"/>
                  <a:gd name="T12" fmla="*/ 335 w 363"/>
                  <a:gd name="T13" fmla="*/ 0 h 148"/>
                  <a:gd name="T14" fmla="*/ 330 w 363"/>
                  <a:gd name="T15" fmla="*/ 0 h 148"/>
                  <a:gd name="T16" fmla="*/ 13 w 363"/>
                  <a:gd name="T17" fmla="*/ 14 h 148"/>
                  <a:gd name="T18" fmla="*/ 0 w 363"/>
                  <a:gd name="T19" fmla="*/ 27 h 148"/>
                  <a:gd name="T20" fmla="*/ 0 w 363"/>
                  <a:gd name="T21" fmla="*/ 38 h 148"/>
                  <a:gd name="T22" fmla="*/ 137 w 363"/>
                  <a:gd name="T23" fmla="*/ 13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3" h="148">
                    <a:moveTo>
                      <a:pt x="137" y="138"/>
                    </a:moveTo>
                    <a:cubicBezTo>
                      <a:pt x="146" y="145"/>
                      <a:pt x="154" y="148"/>
                      <a:pt x="163" y="148"/>
                    </a:cubicBezTo>
                    <a:cubicBezTo>
                      <a:pt x="172" y="148"/>
                      <a:pt x="181" y="145"/>
                      <a:pt x="189" y="140"/>
                    </a:cubicBezTo>
                    <a:cubicBezTo>
                      <a:pt x="202" y="132"/>
                      <a:pt x="312" y="64"/>
                      <a:pt x="363" y="32"/>
                    </a:cubicBezTo>
                    <a:cubicBezTo>
                      <a:pt x="363" y="19"/>
                      <a:pt x="363" y="19"/>
                      <a:pt x="363" y="19"/>
                    </a:cubicBezTo>
                    <a:cubicBezTo>
                      <a:pt x="363" y="9"/>
                      <a:pt x="355" y="5"/>
                      <a:pt x="348" y="3"/>
                    </a:cubicBezTo>
                    <a:cubicBezTo>
                      <a:pt x="344" y="1"/>
                      <a:pt x="339" y="1"/>
                      <a:pt x="335" y="0"/>
                    </a:cubicBezTo>
                    <a:cubicBezTo>
                      <a:pt x="334" y="0"/>
                      <a:pt x="332" y="0"/>
                      <a:pt x="330" y="0"/>
                    </a:cubicBezTo>
                    <a:cubicBezTo>
                      <a:pt x="328" y="0"/>
                      <a:pt x="22" y="14"/>
                      <a:pt x="13" y="14"/>
                    </a:cubicBezTo>
                    <a:cubicBezTo>
                      <a:pt x="4" y="14"/>
                      <a:pt x="0" y="18"/>
                      <a:pt x="0" y="27"/>
                    </a:cubicBezTo>
                    <a:cubicBezTo>
                      <a:pt x="0" y="28"/>
                      <a:pt x="0" y="30"/>
                      <a:pt x="0" y="38"/>
                    </a:cubicBezTo>
                    <a:cubicBezTo>
                      <a:pt x="40" y="66"/>
                      <a:pt x="126" y="130"/>
                      <a:pt x="137" y="1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lIns="93256" tIns="46628" rIns="93256" bIns="46628" anchor="ctr"/>
              <a:lstStyle/>
              <a:p>
                <a:pPr defTabSz="100647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pc="-166">
                  <a:solidFill>
                    <a:prstClr val="black">
                      <a:lumMod val="50000"/>
                    </a:prstClr>
                  </a:solidFill>
                  <a:latin typeface="Segoe Light" pitchFamily="34" charset="0"/>
                </a:endParaRPr>
              </a:p>
            </p:txBody>
          </p:sp>
        </p:grpSp>
      </p:grpSp>
      <p:grpSp>
        <p:nvGrpSpPr>
          <p:cNvPr id="17412" name="组合 2"/>
          <p:cNvGrpSpPr/>
          <p:nvPr/>
        </p:nvGrpSpPr>
        <p:grpSpPr bwMode="auto">
          <a:xfrm>
            <a:off x="5951538" y="915988"/>
            <a:ext cx="2384425" cy="3240087"/>
            <a:chOff x="5950821" y="915567"/>
            <a:chExt cx="2384618" cy="3240359"/>
          </a:xfrm>
        </p:grpSpPr>
        <p:sp>
          <p:nvSpPr>
            <p:cNvPr id="60" name="矩形 59"/>
            <p:cNvSpPr/>
            <p:nvPr/>
          </p:nvSpPr>
          <p:spPr>
            <a:xfrm>
              <a:off x="5950821" y="915567"/>
              <a:ext cx="2384618" cy="324035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Rounded Rectangle 28"/>
            <p:cNvSpPr/>
            <p:nvPr/>
          </p:nvSpPr>
          <p:spPr bwMode="auto">
            <a:xfrm>
              <a:off x="7347934" y="1369630"/>
              <a:ext cx="987505" cy="28259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6630" tIns="186521" rIns="0" bIns="0" anchor="b"/>
            <a:lstStyle/>
            <a:p>
              <a:pPr marL="0" lvl="1" algn="ctr"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Ideological Movements</a:t>
              </a:r>
              <a:endParaRPr lang="en-US" sz="1200" kern="0" dirty="0">
                <a:solidFill>
                  <a:prstClr val="white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sp>
          <p:nvSpPr>
            <p:cNvPr id="53" name="Rounded Rectangle 34"/>
            <p:cNvSpPr/>
            <p:nvPr/>
          </p:nvSpPr>
          <p:spPr bwMode="auto">
            <a:xfrm>
              <a:off x="7317769" y="2925511"/>
              <a:ext cx="985918" cy="28259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6630" tIns="186521" rIns="0" bIns="0" anchor="b"/>
            <a:lstStyle/>
            <a:p>
              <a:pPr marL="0" lvl="1" algn="ctr"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Organized</a:t>
              </a:r>
              <a:b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</a:b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Crime</a:t>
              </a:r>
              <a:endParaRPr lang="en-US" sz="1200" kern="0" dirty="0">
                <a:solidFill>
                  <a:prstClr val="white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sp>
          <p:nvSpPr>
            <p:cNvPr id="56" name="Rounded Rectangle 42"/>
            <p:cNvSpPr/>
            <p:nvPr/>
          </p:nvSpPr>
          <p:spPr bwMode="auto">
            <a:xfrm>
              <a:off x="6025439" y="1868147"/>
              <a:ext cx="1322495" cy="374681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6630" tIns="186521" rIns="0" bIns="0" anchor="b"/>
            <a:lstStyle/>
            <a:p>
              <a:pPr marL="0" lvl="1" algn="ctr"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Nation</a:t>
              </a:r>
              <a:b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</a:br>
              <a:r>
                <a:rPr lang="en-US" sz="1200" kern="0" dirty="0">
                  <a:solidFill>
                    <a:prstClr val="white"/>
                  </a:solidFill>
                  <a:latin typeface="Segoe UI Semibold" panose="020B0702040204020203" pitchFamily="34" charset="0"/>
                  <a:ea typeface="+mn-ea"/>
                </a:rPr>
                <a:t>States</a:t>
              </a:r>
              <a:endParaRPr lang="en-US" sz="1200" kern="0" dirty="0">
                <a:solidFill>
                  <a:prstClr val="white"/>
                </a:solidFill>
                <a:latin typeface="Segoe UI Semibold" panose="020B0702040204020203" pitchFamily="34" charset="0"/>
                <a:ea typeface="+mn-ea"/>
              </a:endParaRPr>
            </a:p>
          </p:txBody>
        </p:sp>
        <p:grpSp>
          <p:nvGrpSpPr>
            <p:cNvPr id="17425" name="组合 60"/>
            <p:cNvGrpSpPr/>
            <p:nvPr/>
          </p:nvGrpSpPr>
          <p:grpSpPr bwMode="auto">
            <a:xfrm>
              <a:off x="7390981" y="1851670"/>
              <a:ext cx="720154" cy="713776"/>
              <a:chOff x="3176006" y="3601259"/>
              <a:chExt cx="453547" cy="449530"/>
            </a:xfrm>
          </p:grpSpPr>
          <p:sp>
            <p:nvSpPr>
              <p:cNvPr id="17430" name="Freeform 279"/>
              <p:cNvSpPr>
                <a:spLocks noEditPoints="1"/>
              </p:cNvSpPr>
              <p:nvPr/>
            </p:nvSpPr>
            <p:spPr bwMode="auto">
              <a:xfrm>
                <a:off x="3176006" y="3747359"/>
                <a:ext cx="312694" cy="303430"/>
              </a:xfrm>
              <a:custGeom>
                <a:avLst/>
                <a:gdLst>
                  <a:gd name="T0" fmla="*/ 2080373141 w 47"/>
                  <a:gd name="T1" fmla="*/ 1087783357 h 46"/>
                  <a:gd name="T2" fmla="*/ 1991847474 w 47"/>
                  <a:gd name="T3" fmla="*/ 870224047 h 46"/>
                  <a:gd name="T4" fmla="*/ 1814796139 w 47"/>
                  <a:gd name="T5" fmla="*/ 783199004 h 46"/>
                  <a:gd name="T6" fmla="*/ 1726263819 w 47"/>
                  <a:gd name="T7" fmla="*/ 522137067 h 46"/>
                  <a:gd name="T8" fmla="*/ 1814796139 w 47"/>
                  <a:gd name="T9" fmla="*/ 348086980 h 46"/>
                  <a:gd name="T10" fmla="*/ 1637738152 w 47"/>
                  <a:gd name="T11" fmla="*/ 217559310 h 46"/>
                  <a:gd name="T12" fmla="*/ 1416423983 w 47"/>
                  <a:gd name="T13" fmla="*/ 348086980 h 46"/>
                  <a:gd name="T14" fmla="*/ 1195109815 w 47"/>
                  <a:gd name="T15" fmla="*/ 174043490 h 46"/>
                  <a:gd name="T16" fmla="*/ 1106584148 w 47"/>
                  <a:gd name="T17" fmla="*/ 0 h 46"/>
                  <a:gd name="T18" fmla="*/ 885263326 w 47"/>
                  <a:gd name="T19" fmla="*/ 43509223 h 46"/>
                  <a:gd name="T20" fmla="*/ 841000493 w 47"/>
                  <a:gd name="T21" fmla="*/ 261068533 h 46"/>
                  <a:gd name="T22" fmla="*/ 531160657 w 47"/>
                  <a:gd name="T23" fmla="*/ 304577757 h 46"/>
                  <a:gd name="T24" fmla="*/ 354109322 w 47"/>
                  <a:gd name="T25" fmla="*/ 217559310 h 46"/>
                  <a:gd name="T26" fmla="*/ 265577002 w 47"/>
                  <a:gd name="T27" fmla="*/ 435112024 h 46"/>
                  <a:gd name="T28" fmla="*/ 354109322 w 47"/>
                  <a:gd name="T29" fmla="*/ 609155514 h 46"/>
                  <a:gd name="T30" fmla="*/ 221314168 w 47"/>
                  <a:gd name="T31" fmla="*/ 870224047 h 46"/>
                  <a:gd name="T32" fmla="*/ 0 w 47"/>
                  <a:gd name="T33" fmla="*/ 913733271 h 46"/>
                  <a:gd name="T34" fmla="*/ 44262834 w 47"/>
                  <a:gd name="T35" fmla="*/ 1131292581 h 46"/>
                  <a:gd name="T36" fmla="*/ 265577002 w 47"/>
                  <a:gd name="T37" fmla="*/ 1174801804 h 46"/>
                  <a:gd name="T38" fmla="*/ 354109322 w 47"/>
                  <a:gd name="T39" fmla="*/ 1479379561 h 46"/>
                  <a:gd name="T40" fmla="*/ 265577002 w 47"/>
                  <a:gd name="T41" fmla="*/ 1653429648 h 46"/>
                  <a:gd name="T42" fmla="*/ 442634990 w 47"/>
                  <a:gd name="T43" fmla="*/ 1783957318 h 46"/>
                  <a:gd name="T44" fmla="*/ 663949158 w 47"/>
                  <a:gd name="T45" fmla="*/ 1653429648 h 46"/>
                  <a:gd name="T46" fmla="*/ 885263326 w 47"/>
                  <a:gd name="T47" fmla="*/ 1827473138 h 46"/>
                  <a:gd name="T48" fmla="*/ 973788994 w 47"/>
                  <a:gd name="T49" fmla="*/ 2001516628 h 46"/>
                  <a:gd name="T50" fmla="*/ 1195109815 w 47"/>
                  <a:gd name="T51" fmla="*/ 1958007405 h 46"/>
                  <a:gd name="T52" fmla="*/ 1239372649 w 47"/>
                  <a:gd name="T53" fmla="*/ 1740448095 h 46"/>
                  <a:gd name="T54" fmla="*/ 1504949651 w 47"/>
                  <a:gd name="T55" fmla="*/ 1653429648 h 46"/>
                  <a:gd name="T56" fmla="*/ 1726263819 w 47"/>
                  <a:gd name="T57" fmla="*/ 1783957318 h 46"/>
                  <a:gd name="T58" fmla="*/ 1814796139 w 47"/>
                  <a:gd name="T59" fmla="*/ 1566404605 h 46"/>
                  <a:gd name="T60" fmla="*/ 1726263819 w 47"/>
                  <a:gd name="T61" fmla="*/ 1392361114 h 46"/>
                  <a:gd name="T62" fmla="*/ 1859058973 w 47"/>
                  <a:gd name="T63" fmla="*/ 1131292581 h 46"/>
                  <a:gd name="T64" fmla="*/ 1018051827 w 47"/>
                  <a:gd name="T65" fmla="*/ 1479379561 h 46"/>
                  <a:gd name="T66" fmla="*/ 575423491 w 47"/>
                  <a:gd name="T67" fmla="*/ 1000758314 h 46"/>
                  <a:gd name="T68" fmla="*/ 1504949651 w 47"/>
                  <a:gd name="T69" fmla="*/ 1000758314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" h="46">
                    <a:moveTo>
                      <a:pt x="45" y="26"/>
                    </a:moveTo>
                    <a:cubicBezTo>
                      <a:pt x="46" y="26"/>
                      <a:pt x="47" y="25"/>
                      <a:pt x="47" y="2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20"/>
                      <a:pt x="46" y="20"/>
                      <a:pt x="45" y="20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8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3"/>
                      <a:pt x="38" y="12"/>
                      <a:pt x="39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9"/>
                      <a:pt x="42" y="8"/>
                      <a:pt x="41" y="8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7" y="5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3" y="8"/>
                      <a:pt x="32" y="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20" y="1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5"/>
                      <a:pt x="20" y="6"/>
                      <a:pt x="19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8"/>
                      <a:pt x="12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9" y="13"/>
                      <a:pt x="8" y="14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6" y="27"/>
                      <a:pt x="6" y="2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7"/>
                      <a:pt x="5" y="38"/>
                      <a:pt x="6" y="38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9" y="41"/>
                      <a:pt x="10" y="41"/>
                      <a:pt x="10" y="4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8"/>
                      <a:pt x="14" y="38"/>
                      <a:pt x="15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1"/>
                      <a:pt x="20" y="42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0" y="46"/>
                      <a:pt x="21" y="46"/>
                      <a:pt x="22" y="46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6" y="46"/>
                      <a:pt x="27" y="46"/>
                      <a:pt x="27" y="45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1"/>
                      <a:pt x="27" y="40"/>
                      <a:pt x="28" y="40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3" y="38"/>
                      <a:pt x="34" y="38"/>
                      <a:pt x="34" y="38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2"/>
                      <a:pt x="39" y="32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1" y="27"/>
                      <a:pt x="42" y="26"/>
                      <a:pt x="42" y="26"/>
                    </a:cubicBezTo>
                    <a:cubicBezTo>
                      <a:pt x="45" y="26"/>
                      <a:pt x="45" y="26"/>
                      <a:pt x="45" y="26"/>
                    </a:cubicBezTo>
                    <a:close/>
                    <a:moveTo>
                      <a:pt x="2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18" y="34"/>
                      <a:pt x="13" y="29"/>
                      <a:pt x="13" y="23"/>
                    </a:cubicBezTo>
                    <a:cubicBezTo>
                      <a:pt x="13" y="17"/>
                      <a:pt x="18" y="12"/>
                      <a:pt x="23" y="12"/>
                    </a:cubicBezTo>
                    <a:cubicBezTo>
                      <a:pt x="29" y="12"/>
                      <a:pt x="34" y="17"/>
                      <a:pt x="34" y="23"/>
                    </a:cubicBezTo>
                    <a:cubicBezTo>
                      <a:pt x="34" y="29"/>
                      <a:pt x="29" y="34"/>
                      <a:pt x="2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1" name="Freeform 280"/>
              <p:cNvSpPr>
                <a:spLocks noEditPoints="1"/>
              </p:cNvSpPr>
              <p:nvPr/>
            </p:nvSpPr>
            <p:spPr bwMode="auto">
              <a:xfrm>
                <a:off x="3387283" y="3601259"/>
                <a:ext cx="174655" cy="177003"/>
              </a:xfrm>
              <a:custGeom>
                <a:avLst/>
                <a:gdLst>
                  <a:gd name="T0" fmla="*/ 1173244963 w 26"/>
                  <a:gd name="T1" fmla="*/ 644651482 h 27"/>
                  <a:gd name="T2" fmla="*/ 1128123515 w 26"/>
                  <a:gd name="T3" fmla="*/ 515721185 h 27"/>
                  <a:gd name="T4" fmla="*/ 1037873903 w 26"/>
                  <a:gd name="T5" fmla="*/ 472742235 h 27"/>
                  <a:gd name="T6" fmla="*/ 992745738 w 26"/>
                  <a:gd name="T7" fmla="*/ 300839543 h 27"/>
                  <a:gd name="T8" fmla="*/ 1037873903 w 26"/>
                  <a:gd name="T9" fmla="*/ 214881642 h 27"/>
                  <a:gd name="T10" fmla="*/ 902496125 w 26"/>
                  <a:gd name="T11" fmla="*/ 171909247 h 27"/>
                  <a:gd name="T12" fmla="*/ 812246513 w 26"/>
                  <a:gd name="T13" fmla="*/ 214881642 h 27"/>
                  <a:gd name="T14" fmla="*/ 676875453 w 26"/>
                  <a:gd name="T15" fmla="*/ 128930296 h 27"/>
                  <a:gd name="T16" fmla="*/ 631747288 w 26"/>
                  <a:gd name="T17" fmla="*/ 0 h 27"/>
                  <a:gd name="T18" fmla="*/ 496376228 w 26"/>
                  <a:gd name="T19" fmla="*/ 42978951 h 27"/>
                  <a:gd name="T20" fmla="*/ 451248063 w 26"/>
                  <a:gd name="T21" fmla="*/ 171909247 h 27"/>
                  <a:gd name="T22" fmla="*/ 315877003 w 26"/>
                  <a:gd name="T23" fmla="*/ 214881642 h 27"/>
                  <a:gd name="T24" fmla="*/ 180499225 w 26"/>
                  <a:gd name="T25" fmla="*/ 171909247 h 27"/>
                  <a:gd name="T26" fmla="*/ 135377778 w 26"/>
                  <a:gd name="T27" fmla="*/ 257860593 h 27"/>
                  <a:gd name="T28" fmla="*/ 180499225 w 26"/>
                  <a:gd name="T29" fmla="*/ 386790889 h 27"/>
                  <a:gd name="T30" fmla="*/ 90249613 w 26"/>
                  <a:gd name="T31" fmla="*/ 515721185 h 27"/>
                  <a:gd name="T32" fmla="*/ 0 w 26"/>
                  <a:gd name="T33" fmla="*/ 558700136 h 27"/>
                  <a:gd name="T34" fmla="*/ 45128165 w 26"/>
                  <a:gd name="T35" fmla="*/ 644651482 h 27"/>
                  <a:gd name="T36" fmla="*/ 135377778 w 26"/>
                  <a:gd name="T37" fmla="*/ 687630432 h 27"/>
                  <a:gd name="T38" fmla="*/ 180499225 w 26"/>
                  <a:gd name="T39" fmla="*/ 859533124 h 27"/>
                  <a:gd name="T40" fmla="*/ 135377778 w 26"/>
                  <a:gd name="T41" fmla="*/ 945491025 h 27"/>
                  <a:gd name="T42" fmla="*/ 270748838 w 26"/>
                  <a:gd name="T43" fmla="*/ 1031442371 h 27"/>
                  <a:gd name="T44" fmla="*/ 360998450 w 26"/>
                  <a:gd name="T45" fmla="*/ 945491025 h 27"/>
                  <a:gd name="T46" fmla="*/ 496376228 w 26"/>
                  <a:gd name="T47" fmla="*/ 1031442371 h 27"/>
                  <a:gd name="T48" fmla="*/ 541497675 w 26"/>
                  <a:gd name="T49" fmla="*/ 1160372667 h 27"/>
                  <a:gd name="T50" fmla="*/ 676875453 w 26"/>
                  <a:gd name="T51" fmla="*/ 1117393716 h 27"/>
                  <a:gd name="T52" fmla="*/ 676875453 w 26"/>
                  <a:gd name="T53" fmla="*/ 988463420 h 27"/>
                  <a:gd name="T54" fmla="*/ 857374678 w 26"/>
                  <a:gd name="T55" fmla="*/ 945491025 h 27"/>
                  <a:gd name="T56" fmla="*/ 992745738 w 26"/>
                  <a:gd name="T57" fmla="*/ 1031442371 h 27"/>
                  <a:gd name="T58" fmla="*/ 1037873903 w 26"/>
                  <a:gd name="T59" fmla="*/ 902512074 h 27"/>
                  <a:gd name="T60" fmla="*/ 992745738 w 26"/>
                  <a:gd name="T61" fmla="*/ 816560729 h 27"/>
                  <a:gd name="T62" fmla="*/ 1082995350 w 26"/>
                  <a:gd name="T63" fmla="*/ 644651482 h 27"/>
                  <a:gd name="T64" fmla="*/ 586625840 w 26"/>
                  <a:gd name="T65" fmla="*/ 859533124 h 27"/>
                  <a:gd name="T66" fmla="*/ 315877003 w 26"/>
                  <a:gd name="T67" fmla="*/ 601672531 h 27"/>
                  <a:gd name="T68" fmla="*/ 857374678 w 26"/>
                  <a:gd name="T69" fmla="*/ 601672531 h 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27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1"/>
                      <a:pt x="23" y="11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2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1" y="3"/>
                      <a:pt x="21" y="3"/>
                      <a:pt x="20" y="4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19"/>
                      <a:pt x="5" y="19"/>
                      <a:pt x="4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8" y="22"/>
                      <a:pt x="8" y="22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6"/>
                      <a:pt x="12" y="27"/>
                      <a:pt x="12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5" y="26"/>
                      <a:pt x="15" y="26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2"/>
                      <a:pt x="19" y="22"/>
                      <a:pt x="19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2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5"/>
                      <a:pt x="24" y="15"/>
                    </a:cubicBezTo>
                    <a:cubicBezTo>
                      <a:pt x="25" y="15"/>
                      <a:pt x="25" y="15"/>
                      <a:pt x="25" y="15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0" y="20"/>
                      <a:pt x="7" y="17"/>
                      <a:pt x="7" y="14"/>
                    </a:cubicBezTo>
                    <a:cubicBezTo>
                      <a:pt x="7" y="10"/>
                      <a:pt x="10" y="8"/>
                      <a:pt x="13" y="8"/>
                    </a:cubicBezTo>
                    <a:cubicBezTo>
                      <a:pt x="16" y="8"/>
                      <a:pt x="19" y="10"/>
                      <a:pt x="19" y="14"/>
                    </a:cubicBezTo>
                    <a:cubicBezTo>
                      <a:pt x="19" y="17"/>
                      <a:pt x="16" y="20"/>
                      <a:pt x="1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7432" name="Freeform 281"/>
              <p:cNvSpPr>
                <a:spLocks noEditPoints="1"/>
              </p:cNvSpPr>
              <p:nvPr/>
            </p:nvSpPr>
            <p:spPr bwMode="auto">
              <a:xfrm>
                <a:off x="3483063" y="3873786"/>
                <a:ext cx="146490" cy="143289"/>
              </a:xfrm>
              <a:custGeom>
                <a:avLst/>
                <a:gdLst>
                  <a:gd name="T0" fmla="*/ 975423641 w 22"/>
                  <a:gd name="T1" fmla="*/ 509053712 h 22"/>
                  <a:gd name="T2" fmla="*/ 931083781 w 22"/>
                  <a:gd name="T3" fmla="*/ 381787027 h 22"/>
                  <a:gd name="T4" fmla="*/ 842410721 w 22"/>
                  <a:gd name="T5" fmla="*/ 381787027 h 22"/>
                  <a:gd name="T6" fmla="*/ 798070861 w 22"/>
                  <a:gd name="T7" fmla="*/ 254526856 h 22"/>
                  <a:gd name="T8" fmla="*/ 842410721 w 22"/>
                  <a:gd name="T9" fmla="*/ 169686742 h 22"/>
                  <a:gd name="T10" fmla="*/ 753737660 w 22"/>
                  <a:gd name="T11" fmla="*/ 127260171 h 22"/>
                  <a:gd name="T12" fmla="*/ 665064600 w 22"/>
                  <a:gd name="T13" fmla="*/ 169686742 h 22"/>
                  <a:gd name="T14" fmla="*/ 576384881 w 22"/>
                  <a:gd name="T15" fmla="*/ 84840114 h 22"/>
                  <a:gd name="T16" fmla="*/ 532051680 w 22"/>
                  <a:gd name="T17" fmla="*/ 0 h 22"/>
                  <a:gd name="T18" fmla="*/ 443371961 w 22"/>
                  <a:gd name="T19" fmla="*/ 42420057 h 22"/>
                  <a:gd name="T20" fmla="*/ 399038760 w 22"/>
                  <a:gd name="T21" fmla="*/ 127260171 h 22"/>
                  <a:gd name="T22" fmla="*/ 266025840 w 22"/>
                  <a:gd name="T23" fmla="*/ 169686742 h 22"/>
                  <a:gd name="T24" fmla="*/ 177352780 w 22"/>
                  <a:gd name="T25" fmla="*/ 127260171 h 22"/>
                  <a:gd name="T26" fmla="*/ 133012920 w 22"/>
                  <a:gd name="T27" fmla="*/ 212106799 h 22"/>
                  <a:gd name="T28" fmla="*/ 177352780 w 22"/>
                  <a:gd name="T29" fmla="*/ 296946913 h 22"/>
                  <a:gd name="T30" fmla="*/ 88673060 w 22"/>
                  <a:gd name="T31" fmla="*/ 381787027 h 22"/>
                  <a:gd name="T32" fmla="*/ 0 w 22"/>
                  <a:gd name="T33" fmla="*/ 424207085 h 22"/>
                  <a:gd name="T34" fmla="*/ 44339860 w 22"/>
                  <a:gd name="T35" fmla="*/ 509053712 h 22"/>
                  <a:gd name="T36" fmla="*/ 133012920 w 22"/>
                  <a:gd name="T37" fmla="*/ 551473769 h 22"/>
                  <a:gd name="T38" fmla="*/ 177352780 w 22"/>
                  <a:gd name="T39" fmla="*/ 678733940 h 22"/>
                  <a:gd name="T40" fmla="*/ 133012920 w 22"/>
                  <a:gd name="T41" fmla="*/ 763574055 h 22"/>
                  <a:gd name="T42" fmla="*/ 221685980 w 22"/>
                  <a:gd name="T43" fmla="*/ 806000625 h 22"/>
                  <a:gd name="T44" fmla="*/ 310359041 w 22"/>
                  <a:gd name="T45" fmla="*/ 763574055 h 22"/>
                  <a:gd name="T46" fmla="*/ 443371961 w 22"/>
                  <a:gd name="T47" fmla="*/ 848420682 h 22"/>
                  <a:gd name="T48" fmla="*/ 443371961 w 22"/>
                  <a:gd name="T49" fmla="*/ 933260796 h 22"/>
                  <a:gd name="T50" fmla="*/ 576384881 w 22"/>
                  <a:gd name="T51" fmla="*/ 890840739 h 22"/>
                  <a:gd name="T52" fmla="*/ 576384881 w 22"/>
                  <a:gd name="T53" fmla="*/ 806000625 h 22"/>
                  <a:gd name="T54" fmla="*/ 709397801 w 22"/>
                  <a:gd name="T55" fmla="*/ 763574055 h 22"/>
                  <a:gd name="T56" fmla="*/ 798070861 w 22"/>
                  <a:gd name="T57" fmla="*/ 806000625 h 22"/>
                  <a:gd name="T58" fmla="*/ 842410721 w 22"/>
                  <a:gd name="T59" fmla="*/ 721153998 h 22"/>
                  <a:gd name="T60" fmla="*/ 798070861 w 22"/>
                  <a:gd name="T61" fmla="*/ 636313883 h 22"/>
                  <a:gd name="T62" fmla="*/ 886750580 w 22"/>
                  <a:gd name="T63" fmla="*/ 509053712 h 22"/>
                  <a:gd name="T64" fmla="*/ 487711820 w 22"/>
                  <a:gd name="T65" fmla="*/ 678733940 h 22"/>
                  <a:gd name="T66" fmla="*/ 266025840 w 22"/>
                  <a:gd name="T67" fmla="*/ 466633655 h 22"/>
                  <a:gd name="T68" fmla="*/ 709397801 w 22"/>
                  <a:gd name="T69" fmla="*/ 466633655 h 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" h="22">
                    <a:moveTo>
                      <a:pt x="21" y="12"/>
                    </a:move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2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3"/>
                      <a:pt x="9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0" y="10"/>
                      <a:pt x="0" y="1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7" y="18"/>
                      <a:pt x="7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10" y="19"/>
                      <a:pt x="10" y="2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2"/>
                      <a:pt x="10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0" y="18"/>
                      <a:pt x="20" y="17"/>
                      <a:pt x="19" y="1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2"/>
                      <a:pt x="20" y="12"/>
                    </a:cubicBezTo>
                    <a:cubicBezTo>
                      <a:pt x="21" y="12"/>
                      <a:pt x="21" y="12"/>
                      <a:pt x="21" y="12"/>
                    </a:cubicBezTo>
                    <a:close/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8" y="16"/>
                      <a:pt x="6" y="14"/>
                      <a:pt x="6" y="11"/>
                    </a:cubicBezTo>
                    <a:cubicBezTo>
                      <a:pt x="6" y="8"/>
                      <a:pt x="8" y="6"/>
                      <a:pt x="11" y="6"/>
                    </a:cubicBezTo>
                    <a:cubicBezTo>
                      <a:pt x="14" y="6"/>
                      <a:pt x="16" y="8"/>
                      <a:pt x="16" y="11"/>
                    </a:cubicBezTo>
                    <a:cubicBezTo>
                      <a:pt x="16" y="14"/>
                      <a:pt x="14" y="16"/>
                      <a:pt x="1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7426" name="组合 64"/>
            <p:cNvGrpSpPr/>
            <p:nvPr/>
          </p:nvGrpSpPr>
          <p:grpSpPr bwMode="auto">
            <a:xfrm>
              <a:off x="6238853" y="2462736"/>
              <a:ext cx="681120" cy="622561"/>
              <a:chOff x="5328493" y="1445133"/>
              <a:chExt cx="350838" cy="320675"/>
            </a:xfrm>
          </p:grpSpPr>
          <p:sp>
            <p:nvSpPr>
              <p:cNvPr id="66" name="Freeform 35"/>
              <p:cNvSpPr/>
              <p:nvPr/>
            </p:nvSpPr>
            <p:spPr bwMode="auto">
              <a:xfrm>
                <a:off x="5380484" y="1567380"/>
                <a:ext cx="242878" cy="87502"/>
              </a:xfrm>
              <a:custGeom>
                <a:avLst/>
                <a:gdLst>
                  <a:gd name="T0" fmla="*/ 2147483646 w 48"/>
                  <a:gd name="T1" fmla="*/ 0 h 17"/>
                  <a:gd name="T2" fmla="*/ 2147483646 w 48"/>
                  <a:gd name="T3" fmla="*/ 2147483646 h 17"/>
                  <a:gd name="T4" fmla="*/ 2147483646 w 48"/>
                  <a:gd name="T5" fmla="*/ 2147483646 h 17"/>
                  <a:gd name="T6" fmla="*/ 2147483646 w 48"/>
                  <a:gd name="T7" fmla="*/ 2147483646 h 17"/>
                  <a:gd name="T8" fmla="*/ 2147483646 w 48"/>
                  <a:gd name="T9" fmla="*/ 0 h 17"/>
                  <a:gd name="T10" fmla="*/ 2147483646 w 48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17">
                    <a:moveTo>
                      <a:pt x="1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7" y="16"/>
                      <a:pt x="21" y="17"/>
                      <a:pt x="24" y="17"/>
                    </a:cubicBezTo>
                    <a:cubicBezTo>
                      <a:pt x="28" y="17"/>
                      <a:pt x="42" y="16"/>
                      <a:pt x="47" y="8"/>
                    </a:cubicBezTo>
                    <a:cubicBezTo>
                      <a:pt x="48" y="6"/>
                      <a:pt x="48" y="3"/>
                      <a:pt x="4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7" name="Freeform 36"/>
              <p:cNvSpPr>
                <a:spLocks noEditPoints="1"/>
              </p:cNvSpPr>
              <p:nvPr/>
            </p:nvSpPr>
            <p:spPr bwMode="auto">
              <a:xfrm>
                <a:off x="5328147" y="1445531"/>
                <a:ext cx="350824" cy="320567"/>
              </a:xfrm>
              <a:custGeom>
                <a:avLst/>
                <a:gdLst>
                  <a:gd name="T0" fmla="*/ 2147483646 w 69"/>
                  <a:gd name="T1" fmla="*/ 0 h 63"/>
                  <a:gd name="T2" fmla="*/ 2147483646 w 69"/>
                  <a:gd name="T3" fmla="*/ 0 h 63"/>
                  <a:gd name="T4" fmla="*/ 2147483646 w 69"/>
                  <a:gd name="T5" fmla="*/ 2147483646 h 63"/>
                  <a:gd name="T6" fmla="*/ 2147483646 w 69"/>
                  <a:gd name="T7" fmla="*/ 2147483646 h 63"/>
                  <a:gd name="T8" fmla="*/ 2147483646 w 69"/>
                  <a:gd name="T9" fmla="*/ 2147483646 h 63"/>
                  <a:gd name="T10" fmla="*/ 2147483646 w 69"/>
                  <a:gd name="T11" fmla="*/ 2147483646 h 63"/>
                  <a:gd name="T12" fmla="*/ 2147483646 w 69"/>
                  <a:gd name="T13" fmla="*/ 2147483646 h 63"/>
                  <a:gd name="T14" fmla="*/ 2147483646 w 69"/>
                  <a:gd name="T15" fmla="*/ 2147483646 h 63"/>
                  <a:gd name="T16" fmla="*/ 2147483646 w 69"/>
                  <a:gd name="T17" fmla="*/ 2147483646 h 63"/>
                  <a:gd name="T18" fmla="*/ 2147483646 w 69"/>
                  <a:gd name="T19" fmla="*/ 2147483646 h 63"/>
                  <a:gd name="T20" fmla="*/ 2147483646 w 69"/>
                  <a:gd name="T21" fmla="*/ 2147483646 h 63"/>
                  <a:gd name="T22" fmla="*/ 2147483646 w 69"/>
                  <a:gd name="T23" fmla="*/ 2147483646 h 63"/>
                  <a:gd name="T24" fmla="*/ 2147483646 w 69"/>
                  <a:gd name="T25" fmla="*/ 2147483646 h 63"/>
                  <a:gd name="T26" fmla="*/ 2147483646 w 69"/>
                  <a:gd name="T27" fmla="*/ 2147483646 h 63"/>
                  <a:gd name="T28" fmla="*/ 2147483646 w 69"/>
                  <a:gd name="T29" fmla="*/ 2147483646 h 63"/>
                  <a:gd name="T30" fmla="*/ 2147483646 w 69"/>
                  <a:gd name="T31" fmla="*/ 2147483646 h 63"/>
                  <a:gd name="T32" fmla="*/ 2147483646 w 69"/>
                  <a:gd name="T33" fmla="*/ 0 h 63"/>
                  <a:gd name="T34" fmla="*/ 2147483646 w 69"/>
                  <a:gd name="T35" fmla="*/ 2147483646 h 63"/>
                  <a:gd name="T36" fmla="*/ 2147483646 w 69"/>
                  <a:gd name="T37" fmla="*/ 2147483646 h 63"/>
                  <a:gd name="T38" fmla="*/ 2147483646 w 69"/>
                  <a:gd name="T39" fmla="*/ 2147483646 h 63"/>
                  <a:gd name="T40" fmla="*/ 2147483646 w 69"/>
                  <a:gd name="T41" fmla="*/ 2147483646 h 63"/>
                  <a:gd name="T42" fmla="*/ 2147483646 w 69"/>
                  <a:gd name="T43" fmla="*/ 2147483646 h 63"/>
                  <a:gd name="T44" fmla="*/ 2147483646 w 69"/>
                  <a:gd name="T45" fmla="*/ 2147483646 h 6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9" h="63">
                    <a:moveTo>
                      <a:pt x="58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2" y="14"/>
                      <a:pt x="0" y="26"/>
                      <a:pt x="5" y="34"/>
                    </a:cubicBezTo>
                    <a:cubicBezTo>
                      <a:pt x="10" y="44"/>
                      <a:pt x="24" y="47"/>
                      <a:pt x="31" y="48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4" y="59"/>
                      <a:pt x="13" y="60"/>
                      <a:pt x="13" y="61"/>
                    </a:cubicBezTo>
                    <a:cubicBezTo>
                      <a:pt x="13" y="62"/>
                      <a:pt x="14" y="63"/>
                      <a:pt x="15" y="63"/>
                    </a:cubicBezTo>
                    <a:cubicBezTo>
                      <a:pt x="54" y="63"/>
                      <a:pt x="54" y="63"/>
                      <a:pt x="54" y="63"/>
                    </a:cubicBezTo>
                    <a:cubicBezTo>
                      <a:pt x="55" y="63"/>
                      <a:pt x="56" y="62"/>
                      <a:pt x="56" y="61"/>
                    </a:cubicBezTo>
                    <a:cubicBezTo>
                      <a:pt x="56" y="60"/>
                      <a:pt x="55" y="59"/>
                      <a:pt x="54" y="59"/>
                    </a:cubicBezTo>
                    <a:cubicBezTo>
                      <a:pt x="38" y="59"/>
                      <a:pt x="38" y="59"/>
                      <a:pt x="38" y="59"/>
                    </a:cubicBezTo>
                    <a:cubicBezTo>
                      <a:pt x="38" y="48"/>
                      <a:pt x="38" y="48"/>
                      <a:pt x="38" y="48"/>
                    </a:cubicBezTo>
                    <a:cubicBezTo>
                      <a:pt x="45" y="47"/>
                      <a:pt x="58" y="44"/>
                      <a:pt x="64" y="34"/>
                    </a:cubicBezTo>
                    <a:cubicBezTo>
                      <a:pt x="69" y="26"/>
                      <a:pt x="67" y="14"/>
                      <a:pt x="58" y="1"/>
                    </a:cubicBezTo>
                    <a:lnTo>
                      <a:pt x="58" y="0"/>
                    </a:lnTo>
                    <a:close/>
                    <a:moveTo>
                      <a:pt x="60" y="32"/>
                    </a:moveTo>
                    <a:cubicBezTo>
                      <a:pt x="55" y="42"/>
                      <a:pt x="38" y="43"/>
                      <a:pt x="34" y="43"/>
                    </a:cubicBezTo>
                    <a:cubicBezTo>
                      <a:pt x="31" y="43"/>
                      <a:pt x="14" y="42"/>
                      <a:pt x="9" y="32"/>
                    </a:cubicBezTo>
                    <a:cubicBezTo>
                      <a:pt x="5" y="25"/>
                      <a:pt x="7" y="16"/>
                      <a:pt x="14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62" y="16"/>
                      <a:pt x="64" y="25"/>
                      <a:pt x="6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7427" name="Freeform 80"/>
            <p:cNvSpPr/>
            <p:nvPr/>
          </p:nvSpPr>
          <p:spPr bwMode="auto">
            <a:xfrm>
              <a:off x="7529189" y="3452101"/>
              <a:ext cx="562772" cy="480013"/>
            </a:xfrm>
            <a:custGeom>
              <a:avLst/>
              <a:gdLst>
                <a:gd name="T0" fmla="*/ 1004144095 w 248"/>
                <a:gd name="T1" fmla="*/ 1076693833 h 214"/>
                <a:gd name="T2" fmla="*/ 746671366 w 248"/>
                <a:gd name="T3" fmla="*/ 1076693833 h 214"/>
                <a:gd name="T4" fmla="*/ 746671366 w 248"/>
                <a:gd name="T5" fmla="*/ 729534524 h 214"/>
                <a:gd name="T6" fmla="*/ 504647637 w 248"/>
                <a:gd name="T7" fmla="*/ 729534524 h 214"/>
                <a:gd name="T8" fmla="*/ 504647637 w 248"/>
                <a:gd name="T9" fmla="*/ 1076693833 h 214"/>
                <a:gd name="T10" fmla="*/ 252323819 w 248"/>
                <a:gd name="T11" fmla="*/ 1076693833 h 214"/>
                <a:gd name="T12" fmla="*/ 252323819 w 248"/>
                <a:gd name="T13" fmla="*/ 644004731 h 214"/>
                <a:gd name="T14" fmla="*/ 169932182 w 248"/>
                <a:gd name="T15" fmla="*/ 709409867 h 214"/>
                <a:gd name="T16" fmla="*/ 36046908 w 248"/>
                <a:gd name="T17" fmla="*/ 689285210 h 214"/>
                <a:gd name="T18" fmla="*/ 20597909 w 248"/>
                <a:gd name="T19" fmla="*/ 563503859 h 214"/>
                <a:gd name="T20" fmla="*/ 545843455 w 248"/>
                <a:gd name="T21" fmla="*/ 50313886 h 214"/>
                <a:gd name="T22" fmla="*/ 736373547 w 248"/>
                <a:gd name="T23" fmla="*/ 75469707 h 214"/>
                <a:gd name="T24" fmla="*/ 1199823096 w 248"/>
                <a:gd name="T25" fmla="*/ 528283466 h 214"/>
                <a:gd name="T26" fmla="*/ 1215272095 w 248"/>
                <a:gd name="T27" fmla="*/ 694316374 h 214"/>
                <a:gd name="T28" fmla="*/ 1050488823 w 248"/>
                <a:gd name="T29" fmla="*/ 684254045 h 214"/>
                <a:gd name="T30" fmla="*/ 1004144095 w 248"/>
                <a:gd name="T31" fmla="*/ 644004731 h 214"/>
                <a:gd name="T32" fmla="*/ 1004144095 w 248"/>
                <a:gd name="T33" fmla="*/ 1076693833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8" h="214">
                  <a:moveTo>
                    <a:pt x="195" y="214"/>
                  </a:moveTo>
                  <a:cubicBezTo>
                    <a:pt x="176" y="214"/>
                    <a:pt x="161" y="214"/>
                    <a:pt x="145" y="214"/>
                  </a:cubicBezTo>
                  <a:cubicBezTo>
                    <a:pt x="145" y="191"/>
                    <a:pt x="145" y="169"/>
                    <a:pt x="145" y="145"/>
                  </a:cubicBezTo>
                  <a:cubicBezTo>
                    <a:pt x="129" y="145"/>
                    <a:pt x="115" y="145"/>
                    <a:pt x="98" y="145"/>
                  </a:cubicBezTo>
                  <a:cubicBezTo>
                    <a:pt x="98" y="167"/>
                    <a:pt x="98" y="190"/>
                    <a:pt x="98" y="214"/>
                  </a:cubicBezTo>
                  <a:cubicBezTo>
                    <a:pt x="81" y="214"/>
                    <a:pt x="66" y="214"/>
                    <a:pt x="49" y="214"/>
                  </a:cubicBezTo>
                  <a:cubicBezTo>
                    <a:pt x="49" y="187"/>
                    <a:pt x="49" y="160"/>
                    <a:pt x="49" y="128"/>
                  </a:cubicBezTo>
                  <a:cubicBezTo>
                    <a:pt x="41" y="135"/>
                    <a:pt x="37" y="141"/>
                    <a:pt x="33" y="141"/>
                  </a:cubicBezTo>
                  <a:cubicBezTo>
                    <a:pt x="24" y="142"/>
                    <a:pt x="12" y="143"/>
                    <a:pt x="7" y="137"/>
                  </a:cubicBezTo>
                  <a:cubicBezTo>
                    <a:pt x="2" y="132"/>
                    <a:pt x="0" y="117"/>
                    <a:pt x="4" y="112"/>
                  </a:cubicBezTo>
                  <a:cubicBezTo>
                    <a:pt x="37" y="77"/>
                    <a:pt x="71" y="43"/>
                    <a:pt x="106" y="10"/>
                  </a:cubicBezTo>
                  <a:cubicBezTo>
                    <a:pt x="117" y="0"/>
                    <a:pt x="132" y="3"/>
                    <a:pt x="143" y="15"/>
                  </a:cubicBezTo>
                  <a:cubicBezTo>
                    <a:pt x="173" y="45"/>
                    <a:pt x="203" y="75"/>
                    <a:pt x="233" y="105"/>
                  </a:cubicBezTo>
                  <a:cubicBezTo>
                    <a:pt x="244" y="115"/>
                    <a:pt x="248" y="126"/>
                    <a:pt x="236" y="138"/>
                  </a:cubicBezTo>
                  <a:cubicBezTo>
                    <a:pt x="225" y="150"/>
                    <a:pt x="214" y="148"/>
                    <a:pt x="204" y="136"/>
                  </a:cubicBezTo>
                  <a:cubicBezTo>
                    <a:pt x="202" y="135"/>
                    <a:pt x="200" y="133"/>
                    <a:pt x="195" y="128"/>
                  </a:cubicBezTo>
                  <a:cubicBezTo>
                    <a:pt x="195" y="159"/>
                    <a:pt x="195" y="186"/>
                    <a:pt x="195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7413" name="组合 3"/>
          <p:cNvGrpSpPr/>
          <p:nvPr/>
        </p:nvGrpSpPr>
        <p:grpSpPr bwMode="auto">
          <a:xfrm>
            <a:off x="3275013" y="915988"/>
            <a:ext cx="3097212" cy="1055687"/>
            <a:chOff x="3275078" y="915566"/>
            <a:chExt cx="3097122" cy="1056065"/>
          </a:xfrm>
        </p:grpSpPr>
        <p:sp>
          <p:nvSpPr>
            <p:cNvPr id="30" name="Content Placeholder 2"/>
            <p:cNvSpPr txBox="1"/>
            <p:nvPr/>
          </p:nvSpPr>
          <p:spPr>
            <a:xfrm>
              <a:off x="3275078" y="915566"/>
              <a:ext cx="2589137" cy="105606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algn="ctr">
                <a:defRPr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 bwMode="auto">
            <a:xfrm>
              <a:off x="3635430" y="1230004"/>
              <a:ext cx="2736770" cy="522474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2800" spc="3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hangingPunct="1"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zh-CN" alt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7414" name="组合 4"/>
          <p:cNvGrpSpPr/>
          <p:nvPr/>
        </p:nvGrpSpPr>
        <p:grpSpPr bwMode="auto">
          <a:xfrm>
            <a:off x="611188" y="3163888"/>
            <a:ext cx="2678112" cy="992187"/>
            <a:chOff x="611560" y="3163748"/>
            <a:chExt cx="2678431" cy="992179"/>
          </a:xfrm>
        </p:grpSpPr>
        <p:sp>
          <p:nvSpPr>
            <p:cNvPr id="31" name="Content Placeholder 5"/>
            <p:cNvSpPr txBox="1"/>
            <p:nvPr/>
          </p:nvSpPr>
          <p:spPr>
            <a:xfrm>
              <a:off x="611560" y="3163748"/>
              <a:ext cx="2589531" cy="992179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>
              <a:defPPr>
                <a:defRPr lang="zh-CN"/>
              </a:def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TextBox 50"/>
            <p:cNvSpPr txBox="1"/>
            <p:nvPr/>
          </p:nvSpPr>
          <p:spPr bwMode="auto">
            <a:xfrm>
              <a:off x="938624" y="3333609"/>
              <a:ext cx="2351367" cy="52387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8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28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/>
          <p:cNvGrpSpPr/>
          <p:nvPr/>
        </p:nvGrpSpPr>
        <p:grpSpPr>
          <a:xfrm>
            <a:off x="6407912" y="1938339"/>
            <a:ext cx="1124036" cy="1166611"/>
            <a:chOff x="6407912" y="1938339"/>
            <a:chExt cx="1124036" cy="116661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6407912" y="2011582"/>
              <a:ext cx="1100685" cy="109336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5" name="组合 24"/>
            <p:cNvGrpSpPr/>
            <p:nvPr/>
          </p:nvGrpSpPr>
          <p:grpSpPr>
            <a:xfrm>
              <a:off x="7092280" y="1938339"/>
              <a:ext cx="439668" cy="1042599"/>
              <a:chOff x="4852412" y="2376567"/>
              <a:chExt cx="439668" cy="1042599"/>
            </a:xfrm>
          </p:grpSpPr>
          <p:sp>
            <p:nvSpPr>
              <p:cNvPr id="26" name="TextBox 25"/>
              <p:cNvSpPr txBox="1"/>
              <p:nvPr/>
            </p:nvSpPr>
            <p:spPr>
              <a:xfrm>
                <a:off x="5059248" y="237656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852412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28" name="TextBox 27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5764031" y="2140866"/>
            <a:ext cx="1136625" cy="1174644"/>
            <a:chOff x="5277103" y="2170182"/>
            <a:chExt cx="1136625" cy="1174644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0" name="Rectangle 14"/>
            <p:cNvSpPr>
              <a:spLocks noChangeArrowheads="1"/>
            </p:cNvSpPr>
            <p:nvPr/>
          </p:nvSpPr>
          <p:spPr bwMode="auto">
            <a:xfrm>
              <a:off x="5277103" y="2251459"/>
              <a:ext cx="1105215" cy="109336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grpSp>
          <p:nvGrpSpPr>
            <p:cNvPr id="31" name="组合 30"/>
            <p:cNvGrpSpPr/>
            <p:nvPr/>
          </p:nvGrpSpPr>
          <p:grpSpPr>
            <a:xfrm>
              <a:off x="5963012" y="2170182"/>
              <a:ext cx="450716" cy="999702"/>
              <a:chOff x="4847180" y="2285147"/>
              <a:chExt cx="450716" cy="999702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5065064" y="228514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4847180" y="2557939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4" name="组合 33"/>
          <p:cNvGrpSpPr/>
          <p:nvPr/>
        </p:nvGrpSpPr>
        <p:grpSpPr>
          <a:xfrm>
            <a:off x="1544321" y="2804742"/>
            <a:ext cx="1105511" cy="1161271"/>
            <a:chOff x="4160177" y="2389634"/>
            <a:chExt cx="1105511" cy="116127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5" name="Rectangle 14"/>
            <p:cNvSpPr>
              <a:spLocks noChangeArrowheads="1"/>
            </p:cNvSpPr>
            <p:nvPr/>
          </p:nvSpPr>
          <p:spPr bwMode="auto">
            <a:xfrm>
              <a:off x="4160177" y="2457538"/>
              <a:ext cx="1100684" cy="109336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200">
                <a:solidFill>
                  <a:prstClr val="black">
                    <a:alpha val="99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6" name="组合 35"/>
            <p:cNvGrpSpPr/>
            <p:nvPr/>
          </p:nvGrpSpPr>
          <p:grpSpPr>
            <a:xfrm>
              <a:off x="4852412" y="2389634"/>
              <a:ext cx="413276" cy="1034979"/>
              <a:chOff x="4742304" y="2384187"/>
              <a:chExt cx="413276" cy="1034979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4922748" y="238418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742304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9" name="组合 38"/>
          <p:cNvGrpSpPr/>
          <p:nvPr/>
        </p:nvGrpSpPr>
        <p:grpSpPr>
          <a:xfrm>
            <a:off x="3612991" y="1475995"/>
            <a:ext cx="2182322" cy="2270180"/>
            <a:chOff x="256115" y="1446863"/>
            <a:chExt cx="1710329" cy="177918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0" name="组合 39"/>
            <p:cNvGrpSpPr/>
            <p:nvPr/>
          </p:nvGrpSpPr>
          <p:grpSpPr>
            <a:xfrm>
              <a:off x="256115" y="1446863"/>
              <a:ext cx="1710329" cy="1779185"/>
              <a:chOff x="1064646" y="1034182"/>
              <a:chExt cx="1710329" cy="1779185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42" name="Rectangle 14"/>
              <p:cNvSpPr>
                <a:spLocks noChangeArrowheads="1"/>
              </p:cNvSpPr>
              <p:nvPr/>
            </p:nvSpPr>
            <p:spPr bwMode="auto">
              <a:xfrm>
                <a:off x="1064646" y="1122637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414935" y="1034182"/>
                <a:ext cx="360040" cy="410058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1279500" y="1939546"/>
              <a:ext cx="434179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组合 17"/>
          <p:cNvGrpSpPr/>
          <p:nvPr/>
        </p:nvGrpSpPr>
        <p:grpSpPr bwMode="auto">
          <a:xfrm>
            <a:off x="661988" y="862013"/>
            <a:ext cx="1897062" cy="3313112"/>
            <a:chOff x="661673" y="862608"/>
            <a:chExt cx="1897617" cy="3312368"/>
          </a:xfrm>
        </p:grpSpPr>
        <p:grpSp>
          <p:nvGrpSpPr>
            <p:cNvPr id="19480" name="Group 1"/>
            <p:cNvGrpSpPr/>
            <p:nvPr/>
          </p:nvGrpSpPr>
          <p:grpSpPr bwMode="auto">
            <a:xfrm>
              <a:off x="661673" y="862608"/>
              <a:ext cx="1897617" cy="3312368"/>
              <a:chOff x="287337" y="1401763"/>
              <a:chExt cx="2862072" cy="4995862"/>
            </a:xfrm>
          </p:grpSpPr>
          <p:sp>
            <p:nvSpPr>
              <p:cNvPr id="3" name="Rectangle 3"/>
              <p:cNvSpPr/>
              <p:nvPr/>
            </p:nvSpPr>
            <p:spPr bwMode="auto">
              <a:xfrm>
                <a:off x="287337" y="1401763"/>
                <a:ext cx="2862072" cy="189828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IN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4" name="Rectangle 26"/>
              <p:cNvSpPr/>
              <p:nvPr/>
            </p:nvSpPr>
            <p:spPr bwMode="auto">
              <a:xfrm>
                <a:off x="287337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19485" name="Picture 17"/>
              <p:cNvPicPr>
                <a:picLocks noChangeAspect="1"/>
              </p:cNvPicPr>
              <p:nvPr/>
            </p:nvPicPr>
            <p:blipFill>
              <a:blip r:embed="rId1">
                <a:biLevel thresh="50000"/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23991" y="1532367"/>
                <a:ext cx="997210" cy="719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9481" name="矩形 19"/>
            <p:cNvSpPr>
              <a:spLocks noChangeArrowheads="1"/>
            </p:cNvSpPr>
            <p:nvPr/>
          </p:nvSpPr>
          <p:spPr bwMode="auto">
            <a:xfrm>
              <a:off x="896375" y="2283718"/>
              <a:ext cx="1443377" cy="1298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985618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459" name="组合 27"/>
          <p:cNvGrpSpPr/>
          <p:nvPr/>
        </p:nvGrpSpPr>
        <p:grpSpPr bwMode="auto">
          <a:xfrm>
            <a:off x="4548188" y="862013"/>
            <a:ext cx="1897062" cy="3313112"/>
            <a:chOff x="4547762" y="862608"/>
            <a:chExt cx="1897617" cy="3312368"/>
          </a:xfrm>
        </p:grpSpPr>
        <p:grpSp>
          <p:nvGrpSpPr>
            <p:cNvPr id="19474" name="Group 5"/>
            <p:cNvGrpSpPr/>
            <p:nvPr/>
          </p:nvGrpSpPr>
          <p:grpSpPr bwMode="auto">
            <a:xfrm>
              <a:off x="4547762" y="862608"/>
              <a:ext cx="1897617" cy="3312368"/>
              <a:chOff x="6148511" y="1401763"/>
              <a:chExt cx="2862072" cy="4995862"/>
            </a:xfrm>
          </p:grpSpPr>
          <p:sp>
            <p:nvSpPr>
              <p:cNvPr id="7" name="Rectangle 24"/>
              <p:cNvSpPr/>
              <p:nvPr/>
            </p:nvSpPr>
            <p:spPr bwMode="auto">
              <a:xfrm>
                <a:off x="6148511" y="1401763"/>
                <a:ext cx="2862072" cy="189828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US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8" name="Rectangle 28"/>
              <p:cNvSpPr/>
              <p:nvPr/>
            </p:nvSpPr>
            <p:spPr bwMode="auto">
              <a:xfrm>
                <a:off x="6148511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19479" name="Picture 19"/>
              <p:cNvPicPr>
                <a:picLocks noChangeAspect="1"/>
              </p:cNvPicPr>
              <p:nvPr/>
            </p:nvPicPr>
            <p:blipFill>
              <a:blip r:embed="rId2">
                <a:biLevel thresh="50000"/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73710" y="1508078"/>
                <a:ext cx="1036636" cy="767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3" name="TextBox 22"/>
            <p:cNvSpPr txBox="1"/>
            <p:nvPr/>
          </p:nvSpPr>
          <p:spPr bwMode="auto">
            <a:xfrm>
              <a:off x="4849475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76" name="矩形 24"/>
            <p:cNvSpPr>
              <a:spLocks noChangeArrowheads="1"/>
            </p:cNvSpPr>
            <p:nvPr/>
          </p:nvSpPr>
          <p:spPr bwMode="auto">
            <a:xfrm>
              <a:off x="4847467" y="2283718"/>
              <a:ext cx="1443377" cy="1298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460" name="组合 18"/>
          <p:cNvGrpSpPr/>
          <p:nvPr/>
        </p:nvGrpSpPr>
        <p:grpSpPr bwMode="auto">
          <a:xfrm>
            <a:off x="2605088" y="862013"/>
            <a:ext cx="1897062" cy="3313112"/>
            <a:chOff x="2604717" y="862608"/>
            <a:chExt cx="1897617" cy="3312368"/>
          </a:xfrm>
        </p:grpSpPr>
        <p:grpSp>
          <p:nvGrpSpPr>
            <p:cNvPr id="19468" name="Group 4"/>
            <p:cNvGrpSpPr/>
            <p:nvPr/>
          </p:nvGrpSpPr>
          <p:grpSpPr bwMode="auto">
            <a:xfrm>
              <a:off x="2604717" y="862608"/>
              <a:ext cx="1897617" cy="3312368"/>
              <a:chOff x="3217924" y="1401763"/>
              <a:chExt cx="2862072" cy="4995862"/>
            </a:xfrm>
          </p:grpSpPr>
          <p:sp>
            <p:nvSpPr>
              <p:cNvPr id="15" name="Rectangle 23"/>
              <p:cNvSpPr/>
              <p:nvPr/>
            </p:nvSpPr>
            <p:spPr bwMode="auto">
              <a:xfrm>
                <a:off x="3217924" y="1401763"/>
                <a:ext cx="2862072" cy="189828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US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6" name="Rectangle 27"/>
              <p:cNvSpPr/>
              <p:nvPr/>
            </p:nvSpPr>
            <p:spPr bwMode="auto">
              <a:xfrm>
                <a:off x="3217924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pic>
            <p:nvPicPr>
              <p:cNvPr id="19473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4236" y="1513682"/>
                <a:ext cx="1458988" cy="8066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22" name="TextBox 21"/>
            <p:cNvSpPr txBox="1"/>
            <p:nvPr/>
          </p:nvSpPr>
          <p:spPr bwMode="auto">
            <a:xfrm>
              <a:off x="2906430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70" name="矩形 25"/>
            <p:cNvSpPr>
              <a:spLocks noChangeArrowheads="1"/>
            </p:cNvSpPr>
            <p:nvPr/>
          </p:nvSpPr>
          <p:spPr bwMode="auto">
            <a:xfrm>
              <a:off x="2843865" y="2326764"/>
              <a:ext cx="1512111" cy="1600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拥有国内顶尖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坚持精益求精</a:t>
              </a: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精神。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461" name="组合 28"/>
          <p:cNvGrpSpPr/>
          <p:nvPr/>
        </p:nvGrpSpPr>
        <p:grpSpPr bwMode="auto">
          <a:xfrm>
            <a:off x="6491288" y="862013"/>
            <a:ext cx="1897062" cy="3313112"/>
            <a:chOff x="6490807" y="862608"/>
            <a:chExt cx="1897617" cy="3312368"/>
          </a:xfrm>
        </p:grpSpPr>
        <p:grpSp>
          <p:nvGrpSpPr>
            <p:cNvPr id="19462" name="Group 6"/>
            <p:cNvGrpSpPr/>
            <p:nvPr/>
          </p:nvGrpSpPr>
          <p:grpSpPr bwMode="auto">
            <a:xfrm>
              <a:off x="6490807" y="862608"/>
              <a:ext cx="1897617" cy="3312368"/>
              <a:chOff x="9079099" y="1401763"/>
              <a:chExt cx="2862072" cy="4995862"/>
            </a:xfrm>
          </p:grpSpPr>
          <p:sp>
            <p:nvSpPr>
              <p:cNvPr id="11" name="Rectangle 25"/>
              <p:cNvSpPr/>
              <p:nvPr/>
            </p:nvSpPr>
            <p:spPr bwMode="auto">
              <a:xfrm>
                <a:off x="9079099" y="1401763"/>
                <a:ext cx="2862072" cy="1898283"/>
              </a:xfrm>
              <a:prstGeom prst="rect">
                <a:avLst/>
              </a:prstGeom>
              <a:solidFill>
                <a:srgbClr val="33C7F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defRPr/>
                </a:pPr>
                <a:endParaRPr lang="en-US" altLang="zh-CN" sz="2900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2" name="Rectangle 29"/>
              <p:cNvSpPr/>
              <p:nvPr/>
            </p:nvSpPr>
            <p:spPr bwMode="auto">
              <a:xfrm>
                <a:off x="9079099" y="3362285"/>
                <a:ext cx="2862072" cy="3035340"/>
              </a:xfrm>
              <a:prstGeom prst="rect">
                <a:avLst/>
              </a:prstGeom>
              <a:solidFill>
                <a:schemeClr val="tx1">
                  <a:alpha val="18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46630"/>
              <a:lstStyle>
                <a:lvl1pPr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ts val="1225"/>
                  </a:spcBef>
                  <a:defRPr/>
                </a:pPr>
                <a:endParaRPr lang="en-IN" altLang="zh-CN" smtClean="0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13" name="Oval 2"/>
              <p:cNvSpPr>
                <a:spLocks noChangeAspect="1"/>
              </p:cNvSpPr>
              <p:nvPr/>
            </p:nvSpPr>
            <p:spPr bwMode="auto">
              <a:xfrm>
                <a:off x="11078957" y="1526241"/>
                <a:ext cx="706538" cy="720533"/>
              </a:xfrm>
              <a:custGeom>
                <a:avLst/>
                <a:gdLst/>
                <a:ahLst/>
                <a:cxnLst/>
                <a:rect l="l" t="t" r="r" b="b"/>
                <a:pathLst>
                  <a:path w="6400801" h="6400800">
                    <a:moveTo>
                      <a:pt x="2938779" y="4069139"/>
                    </a:moveTo>
                    <a:cubicBezTo>
                      <a:pt x="2956231" y="4067140"/>
                      <a:pt x="2974014" y="4067638"/>
                      <a:pt x="2991556" y="4070755"/>
                    </a:cubicBezTo>
                    <a:cubicBezTo>
                      <a:pt x="3014946" y="4074909"/>
                      <a:pt x="3037908" y="4083720"/>
                      <a:pt x="3059084" y="4097472"/>
                    </a:cubicBezTo>
                    <a:cubicBezTo>
                      <a:pt x="3143792" y="4152481"/>
                      <a:pt x="3167866" y="4265744"/>
                      <a:pt x="3112857" y="4350451"/>
                    </a:cubicBezTo>
                    <a:lnTo>
                      <a:pt x="2988352" y="4542172"/>
                    </a:lnTo>
                    <a:cubicBezTo>
                      <a:pt x="2933343" y="4626878"/>
                      <a:pt x="2820081" y="4650954"/>
                      <a:pt x="2735373" y="4595945"/>
                    </a:cubicBezTo>
                    <a:cubicBezTo>
                      <a:pt x="2650665" y="4540935"/>
                      <a:pt x="2626590" y="4427672"/>
                      <a:pt x="2681600" y="4342965"/>
                    </a:cubicBezTo>
                    <a:lnTo>
                      <a:pt x="2806105" y="4151244"/>
                    </a:lnTo>
                    <a:cubicBezTo>
                      <a:pt x="2837048" y="4103596"/>
                      <a:pt x="2886422" y="4075134"/>
                      <a:pt x="2938779" y="4069139"/>
                    </a:cubicBezTo>
                    <a:close/>
                    <a:moveTo>
                      <a:pt x="5599195" y="3955694"/>
                    </a:moveTo>
                    <a:lnTo>
                      <a:pt x="6310324" y="3955694"/>
                    </a:lnTo>
                    <a:cubicBezTo>
                      <a:pt x="5971594" y="5358821"/>
                      <a:pt x="4707682" y="6400800"/>
                      <a:pt x="3200402" y="6400800"/>
                    </a:cubicBezTo>
                    <a:cubicBezTo>
                      <a:pt x="1795855" y="6400800"/>
                      <a:pt x="602631" y="5496018"/>
                      <a:pt x="174768" y="4236478"/>
                    </a:cubicBezTo>
                    <a:lnTo>
                      <a:pt x="911006" y="4236478"/>
                    </a:lnTo>
                    <a:cubicBezTo>
                      <a:pt x="1303909" y="5108844"/>
                      <a:pt x="2181368" y="5715000"/>
                      <a:pt x="3200402" y="5715000"/>
                    </a:cubicBezTo>
                    <a:cubicBezTo>
                      <a:pt x="4325971" y="5715000"/>
                      <a:pt x="5278816" y="4975478"/>
                      <a:pt x="5599195" y="3955694"/>
                    </a:cubicBezTo>
                    <a:close/>
                    <a:moveTo>
                      <a:pt x="1486918" y="3748003"/>
                    </a:moveTo>
                    <a:cubicBezTo>
                      <a:pt x="1504370" y="3746005"/>
                      <a:pt x="1522154" y="3746503"/>
                      <a:pt x="1539696" y="3749619"/>
                    </a:cubicBezTo>
                    <a:cubicBezTo>
                      <a:pt x="1563086" y="3753774"/>
                      <a:pt x="1586048" y="3762584"/>
                      <a:pt x="1607224" y="3776337"/>
                    </a:cubicBezTo>
                    <a:cubicBezTo>
                      <a:pt x="1691932" y="3831346"/>
                      <a:pt x="1716006" y="3944609"/>
                      <a:pt x="1660997" y="4029316"/>
                    </a:cubicBezTo>
                    <a:lnTo>
                      <a:pt x="1536492" y="4221036"/>
                    </a:lnTo>
                    <a:cubicBezTo>
                      <a:pt x="1481483" y="4305744"/>
                      <a:pt x="1368220" y="4329819"/>
                      <a:pt x="1283513" y="4274809"/>
                    </a:cubicBezTo>
                    <a:cubicBezTo>
                      <a:pt x="1198805" y="4219799"/>
                      <a:pt x="1174730" y="4106537"/>
                      <a:pt x="1229740" y="4021829"/>
                    </a:cubicBezTo>
                    <a:lnTo>
                      <a:pt x="1354245" y="3830109"/>
                    </a:lnTo>
                    <a:cubicBezTo>
                      <a:pt x="1385188" y="3782461"/>
                      <a:pt x="1434563" y="3753997"/>
                      <a:pt x="1486918" y="3748003"/>
                    </a:cubicBezTo>
                    <a:close/>
                    <a:moveTo>
                      <a:pt x="2583225" y="3741166"/>
                    </a:moveTo>
                    <a:cubicBezTo>
                      <a:pt x="2600677" y="3739167"/>
                      <a:pt x="2618461" y="3739666"/>
                      <a:pt x="2636003" y="3742783"/>
                    </a:cubicBezTo>
                    <a:cubicBezTo>
                      <a:pt x="2659393" y="3746937"/>
                      <a:pt x="2682355" y="3755747"/>
                      <a:pt x="2703532" y="3769499"/>
                    </a:cubicBezTo>
                    <a:cubicBezTo>
                      <a:pt x="2788239" y="3824509"/>
                      <a:pt x="2812314" y="3937772"/>
                      <a:pt x="2757304" y="4022479"/>
                    </a:cubicBezTo>
                    <a:lnTo>
                      <a:pt x="2458493" y="4482607"/>
                    </a:lnTo>
                    <a:cubicBezTo>
                      <a:pt x="2403484" y="4567315"/>
                      <a:pt x="2290221" y="4591390"/>
                      <a:pt x="2205514" y="4536380"/>
                    </a:cubicBezTo>
                    <a:cubicBezTo>
                      <a:pt x="2120806" y="4481370"/>
                      <a:pt x="2096732" y="4368108"/>
                      <a:pt x="2151741" y="4283400"/>
                    </a:cubicBezTo>
                    <a:lnTo>
                      <a:pt x="2450552" y="3823272"/>
                    </a:lnTo>
                    <a:cubicBezTo>
                      <a:pt x="2481495" y="3775625"/>
                      <a:pt x="2530870" y="3747161"/>
                      <a:pt x="2583225" y="3741166"/>
                    </a:cubicBezTo>
                    <a:close/>
                    <a:moveTo>
                      <a:pt x="2180840" y="3483954"/>
                    </a:moveTo>
                    <a:cubicBezTo>
                      <a:pt x="2198293" y="3481957"/>
                      <a:pt x="2216075" y="3482455"/>
                      <a:pt x="2233618" y="3485571"/>
                    </a:cubicBezTo>
                    <a:cubicBezTo>
                      <a:pt x="2257008" y="3489726"/>
                      <a:pt x="2279970" y="3498537"/>
                      <a:pt x="2301147" y="3512288"/>
                    </a:cubicBezTo>
                    <a:cubicBezTo>
                      <a:pt x="2385854" y="3567298"/>
                      <a:pt x="2409929" y="3680560"/>
                      <a:pt x="2354918" y="3765268"/>
                    </a:cubicBezTo>
                    <a:lnTo>
                      <a:pt x="1956504" y="4378773"/>
                    </a:lnTo>
                    <a:cubicBezTo>
                      <a:pt x="1901495" y="4463479"/>
                      <a:pt x="1788232" y="4487555"/>
                      <a:pt x="1703524" y="4432545"/>
                    </a:cubicBezTo>
                    <a:cubicBezTo>
                      <a:pt x="1618818" y="4377535"/>
                      <a:pt x="1594743" y="4264272"/>
                      <a:pt x="1649752" y="4179565"/>
                    </a:cubicBezTo>
                    <a:lnTo>
                      <a:pt x="2048167" y="3566060"/>
                    </a:lnTo>
                    <a:cubicBezTo>
                      <a:pt x="2079109" y="3518413"/>
                      <a:pt x="2128484" y="3489950"/>
                      <a:pt x="2180840" y="3483954"/>
                    </a:cubicBezTo>
                    <a:close/>
                    <a:moveTo>
                      <a:pt x="1956920" y="2161748"/>
                    </a:moveTo>
                    <a:cubicBezTo>
                      <a:pt x="1979525" y="2163726"/>
                      <a:pt x="2001374" y="2174326"/>
                      <a:pt x="2017112" y="2193079"/>
                    </a:cubicBezTo>
                    <a:cubicBezTo>
                      <a:pt x="2046159" y="2227697"/>
                      <a:pt x="2044230" y="2277999"/>
                      <a:pt x="2013153" y="2309251"/>
                    </a:cubicBezTo>
                    <a:lnTo>
                      <a:pt x="2014245" y="2310464"/>
                    </a:lnTo>
                    <a:lnTo>
                      <a:pt x="2008427" y="2315176"/>
                    </a:lnTo>
                    <a:cubicBezTo>
                      <a:pt x="2007986" y="2316444"/>
                      <a:pt x="2007094" y="2317222"/>
                      <a:pt x="2006184" y="2317986"/>
                    </a:cubicBezTo>
                    <a:lnTo>
                      <a:pt x="1806882" y="2485219"/>
                    </a:lnTo>
                    <a:cubicBezTo>
                      <a:pt x="1704191" y="2599553"/>
                      <a:pt x="1697282" y="2774681"/>
                      <a:pt x="1797185" y="2898050"/>
                    </a:cubicBezTo>
                    <a:cubicBezTo>
                      <a:pt x="1908420" y="3035413"/>
                      <a:pt x="2109946" y="3056594"/>
                      <a:pt x="2247309" y="2945360"/>
                    </a:cubicBezTo>
                    <a:lnTo>
                      <a:pt x="2338616" y="2871422"/>
                    </a:lnTo>
                    <a:lnTo>
                      <a:pt x="2338630" y="2871437"/>
                    </a:lnTo>
                    <a:lnTo>
                      <a:pt x="2338945" y="2871156"/>
                    </a:lnTo>
                    <a:lnTo>
                      <a:pt x="2602621" y="2657635"/>
                    </a:lnTo>
                    <a:cubicBezTo>
                      <a:pt x="2608606" y="2652788"/>
                      <a:pt x="2614369" y="2647772"/>
                      <a:pt x="2618891" y="2641505"/>
                    </a:cubicBezTo>
                    <a:cubicBezTo>
                      <a:pt x="2716015" y="2580063"/>
                      <a:pt x="2827312" y="2544504"/>
                      <a:pt x="2944280" y="2540144"/>
                    </a:cubicBezTo>
                    <a:cubicBezTo>
                      <a:pt x="2997945" y="2538144"/>
                      <a:pt x="3049962" y="2542817"/>
                      <a:pt x="3099337" y="2555009"/>
                    </a:cubicBezTo>
                    <a:cubicBezTo>
                      <a:pt x="3099582" y="2554669"/>
                      <a:pt x="3099830" y="2554330"/>
                      <a:pt x="3099955" y="2553895"/>
                    </a:cubicBezTo>
                    <a:lnTo>
                      <a:pt x="3507123" y="2641827"/>
                    </a:lnTo>
                    <a:lnTo>
                      <a:pt x="3840287" y="2720589"/>
                    </a:lnTo>
                    <a:lnTo>
                      <a:pt x="3839574" y="2722689"/>
                    </a:lnTo>
                    <a:cubicBezTo>
                      <a:pt x="3918505" y="2742806"/>
                      <a:pt x="3992686" y="2774673"/>
                      <a:pt x="4059647" y="2818014"/>
                    </a:cubicBezTo>
                    <a:lnTo>
                      <a:pt x="4436081" y="3181533"/>
                    </a:lnTo>
                    <a:lnTo>
                      <a:pt x="4492118" y="3242741"/>
                    </a:lnTo>
                    <a:cubicBezTo>
                      <a:pt x="4502616" y="3245767"/>
                      <a:pt x="4510658" y="3252516"/>
                      <a:pt x="4518205" y="3260063"/>
                    </a:cubicBezTo>
                    <a:lnTo>
                      <a:pt x="5035468" y="3777326"/>
                    </a:lnTo>
                    <a:cubicBezTo>
                      <a:pt x="5106887" y="3848745"/>
                      <a:pt x="5106887" y="3964538"/>
                      <a:pt x="5035467" y="4035957"/>
                    </a:cubicBezTo>
                    <a:cubicBezTo>
                      <a:pt x="4964049" y="4107377"/>
                      <a:pt x="4848256" y="4107377"/>
                      <a:pt x="4776836" y="4035958"/>
                    </a:cubicBezTo>
                    <a:lnTo>
                      <a:pt x="4355415" y="3614535"/>
                    </a:lnTo>
                    <a:lnTo>
                      <a:pt x="4354368" y="3615620"/>
                    </a:lnTo>
                    <a:cubicBezTo>
                      <a:pt x="4331787" y="3604156"/>
                      <a:pt x="4303602" y="3608170"/>
                      <a:pt x="4284681" y="3627089"/>
                    </a:cubicBezTo>
                    <a:cubicBezTo>
                      <a:pt x="4267674" y="3644096"/>
                      <a:pt x="4262713" y="3668585"/>
                      <a:pt x="4272546" y="3688883"/>
                    </a:cubicBezTo>
                    <a:cubicBezTo>
                      <a:pt x="4293541" y="3697118"/>
                      <a:pt x="4312939" y="3710026"/>
                      <a:pt x="4329850" y="3726936"/>
                    </a:cubicBezTo>
                    <a:lnTo>
                      <a:pt x="4847114" y="4244199"/>
                    </a:lnTo>
                    <a:cubicBezTo>
                      <a:pt x="4918533" y="4315619"/>
                      <a:pt x="4918535" y="4431412"/>
                      <a:pt x="4847114" y="4502830"/>
                    </a:cubicBezTo>
                    <a:cubicBezTo>
                      <a:pt x="4775693" y="4574249"/>
                      <a:pt x="4659901" y="4574249"/>
                      <a:pt x="4588482" y="4502831"/>
                    </a:cubicBezTo>
                    <a:lnTo>
                      <a:pt x="4071219" y="3985568"/>
                    </a:lnTo>
                    <a:lnTo>
                      <a:pt x="4041024" y="3940095"/>
                    </a:lnTo>
                    <a:lnTo>
                      <a:pt x="4040360" y="3940782"/>
                    </a:lnTo>
                    <a:cubicBezTo>
                      <a:pt x="4017254" y="3924832"/>
                      <a:pt x="3985516" y="3927706"/>
                      <a:pt x="3964843" y="3948379"/>
                    </a:cubicBezTo>
                    <a:cubicBezTo>
                      <a:pt x="3944472" y="3968751"/>
                      <a:pt x="3941381" y="3999857"/>
                      <a:pt x="3957437" y="4022240"/>
                    </a:cubicBezTo>
                    <a:lnTo>
                      <a:pt x="4411220" y="4476023"/>
                    </a:lnTo>
                    <a:cubicBezTo>
                      <a:pt x="4482639" y="4547442"/>
                      <a:pt x="4482640" y="4663235"/>
                      <a:pt x="4411220" y="4734654"/>
                    </a:cubicBezTo>
                    <a:cubicBezTo>
                      <a:pt x="4339801" y="4806074"/>
                      <a:pt x="4224009" y="4806074"/>
                      <a:pt x="4152588" y="4734654"/>
                    </a:cubicBezTo>
                    <a:lnTo>
                      <a:pt x="3693759" y="4275824"/>
                    </a:lnTo>
                    <a:cubicBezTo>
                      <a:pt x="3674507" y="4266207"/>
                      <a:pt x="3651523" y="4271480"/>
                      <a:pt x="3635327" y="4287674"/>
                    </a:cubicBezTo>
                    <a:cubicBezTo>
                      <a:pt x="3616352" y="4306648"/>
                      <a:pt x="3612370" y="4334938"/>
                      <a:pt x="3624934" y="4356886"/>
                    </a:cubicBezTo>
                    <a:cubicBezTo>
                      <a:pt x="3635049" y="4359778"/>
                      <a:pt x="3642739" y="4366280"/>
                      <a:pt x="3649973" y="4373515"/>
                    </a:cubicBezTo>
                    <a:lnTo>
                      <a:pt x="3908605" y="4632146"/>
                    </a:lnTo>
                    <a:cubicBezTo>
                      <a:pt x="3980025" y="4703566"/>
                      <a:pt x="3980024" y="4819358"/>
                      <a:pt x="3908605" y="4890778"/>
                    </a:cubicBezTo>
                    <a:cubicBezTo>
                      <a:pt x="3837186" y="4962196"/>
                      <a:pt x="3721393" y="4962197"/>
                      <a:pt x="3649973" y="4890777"/>
                    </a:cubicBezTo>
                    <a:lnTo>
                      <a:pt x="3391342" y="4632145"/>
                    </a:lnTo>
                    <a:lnTo>
                      <a:pt x="3383755" y="4620718"/>
                    </a:lnTo>
                    <a:lnTo>
                      <a:pt x="3380889" y="4623684"/>
                    </a:lnTo>
                    <a:lnTo>
                      <a:pt x="3174745" y="4424613"/>
                    </a:lnTo>
                    <a:lnTo>
                      <a:pt x="3205723" y="4376911"/>
                    </a:lnTo>
                    <a:cubicBezTo>
                      <a:pt x="3288238" y="4249850"/>
                      <a:pt x="3252126" y="4079956"/>
                      <a:pt x="3125065" y="3997443"/>
                    </a:cubicBezTo>
                    <a:cubicBezTo>
                      <a:pt x="3050998" y="3949342"/>
                      <a:pt x="2962377" y="3941552"/>
                      <a:pt x="2885364" y="3969651"/>
                    </a:cubicBezTo>
                    <a:cubicBezTo>
                      <a:pt x="2904562" y="3864147"/>
                      <a:pt x="2860444" y="3752656"/>
                      <a:pt x="2764879" y="3690594"/>
                    </a:cubicBezTo>
                    <a:cubicBezTo>
                      <a:pt x="2675680" y="3632668"/>
                      <a:pt x="2565374" y="3633204"/>
                      <a:pt x="2479613" y="3683683"/>
                    </a:cubicBezTo>
                    <a:cubicBezTo>
                      <a:pt x="2491746" y="3584340"/>
                      <a:pt x="2447375" y="3482413"/>
                      <a:pt x="2357597" y="3424112"/>
                    </a:cubicBezTo>
                    <a:cubicBezTo>
                      <a:pt x="2230536" y="3341596"/>
                      <a:pt x="2060642" y="3377708"/>
                      <a:pt x="1978127" y="3504770"/>
                    </a:cubicBezTo>
                    <a:lnTo>
                      <a:pt x="1773143" y="3820415"/>
                    </a:lnTo>
                    <a:cubicBezTo>
                      <a:pt x="1771585" y="3822815"/>
                      <a:pt x="1770069" y="3825230"/>
                      <a:pt x="1769218" y="3828038"/>
                    </a:cubicBezTo>
                    <a:cubicBezTo>
                      <a:pt x="1752743" y="3768112"/>
                      <a:pt x="1714307" y="3714419"/>
                      <a:pt x="1658027" y="3677872"/>
                    </a:cubicBezTo>
                    <a:cubicBezTo>
                      <a:pt x="1530967" y="3595356"/>
                      <a:pt x="1361072" y="3631468"/>
                      <a:pt x="1278558" y="3758529"/>
                    </a:cubicBezTo>
                    <a:lnTo>
                      <a:pt x="1214041" y="3857878"/>
                    </a:lnTo>
                    <a:cubicBezTo>
                      <a:pt x="1129847" y="4012173"/>
                      <a:pt x="965736" y="4115631"/>
                      <a:pt x="777460" y="4115631"/>
                    </a:cubicBezTo>
                    <a:lnTo>
                      <a:pt x="770030" y="4114882"/>
                    </a:lnTo>
                    <a:lnTo>
                      <a:pt x="133314" y="4114882"/>
                    </a:lnTo>
                    <a:cubicBezTo>
                      <a:pt x="46334" y="3825273"/>
                      <a:pt x="0" y="3518249"/>
                      <a:pt x="0" y="3200402"/>
                    </a:cubicBezTo>
                    <a:cubicBezTo>
                      <a:pt x="-1" y="2981216"/>
                      <a:pt x="22034" y="2767175"/>
                      <a:pt x="64130" y="2560401"/>
                    </a:cubicBezTo>
                    <a:lnTo>
                      <a:pt x="1002249" y="2560400"/>
                    </a:lnTo>
                    <a:lnTo>
                      <a:pt x="1891037" y="2183134"/>
                    </a:lnTo>
                    <a:lnTo>
                      <a:pt x="1892205" y="2182154"/>
                    </a:lnTo>
                    <a:cubicBezTo>
                      <a:pt x="1910959" y="2166416"/>
                      <a:pt x="1934318" y="2159770"/>
                      <a:pt x="1956920" y="2161748"/>
                    </a:cubicBezTo>
                    <a:close/>
                    <a:moveTo>
                      <a:pt x="3656858" y="1633115"/>
                    </a:moveTo>
                    <a:cubicBezTo>
                      <a:pt x="3684170" y="1634110"/>
                      <a:pt x="3710479" y="1635996"/>
                      <a:pt x="3735468" y="1640302"/>
                    </a:cubicBezTo>
                    <a:cubicBezTo>
                      <a:pt x="3736801" y="1640168"/>
                      <a:pt x="3738134" y="1640167"/>
                      <a:pt x="3739468" y="1640167"/>
                    </a:cubicBezTo>
                    <a:cubicBezTo>
                      <a:pt x="4305222" y="1640169"/>
                      <a:pt x="4816641" y="1846440"/>
                      <a:pt x="5181704" y="2180522"/>
                    </a:cubicBezTo>
                    <a:lnTo>
                      <a:pt x="5182750" y="2177646"/>
                    </a:lnTo>
                    <a:cubicBezTo>
                      <a:pt x="5259259" y="2244293"/>
                      <a:pt x="5359072" y="2283923"/>
                      <a:pt x="5468110" y="2284801"/>
                    </a:cubicBezTo>
                    <a:lnTo>
                      <a:pt x="5467703" y="2285921"/>
                    </a:lnTo>
                    <a:lnTo>
                      <a:pt x="6267485" y="2285921"/>
                    </a:lnTo>
                    <a:cubicBezTo>
                      <a:pt x="6354465" y="2575530"/>
                      <a:pt x="6400801" y="2882555"/>
                      <a:pt x="6400801" y="3200402"/>
                    </a:cubicBezTo>
                    <a:cubicBezTo>
                      <a:pt x="6400800" y="3419588"/>
                      <a:pt x="6378766" y="3633626"/>
                      <a:pt x="6336672" y="3840401"/>
                    </a:cubicBezTo>
                    <a:lnTo>
                      <a:pt x="5704421" y="3840400"/>
                    </a:lnTo>
                    <a:lnTo>
                      <a:pt x="5517569" y="3840400"/>
                    </a:lnTo>
                    <a:cubicBezTo>
                      <a:pt x="5516068" y="3840851"/>
                      <a:pt x="5514564" y="3840855"/>
                      <a:pt x="5513058" y="3840856"/>
                    </a:cubicBezTo>
                    <a:cubicBezTo>
                      <a:pt x="5346942" y="3840856"/>
                      <a:pt x="5196620" y="3773228"/>
                      <a:pt x="5088259" y="3663870"/>
                    </a:cubicBezTo>
                    <a:lnTo>
                      <a:pt x="5088088" y="3664207"/>
                    </a:lnTo>
                    <a:lnTo>
                      <a:pt x="4240840" y="2816960"/>
                    </a:lnTo>
                    <a:cubicBezTo>
                      <a:pt x="4240396" y="2817661"/>
                      <a:pt x="4239784" y="2818172"/>
                      <a:pt x="4239171" y="2818678"/>
                    </a:cubicBezTo>
                    <a:cubicBezTo>
                      <a:pt x="4135954" y="2720312"/>
                      <a:pt x="4008137" y="2648478"/>
                      <a:pt x="3866360" y="2610767"/>
                    </a:cubicBezTo>
                    <a:lnTo>
                      <a:pt x="3866992" y="2608888"/>
                    </a:lnTo>
                    <a:lnTo>
                      <a:pt x="3535264" y="2526178"/>
                    </a:lnTo>
                    <a:lnTo>
                      <a:pt x="3130135" y="2432647"/>
                    </a:lnTo>
                    <a:cubicBezTo>
                      <a:pt x="3130024" y="2433039"/>
                      <a:pt x="3129793" y="2433339"/>
                      <a:pt x="3129562" y="2433637"/>
                    </a:cubicBezTo>
                    <a:cubicBezTo>
                      <a:pt x="3080383" y="2420910"/>
                      <a:pt x="3028848" y="2414912"/>
                      <a:pt x="2975908" y="2414912"/>
                    </a:cubicBezTo>
                    <a:cubicBezTo>
                      <a:pt x="2811943" y="2414912"/>
                      <a:pt x="2661415" y="2472455"/>
                      <a:pt x="2545396" y="2570876"/>
                    </a:cubicBezTo>
                    <a:lnTo>
                      <a:pt x="2543573" y="2569717"/>
                    </a:lnTo>
                    <a:lnTo>
                      <a:pt x="2193720" y="2853022"/>
                    </a:lnTo>
                    <a:cubicBezTo>
                      <a:pt x="2105416" y="2924529"/>
                      <a:pt x="1975860" y="2910914"/>
                      <a:pt x="1904353" y="2822609"/>
                    </a:cubicBezTo>
                    <a:cubicBezTo>
                      <a:pt x="1832844" y="2734303"/>
                      <a:pt x="1846461" y="2604750"/>
                      <a:pt x="1934767" y="2533243"/>
                    </a:cubicBezTo>
                    <a:lnTo>
                      <a:pt x="2350832" y="2196320"/>
                    </a:lnTo>
                    <a:lnTo>
                      <a:pt x="2704088" y="1899903"/>
                    </a:lnTo>
                    <a:cubicBezTo>
                      <a:pt x="2709938" y="1893802"/>
                      <a:pt x="2716509" y="1888323"/>
                      <a:pt x="2723713" y="1883435"/>
                    </a:cubicBezTo>
                    <a:lnTo>
                      <a:pt x="2732397" y="1876148"/>
                    </a:lnTo>
                    <a:lnTo>
                      <a:pt x="2741152" y="1870710"/>
                    </a:lnTo>
                    <a:cubicBezTo>
                      <a:pt x="2794071" y="1830023"/>
                      <a:pt x="2859630" y="1794650"/>
                      <a:pt x="2933347" y="1767819"/>
                    </a:cubicBezTo>
                    <a:lnTo>
                      <a:pt x="3001298" y="1748265"/>
                    </a:lnTo>
                    <a:cubicBezTo>
                      <a:pt x="3071697" y="1720366"/>
                      <a:pt x="3148660" y="1697120"/>
                      <a:pt x="3229866" y="1678372"/>
                    </a:cubicBezTo>
                    <a:cubicBezTo>
                      <a:pt x="3383705" y="1642856"/>
                      <a:pt x="3530928" y="1628523"/>
                      <a:pt x="3656858" y="1633115"/>
                    </a:cubicBezTo>
                    <a:close/>
                    <a:moveTo>
                      <a:pt x="3200402" y="0"/>
                    </a:moveTo>
                    <a:cubicBezTo>
                      <a:pt x="4604889" y="0"/>
                      <a:pt x="5798071" y="904705"/>
                      <a:pt x="6225978" y="2164162"/>
                    </a:cubicBezTo>
                    <a:lnTo>
                      <a:pt x="5489721" y="2164162"/>
                    </a:lnTo>
                    <a:cubicBezTo>
                      <a:pt x="5096787" y="1291881"/>
                      <a:pt x="4219373" y="685800"/>
                      <a:pt x="3200402" y="685800"/>
                    </a:cubicBezTo>
                    <a:cubicBezTo>
                      <a:pt x="2074893" y="685800"/>
                      <a:pt x="1122090" y="1425244"/>
                      <a:pt x="801668" y="2444946"/>
                    </a:cubicBezTo>
                    <a:lnTo>
                      <a:pt x="90517" y="2444946"/>
                    </a:lnTo>
                    <a:cubicBezTo>
                      <a:pt x="429306" y="1041901"/>
                      <a:pt x="1693180" y="0"/>
                      <a:pt x="320040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93256" tIns="46628" rIns="93256" bIns="46628" anchor="ctr"/>
              <a:lstStyle/>
              <a:p>
                <a:pPr algn="ctr" defTabSz="931545" eaLnBrk="1" hangingPunct="1">
                  <a:lnSpc>
                    <a:spcPct val="90000"/>
                  </a:lnSpc>
                  <a:defRPr/>
                </a:pPr>
                <a:endParaRPr lang="en-US" sz="22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+mn-ea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 bwMode="auto">
            <a:xfrm>
              <a:off x="6729002" y="1626024"/>
              <a:ext cx="1294191" cy="3698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64" name="矩形 26"/>
            <p:cNvSpPr>
              <a:spLocks noChangeArrowheads="1"/>
            </p:cNvSpPr>
            <p:nvPr/>
          </p:nvSpPr>
          <p:spPr bwMode="auto">
            <a:xfrm>
              <a:off x="6696236" y="2304926"/>
              <a:ext cx="1476164" cy="1600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帮助您实现美观、精致、严谨、动感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，让您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矩形 35"/>
          <p:cNvSpPr/>
          <p:nvPr/>
        </p:nvSpPr>
        <p:spPr>
          <a:xfrm>
            <a:off x="755650" y="801688"/>
            <a:ext cx="3802063" cy="72231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1098550" y="1008063"/>
            <a:ext cx="3173413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</a:t>
            </a:r>
            <a:endParaRPr lang="zh-CN" altLang="en-US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84" name="矩形 38"/>
          <p:cNvSpPr>
            <a:spLocks noChangeArrowheads="1"/>
          </p:cNvSpPr>
          <p:nvPr/>
        </p:nvSpPr>
        <p:spPr bwMode="auto">
          <a:xfrm>
            <a:off x="4630738" y="801688"/>
            <a:ext cx="3724275" cy="722312"/>
          </a:xfrm>
          <a:prstGeom prst="rect">
            <a:avLst/>
          </a:pr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20485" name="组合 5"/>
          <p:cNvGrpSpPr/>
          <p:nvPr/>
        </p:nvGrpSpPr>
        <p:grpSpPr bwMode="auto">
          <a:xfrm>
            <a:off x="755650" y="1592263"/>
            <a:ext cx="7599363" cy="2700337"/>
            <a:chOff x="755650" y="1592643"/>
            <a:chExt cx="7600145" cy="2700734"/>
          </a:xfrm>
        </p:grpSpPr>
        <p:grpSp>
          <p:nvGrpSpPr>
            <p:cNvPr id="20487" name="组合 34"/>
            <p:cNvGrpSpPr/>
            <p:nvPr/>
          </p:nvGrpSpPr>
          <p:grpSpPr bwMode="auto">
            <a:xfrm>
              <a:off x="755650" y="1592643"/>
              <a:ext cx="7600145" cy="2700734"/>
              <a:chOff x="35496" y="843557"/>
              <a:chExt cx="9834263" cy="3494634"/>
            </a:xfrm>
          </p:grpSpPr>
          <p:pic>
            <p:nvPicPr>
              <p:cNvPr id="20489" name="Picture 8"/>
              <p:cNvPicPr preferRelativeResize="0"/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96" y="843558"/>
                <a:ext cx="1883357" cy="16996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0490" name="Group 23"/>
              <p:cNvGrpSpPr/>
              <p:nvPr/>
            </p:nvGrpSpPr>
            <p:grpSpPr bwMode="auto">
              <a:xfrm>
                <a:off x="7986402" y="843557"/>
                <a:ext cx="1883357" cy="3483028"/>
                <a:chOff x="9179919" y="1741217"/>
                <a:chExt cx="1846596" cy="3415043"/>
              </a:xfrm>
            </p:grpSpPr>
            <p:sp>
              <p:nvSpPr>
                <p:cNvPr id="4" name="Rectangle 6"/>
                <p:cNvSpPr/>
                <p:nvPr/>
              </p:nvSpPr>
              <p:spPr bwMode="auto">
                <a:xfrm>
                  <a:off x="9179429" y="1741217"/>
                  <a:ext cx="1847086" cy="341433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eaLnBrk="1" hangingPunct="1"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5" name="Freeform 13"/>
                <p:cNvSpPr>
                  <a:spLocks noEditPoints="1"/>
                </p:cNvSpPr>
                <p:nvPr/>
              </p:nvSpPr>
              <p:spPr bwMode="black">
                <a:xfrm>
                  <a:off x="9604441" y="2961918"/>
                  <a:ext cx="997063" cy="848044"/>
                </a:xfrm>
                <a:custGeom>
                  <a:avLst/>
                  <a:gdLst>
                    <a:gd name="T0" fmla="*/ 344 w 414"/>
                    <a:gd name="T1" fmla="*/ 55 h 353"/>
                    <a:gd name="T2" fmla="*/ 296 w 414"/>
                    <a:gd name="T3" fmla="*/ 9 h 353"/>
                    <a:gd name="T4" fmla="*/ 206 w 414"/>
                    <a:gd name="T5" fmla="*/ 45 h 353"/>
                    <a:gd name="T6" fmla="*/ 0 w 414"/>
                    <a:gd name="T7" fmla="*/ 174 h 353"/>
                    <a:gd name="T8" fmla="*/ 158 w 414"/>
                    <a:gd name="T9" fmla="*/ 278 h 353"/>
                    <a:gd name="T10" fmla="*/ 160 w 414"/>
                    <a:gd name="T11" fmla="*/ 278 h 353"/>
                    <a:gd name="T12" fmla="*/ 160 w 414"/>
                    <a:gd name="T13" fmla="*/ 332 h 353"/>
                    <a:gd name="T14" fmla="*/ 133 w 414"/>
                    <a:gd name="T15" fmla="*/ 337 h 353"/>
                    <a:gd name="T16" fmla="*/ 128 w 414"/>
                    <a:gd name="T17" fmla="*/ 347 h 353"/>
                    <a:gd name="T18" fmla="*/ 137 w 414"/>
                    <a:gd name="T19" fmla="*/ 352 h 353"/>
                    <a:gd name="T20" fmla="*/ 137 w 414"/>
                    <a:gd name="T21" fmla="*/ 352 h 353"/>
                    <a:gd name="T22" fmla="*/ 176 w 414"/>
                    <a:gd name="T23" fmla="*/ 346 h 353"/>
                    <a:gd name="T24" fmla="*/ 215 w 414"/>
                    <a:gd name="T25" fmla="*/ 352 h 353"/>
                    <a:gd name="T26" fmla="*/ 218 w 414"/>
                    <a:gd name="T27" fmla="*/ 352 h 353"/>
                    <a:gd name="T28" fmla="*/ 224 w 414"/>
                    <a:gd name="T29" fmla="*/ 347 h 353"/>
                    <a:gd name="T30" fmla="*/ 245 w 414"/>
                    <a:gd name="T31" fmla="*/ 352 h 353"/>
                    <a:gd name="T32" fmla="*/ 248 w 414"/>
                    <a:gd name="T33" fmla="*/ 352 h 353"/>
                    <a:gd name="T34" fmla="*/ 255 w 414"/>
                    <a:gd name="T35" fmla="*/ 347 h 353"/>
                    <a:gd name="T36" fmla="*/ 250 w 414"/>
                    <a:gd name="T37" fmla="*/ 337 h 353"/>
                    <a:gd name="T38" fmla="*/ 207 w 414"/>
                    <a:gd name="T39" fmla="*/ 331 h 353"/>
                    <a:gd name="T40" fmla="*/ 207 w 414"/>
                    <a:gd name="T41" fmla="*/ 271 h 353"/>
                    <a:gd name="T42" fmla="*/ 343 w 414"/>
                    <a:gd name="T43" fmla="*/ 112 h 353"/>
                    <a:gd name="T44" fmla="*/ 414 w 414"/>
                    <a:gd name="T45" fmla="*/ 83 h 353"/>
                    <a:gd name="T46" fmla="*/ 344 w 414"/>
                    <a:gd name="T47" fmla="*/ 55 h 353"/>
                    <a:gd name="T48" fmla="*/ 192 w 414"/>
                    <a:gd name="T49" fmla="*/ 332 h 353"/>
                    <a:gd name="T50" fmla="*/ 192 w 414"/>
                    <a:gd name="T51" fmla="*/ 332 h 353"/>
                    <a:gd name="T52" fmla="*/ 191 w 414"/>
                    <a:gd name="T53" fmla="*/ 332 h 353"/>
                    <a:gd name="T54" fmla="*/ 176 w 414"/>
                    <a:gd name="T55" fmla="*/ 331 h 353"/>
                    <a:gd name="T56" fmla="*/ 175 w 414"/>
                    <a:gd name="T57" fmla="*/ 331 h 353"/>
                    <a:gd name="T58" fmla="*/ 175 w 414"/>
                    <a:gd name="T59" fmla="*/ 277 h 353"/>
                    <a:gd name="T60" fmla="*/ 192 w 414"/>
                    <a:gd name="T61" fmla="*/ 275 h 353"/>
                    <a:gd name="T62" fmla="*/ 192 w 414"/>
                    <a:gd name="T63" fmla="*/ 332 h 353"/>
                    <a:gd name="T64" fmla="*/ 286 w 414"/>
                    <a:gd name="T65" fmla="*/ 82 h 353"/>
                    <a:gd name="T66" fmla="*/ 271 w 414"/>
                    <a:gd name="T67" fmla="*/ 67 h 353"/>
                    <a:gd name="T68" fmla="*/ 286 w 414"/>
                    <a:gd name="T69" fmla="*/ 52 h 353"/>
                    <a:gd name="T70" fmla="*/ 301 w 414"/>
                    <a:gd name="T71" fmla="*/ 67 h 353"/>
                    <a:gd name="T72" fmla="*/ 286 w 414"/>
                    <a:gd name="T73" fmla="*/ 82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14" h="353">
                      <a:moveTo>
                        <a:pt x="344" y="55"/>
                      </a:moveTo>
                      <a:cubicBezTo>
                        <a:pt x="336" y="33"/>
                        <a:pt x="319" y="16"/>
                        <a:pt x="296" y="9"/>
                      </a:cubicBezTo>
                      <a:cubicBezTo>
                        <a:pt x="263" y="0"/>
                        <a:pt x="228" y="11"/>
                        <a:pt x="206" y="45"/>
                      </a:cubicBezTo>
                      <a:cubicBezTo>
                        <a:pt x="145" y="140"/>
                        <a:pt x="71" y="200"/>
                        <a:pt x="0" y="174"/>
                      </a:cubicBezTo>
                      <a:cubicBezTo>
                        <a:pt x="0" y="174"/>
                        <a:pt x="50" y="278"/>
                        <a:pt x="158" y="278"/>
                      </a:cubicBezTo>
                      <a:cubicBezTo>
                        <a:pt x="159" y="278"/>
                        <a:pt x="160" y="278"/>
                        <a:pt x="160" y="278"/>
                      </a:cubicBezTo>
                      <a:cubicBezTo>
                        <a:pt x="160" y="332"/>
                        <a:pt x="160" y="332"/>
                        <a:pt x="160" y="332"/>
                      </a:cubicBezTo>
                      <a:cubicBezTo>
                        <a:pt x="150" y="333"/>
                        <a:pt x="140" y="335"/>
                        <a:pt x="133" y="337"/>
                      </a:cubicBezTo>
                      <a:cubicBezTo>
                        <a:pt x="129" y="339"/>
                        <a:pt x="127" y="343"/>
                        <a:pt x="128" y="347"/>
                      </a:cubicBezTo>
                      <a:cubicBezTo>
                        <a:pt x="129" y="351"/>
                        <a:pt x="134" y="353"/>
                        <a:pt x="137" y="352"/>
                      </a:cubicBezTo>
                      <a:cubicBezTo>
                        <a:pt x="137" y="352"/>
                        <a:pt x="137" y="352"/>
                        <a:pt x="137" y="352"/>
                      </a:cubicBezTo>
                      <a:cubicBezTo>
                        <a:pt x="147" y="348"/>
                        <a:pt x="161" y="346"/>
                        <a:pt x="176" y="346"/>
                      </a:cubicBezTo>
                      <a:cubicBezTo>
                        <a:pt x="192" y="346"/>
                        <a:pt x="206" y="348"/>
                        <a:pt x="215" y="352"/>
                      </a:cubicBezTo>
                      <a:cubicBezTo>
                        <a:pt x="216" y="352"/>
                        <a:pt x="217" y="352"/>
                        <a:pt x="218" y="352"/>
                      </a:cubicBezTo>
                      <a:cubicBezTo>
                        <a:pt x="221" y="352"/>
                        <a:pt x="223" y="350"/>
                        <a:pt x="224" y="347"/>
                      </a:cubicBezTo>
                      <a:cubicBezTo>
                        <a:pt x="232" y="348"/>
                        <a:pt x="240" y="350"/>
                        <a:pt x="245" y="352"/>
                      </a:cubicBezTo>
                      <a:cubicBezTo>
                        <a:pt x="246" y="352"/>
                        <a:pt x="247" y="352"/>
                        <a:pt x="248" y="352"/>
                      </a:cubicBezTo>
                      <a:cubicBezTo>
                        <a:pt x="251" y="352"/>
                        <a:pt x="254" y="350"/>
                        <a:pt x="255" y="347"/>
                      </a:cubicBezTo>
                      <a:cubicBezTo>
                        <a:pt x="256" y="343"/>
                        <a:pt x="254" y="339"/>
                        <a:pt x="250" y="337"/>
                      </a:cubicBezTo>
                      <a:cubicBezTo>
                        <a:pt x="239" y="334"/>
                        <a:pt x="224" y="331"/>
                        <a:pt x="207" y="331"/>
                      </a:cubicBezTo>
                      <a:cubicBezTo>
                        <a:pt x="207" y="271"/>
                        <a:pt x="207" y="271"/>
                        <a:pt x="207" y="271"/>
                      </a:cubicBezTo>
                      <a:cubicBezTo>
                        <a:pt x="283" y="251"/>
                        <a:pt x="323" y="185"/>
                        <a:pt x="343" y="112"/>
                      </a:cubicBezTo>
                      <a:cubicBezTo>
                        <a:pt x="414" y="83"/>
                        <a:pt x="414" y="83"/>
                        <a:pt x="414" y="83"/>
                      </a:cubicBezTo>
                      <a:lnTo>
                        <a:pt x="344" y="55"/>
                      </a:lnTo>
                      <a:close/>
                      <a:moveTo>
                        <a:pt x="192" y="332"/>
                      </a:moveTo>
                      <a:cubicBezTo>
                        <a:pt x="192" y="332"/>
                        <a:pt x="192" y="332"/>
                        <a:pt x="192" y="332"/>
                      </a:cubicBezTo>
                      <a:cubicBezTo>
                        <a:pt x="192" y="332"/>
                        <a:pt x="192" y="332"/>
                        <a:pt x="191" y="332"/>
                      </a:cubicBezTo>
                      <a:cubicBezTo>
                        <a:pt x="187" y="331"/>
                        <a:pt x="181" y="331"/>
                        <a:pt x="176" y="331"/>
                      </a:cubicBezTo>
                      <a:cubicBezTo>
                        <a:pt x="176" y="331"/>
                        <a:pt x="176" y="331"/>
                        <a:pt x="175" y="331"/>
                      </a:cubicBezTo>
                      <a:cubicBezTo>
                        <a:pt x="175" y="277"/>
                        <a:pt x="175" y="277"/>
                        <a:pt x="175" y="277"/>
                      </a:cubicBezTo>
                      <a:cubicBezTo>
                        <a:pt x="181" y="276"/>
                        <a:pt x="187" y="276"/>
                        <a:pt x="192" y="275"/>
                      </a:cubicBezTo>
                      <a:lnTo>
                        <a:pt x="192" y="332"/>
                      </a:lnTo>
                      <a:close/>
                      <a:moveTo>
                        <a:pt x="286" y="82"/>
                      </a:moveTo>
                      <a:cubicBezTo>
                        <a:pt x="278" y="82"/>
                        <a:pt x="271" y="75"/>
                        <a:pt x="271" y="67"/>
                      </a:cubicBezTo>
                      <a:cubicBezTo>
                        <a:pt x="271" y="59"/>
                        <a:pt x="278" y="52"/>
                        <a:pt x="286" y="52"/>
                      </a:cubicBezTo>
                      <a:cubicBezTo>
                        <a:pt x="294" y="52"/>
                        <a:pt x="301" y="59"/>
                        <a:pt x="301" y="67"/>
                      </a:cubicBezTo>
                      <a:cubicBezTo>
                        <a:pt x="301" y="75"/>
                        <a:pt x="294" y="82"/>
                        <a:pt x="286" y="8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lIns="83940" tIns="41970" rIns="83940" bIns="41970" anchor="ctr"/>
                <a:lstStyle/>
                <a:p>
                  <a:pPr defTabSz="75501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pc="-124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Light" pitchFamily="34" charset="0"/>
                  </a:endParaRPr>
                </a:p>
              </p:txBody>
            </p:sp>
          </p:grpSp>
          <p:sp>
            <p:nvSpPr>
              <p:cNvPr id="7" name="Rectangle 4"/>
              <p:cNvSpPr/>
              <p:nvPr/>
            </p:nvSpPr>
            <p:spPr bwMode="auto">
              <a:xfrm>
                <a:off x="4035352" y="2639154"/>
                <a:ext cx="1883855" cy="1699037"/>
              </a:xfrm>
              <a:prstGeom prst="rect">
                <a:avLst/>
              </a:prstGeom>
              <a:solidFill>
                <a:srgbClr val="33C7F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46630" rIns="93260" bIns="93260" anchor="b"/>
              <a:lstStyle/>
              <a:p>
                <a:pPr eaLnBrk="1" hangingPunct="1"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0492" name="Group 29"/>
              <p:cNvGrpSpPr/>
              <p:nvPr/>
            </p:nvGrpSpPr>
            <p:grpSpPr bwMode="auto">
              <a:xfrm>
                <a:off x="4033055" y="843557"/>
                <a:ext cx="1883357" cy="1699637"/>
                <a:chOff x="5256212" y="1741221"/>
                <a:chExt cx="1846596" cy="1666462"/>
              </a:xfrm>
            </p:grpSpPr>
            <p:sp>
              <p:nvSpPr>
                <p:cNvPr id="12" name="Rectangle 16"/>
                <p:cNvSpPr/>
                <p:nvPr/>
              </p:nvSpPr>
              <p:spPr bwMode="auto">
                <a:xfrm>
                  <a:off x="5256212" y="1741221"/>
                  <a:ext cx="1846596" cy="1666462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algn="ctr" defTabSz="698500" eaLnBrk="1" hangingPunct="1">
                    <a:defRPr/>
                  </a:pPr>
                  <a:endParaRPr lang="en-US" sz="1100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3" name="Freeform 83"/>
                <p:cNvSpPr>
                  <a:spLocks noEditPoints="1"/>
                </p:cNvSpPr>
                <p:nvPr/>
              </p:nvSpPr>
              <p:spPr bwMode="black">
                <a:xfrm>
                  <a:off x="5834545" y="1904383"/>
                  <a:ext cx="654637" cy="690925"/>
                </a:xfrm>
                <a:custGeom>
                  <a:avLst/>
                  <a:gdLst>
                    <a:gd name="T0" fmla="*/ 502 w 2107"/>
                    <a:gd name="T1" fmla="*/ 1162 h 2221"/>
                    <a:gd name="T2" fmla="*/ 239 w 2107"/>
                    <a:gd name="T3" fmla="*/ 2072 h 2221"/>
                    <a:gd name="T4" fmla="*/ 1587 w 2107"/>
                    <a:gd name="T5" fmla="*/ 1800 h 2221"/>
                    <a:gd name="T6" fmla="*/ 1487 w 2107"/>
                    <a:gd name="T7" fmla="*/ 1835 h 2221"/>
                    <a:gd name="T8" fmla="*/ 1579 w 2107"/>
                    <a:gd name="T9" fmla="*/ 1870 h 2221"/>
                    <a:gd name="T10" fmla="*/ 1470 w 2107"/>
                    <a:gd name="T11" fmla="*/ 1847 h 2221"/>
                    <a:gd name="T12" fmla="*/ 983 w 2107"/>
                    <a:gd name="T13" fmla="*/ 1837 h 2221"/>
                    <a:gd name="T14" fmla="*/ 1062 w 2107"/>
                    <a:gd name="T15" fmla="*/ 1872 h 2221"/>
                    <a:gd name="T16" fmla="*/ 956 w 2107"/>
                    <a:gd name="T17" fmla="*/ 1951 h 2221"/>
                    <a:gd name="T18" fmla="*/ 1046 w 2107"/>
                    <a:gd name="T19" fmla="*/ 1970 h 2221"/>
                    <a:gd name="T20" fmla="*/ 820 w 2107"/>
                    <a:gd name="T21" fmla="*/ 1872 h 2221"/>
                    <a:gd name="T22" fmla="*/ 899 w 2107"/>
                    <a:gd name="T23" fmla="*/ 1836 h 2221"/>
                    <a:gd name="T24" fmla="*/ 841 w 2107"/>
                    <a:gd name="T25" fmla="*/ 1886 h 2221"/>
                    <a:gd name="T26" fmla="*/ 905 w 2107"/>
                    <a:gd name="T27" fmla="*/ 1920 h 2221"/>
                    <a:gd name="T28" fmla="*/ 882 w 2107"/>
                    <a:gd name="T29" fmla="*/ 1971 h 2221"/>
                    <a:gd name="T30" fmla="*/ 687 w 2107"/>
                    <a:gd name="T31" fmla="*/ 1847 h 2221"/>
                    <a:gd name="T32" fmla="*/ 780 w 2107"/>
                    <a:gd name="T33" fmla="*/ 1844 h 2221"/>
                    <a:gd name="T34" fmla="*/ 760 w 2107"/>
                    <a:gd name="T35" fmla="*/ 1882 h 2221"/>
                    <a:gd name="T36" fmla="*/ 703 w 2107"/>
                    <a:gd name="T37" fmla="*/ 1912 h 2221"/>
                    <a:gd name="T38" fmla="*/ 682 w 2107"/>
                    <a:gd name="T39" fmla="*/ 1972 h 2221"/>
                    <a:gd name="T40" fmla="*/ 647 w 2107"/>
                    <a:gd name="T41" fmla="*/ 1928 h 2221"/>
                    <a:gd name="T42" fmla="*/ 631 w 2107"/>
                    <a:gd name="T43" fmla="*/ 1862 h 2221"/>
                    <a:gd name="T44" fmla="*/ 545 w 2107"/>
                    <a:gd name="T45" fmla="*/ 2017 h 2221"/>
                    <a:gd name="T46" fmla="*/ 416 w 2107"/>
                    <a:gd name="T47" fmla="*/ 2078 h 2221"/>
                    <a:gd name="T48" fmla="*/ 435 w 2107"/>
                    <a:gd name="T49" fmla="*/ 2014 h 2221"/>
                    <a:gd name="T50" fmla="*/ 538 w 2107"/>
                    <a:gd name="T51" fmla="*/ 2006 h 2221"/>
                    <a:gd name="T52" fmla="*/ 520 w 2107"/>
                    <a:gd name="T53" fmla="*/ 1973 h 2221"/>
                    <a:gd name="T54" fmla="*/ 490 w 2107"/>
                    <a:gd name="T55" fmla="*/ 1930 h 2221"/>
                    <a:gd name="T56" fmla="*/ 587 w 2107"/>
                    <a:gd name="T57" fmla="*/ 1913 h 2221"/>
                    <a:gd name="T58" fmla="*/ 1055 w 2107"/>
                    <a:gd name="T59" fmla="*/ 2071 h 2221"/>
                    <a:gd name="T60" fmla="*/ 605 w 2107"/>
                    <a:gd name="T61" fmla="*/ 2078 h 2221"/>
                    <a:gd name="T62" fmla="*/ 613 w 2107"/>
                    <a:gd name="T63" fmla="*/ 2010 h 2221"/>
                    <a:gd name="T64" fmla="*/ 1046 w 2107"/>
                    <a:gd name="T65" fmla="*/ 2003 h 2221"/>
                    <a:gd name="T66" fmla="*/ 1113 w 2107"/>
                    <a:gd name="T67" fmla="*/ 1877 h 2221"/>
                    <a:gd name="T68" fmla="*/ 1176 w 2107"/>
                    <a:gd name="T69" fmla="*/ 1835 h 2221"/>
                    <a:gd name="T70" fmla="*/ 1137 w 2107"/>
                    <a:gd name="T71" fmla="*/ 1885 h 2221"/>
                    <a:gd name="T72" fmla="*/ 1115 w 2107"/>
                    <a:gd name="T73" fmla="*/ 1926 h 2221"/>
                    <a:gd name="T74" fmla="*/ 1215 w 2107"/>
                    <a:gd name="T75" fmla="*/ 1968 h 2221"/>
                    <a:gd name="T76" fmla="*/ 1135 w 2107"/>
                    <a:gd name="T77" fmla="*/ 1970 h 2221"/>
                    <a:gd name="T78" fmla="*/ 1146 w 2107"/>
                    <a:gd name="T79" fmla="*/ 2075 h 2221"/>
                    <a:gd name="T80" fmla="*/ 1122 w 2107"/>
                    <a:gd name="T81" fmla="*/ 2019 h 2221"/>
                    <a:gd name="T82" fmla="*/ 1139 w 2107"/>
                    <a:gd name="T83" fmla="*/ 2003 h 2221"/>
                    <a:gd name="T84" fmla="*/ 1217 w 2107"/>
                    <a:gd name="T85" fmla="*/ 2003 h 2221"/>
                    <a:gd name="T86" fmla="*/ 1337 w 2107"/>
                    <a:gd name="T87" fmla="*/ 1868 h 2221"/>
                    <a:gd name="T88" fmla="*/ 1411 w 2107"/>
                    <a:gd name="T89" fmla="*/ 1838 h 2221"/>
                    <a:gd name="T90" fmla="*/ 1425 w 2107"/>
                    <a:gd name="T91" fmla="*/ 1883 h 2221"/>
                    <a:gd name="T92" fmla="*/ 1359 w 2107"/>
                    <a:gd name="T93" fmla="*/ 1927 h 2221"/>
                    <a:gd name="T94" fmla="*/ 1476 w 2107"/>
                    <a:gd name="T95" fmla="*/ 1956 h 2221"/>
                    <a:gd name="T96" fmla="*/ 1461 w 2107"/>
                    <a:gd name="T97" fmla="*/ 1970 h 2221"/>
                    <a:gd name="T98" fmla="*/ 1511 w 2107"/>
                    <a:gd name="T99" fmla="*/ 2075 h 2221"/>
                    <a:gd name="T100" fmla="*/ 1393 w 2107"/>
                    <a:gd name="T101" fmla="*/ 2019 h 2221"/>
                    <a:gd name="T102" fmla="*/ 1475 w 2107"/>
                    <a:gd name="T103" fmla="*/ 2001 h 2221"/>
                    <a:gd name="T104" fmla="*/ 1681 w 2107"/>
                    <a:gd name="T105" fmla="*/ 2018 h 2221"/>
                    <a:gd name="T106" fmla="*/ 1623 w 2107"/>
                    <a:gd name="T107" fmla="*/ 2075 h 2221"/>
                    <a:gd name="T108" fmla="*/ 1639 w 2107"/>
                    <a:gd name="T109" fmla="*/ 2000 h 2221"/>
                    <a:gd name="T110" fmla="*/ 1630 w 2107"/>
                    <a:gd name="T111" fmla="*/ 1969 h 2221"/>
                    <a:gd name="T112" fmla="*/ 1532 w 2107"/>
                    <a:gd name="T113" fmla="*/ 1910 h 2221"/>
                    <a:gd name="T114" fmla="*/ 933 w 2107"/>
                    <a:gd name="T115" fmla="*/ 1308 h 2221"/>
                    <a:gd name="T116" fmla="*/ 9 w 2107"/>
                    <a:gd name="T117" fmla="*/ 909 h 2221"/>
                    <a:gd name="T118" fmla="*/ 413 w 2107"/>
                    <a:gd name="T119" fmla="*/ 386 h 2221"/>
                    <a:gd name="T120" fmla="*/ 1700 w 2107"/>
                    <a:gd name="T121" fmla="*/ 556 h 2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107" h="2221">
                      <a:moveTo>
                        <a:pt x="2107" y="809"/>
                      </a:moveTo>
                      <a:cubicBezTo>
                        <a:pt x="2106" y="786"/>
                        <a:pt x="2103" y="764"/>
                        <a:pt x="2098" y="742"/>
                      </a:cubicBezTo>
                      <a:cubicBezTo>
                        <a:pt x="2098" y="745"/>
                        <a:pt x="2098" y="747"/>
                        <a:pt x="2098" y="749"/>
                      </a:cubicBezTo>
                      <a:cubicBezTo>
                        <a:pt x="2096" y="810"/>
                        <a:pt x="2076" y="869"/>
                        <a:pt x="2040" y="926"/>
                      </a:cubicBezTo>
                      <a:cubicBezTo>
                        <a:pt x="2018" y="961"/>
                        <a:pt x="1988" y="995"/>
                        <a:pt x="1953" y="1027"/>
                      </a:cubicBezTo>
                      <a:cubicBezTo>
                        <a:pt x="1918" y="1064"/>
                        <a:pt x="1873" y="1098"/>
                        <a:pt x="1819" y="1131"/>
                      </a:cubicBezTo>
                      <a:cubicBezTo>
                        <a:pt x="1777" y="1156"/>
                        <a:pt x="1731" y="1178"/>
                        <a:pt x="1682" y="1198"/>
                      </a:cubicBezTo>
                      <a:cubicBezTo>
                        <a:pt x="1682" y="1061"/>
                        <a:pt x="1682" y="1061"/>
                        <a:pt x="1682" y="1061"/>
                      </a:cubicBezTo>
                      <a:cubicBezTo>
                        <a:pt x="1682" y="1059"/>
                        <a:pt x="1682" y="1058"/>
                        <a:pt x="1682" y="1056"/>
                      </a:cubicBezTo>
                      <a:cubicBezTo>
                        <a:pt x="1680" y="988"/>
                        <a:pt x="1624" y="933"/>
                        <a:pt x="1554" y="933"/>
                      </a:cubicBezTo>
                      <a:cubicBezTo>
                        <a:pt x="555" y="933"/>
                        <a:pt x="555" y="933"/>
                        <a:pt x="555" y="933"/>
                      </a:cubicBezTo>
                      <a:cubicBezTo>
                        <a:pt x="484" y="933"/>
                        <a:pt x="426" y="990"/>
                        <a:pt x="426" y="1061"/>
                      </a:cubicBezTo>
                      <a:cubicBezTo>
                        <a:pt x="426" y="1141"/>
                        <a:pt x="426" y="1141"/>
                        <a:pt x="426" y="1141"/>
                      </a:cubicBezTo>
                      <a:cubicBezTo>
                        <a:pt x="430" y="1142"/>
                        <a:pt x="430" y="1142"/>
                        <a:pt x="430" y="1142"/>
                      </a:cubicBezTo>
                      <a:cubicBezTo>
                        <a:pt x="430" y="1143"/>
                        <a:pt x="459" y="1152"/>
                        <a:pt x="502" y="1162"/>
                      </a:cubicBezTo>
                      <a:cubicBezTo>
                        <a:pt x="502" y="1069"/>
                        <a:pt x="502" y="1069"/>
                        <a:pt x="502" y="1069"/>
                      </a:cubicBezTo>
                      <a:cubicBezTo>
                        <a:pt x="502" y="1032"/>
                        <a:pt x="531" y="1003"/>
                        <a:pt x="568" y="1003"/>
                      </a:cubicBezTo>
                      <a:cubicBezTo>
                        <a:pt x="1541" y="1003"/>
                        <a:pt x="1541" y="1003"/>
                        <a:pt x="1541" y="1003"/>
                      </a:cubicBezTo>
                      <a:cubicBezTo>
                        <a:pt x="1577" y="1003"/>
                        <a:pt x="1607" y="1032"/>
                        <a:pt x="1607" y="1069"/>
                      </a:cubicBezTo>
                      <a:cubicBezTo>
                        <a:pt x="1607" y="1668"/>
                        <a:pt x="1607" y="1668"/>
                        <a:pt x="1607" y="1668"/>
                      </a:cubicBezTo>
                      <a:cubicBezTo>
                        <a:pt x="1607" y="1704"/>
                        <a:pt x="1577" y="1734"/>
                        <a:pt x="1541" y="1734"/>
                      </a:cubicBezTo>
                      <a:cubicBezTo>
                        <a:pt x="568" y="1734"/>
                        <a:pt x="568" y="1734"/>
                        <a:pt x="568" y="1734"/>
                      </a:cubicBezTo>
                      <a:cubicBezTo>
                        <a:pt x="531" y="1734"/>
                        <a:pt x="502" y="1704"/>
                        <a:pt x="502" y="1668"/>
                      </a:cubicBezTo>
                      <a:cubicBezTo>
                        <a:pt x="502" y="1541"/>
                        <a:pt x="502" y="1541"/>
                        <a:pt x="502" y="1541"/>
                      </a:cubicBezTo>
                      <a:cubicBezTo>
                        <a:pt x="476" y="1535"/>
                        <a:pt x="451" y="1528"/>
                        <a:pt x="426" y="1520"/>
                      </a:cubicBezTo>
                      <a:cubicBezTo>
                        <a:pt x="426" y="1676"/>
                        <a:pt x="426" y="1676"/>
                        <a:pt x="426" y="1676"/>
                      </a:cubicBezTo>
                      <a:cubicBezTo>
                        <a:pt x="426" y="1736"/>
                        <a:pt x="467" y="1786"/>
                        <a:pt x="523" y="1800"/>
                      </a:cubicBezTo>
                      <a:cubicBezTo>
                        <a:pt x="491" y="1802"/>
                        <a:pt x="456" y="1813"/>
                        <a:pt x="435" y="1837"/>
                      </a:cubicBezTo>
                      <a:cubicBezTo>
                        <a:pt x="419" y="1857"/>
                        <a:pt x="403" y="1876"/>
                        <a:pt x="387" y="1895"/>
                      </a:cubicBezTo>
                      <a:cubicBezTo>
                        <a:pt x="337" y="1954"/>
                        <a:pt x="288" y="2013"/>
                        <a:pt x="239" y="2072"/>
                      </a:cubicBezTo>
                      <a:cubicBezTo>
                        <a:pt x="227" y="2086"/>
                        <a:pt x="203" y="2107"/>
                        <a:pt x="203" y="2127"/>
                      </a:cubicBezTo>
                      <a:cubicBezTo>
                        <a:pt x="203" y="2183"/>
                        <a:pt x="203" y="2183"/>
                        <a:pt x="203" y="2183"/>
                      </a:cubicBezTo>
                      <a:cubicBezTo>
                        <a:pt x="204" y="2190"/>
                        <a:pt x="206" y="2197"/>
                        <a:pt x="209" y="2202"/>
                      </a:cubicBezTo>
                      <a:cubicBezTo>
                        <a:pt x="222" y="2220"/>
                        <a:pt x="247" y="2221"/>
                        <a:pt x="267" y="2221"/>
                      </a:cubicBezTo>
                      <a:cubicBezTo>
                        <a:pt x="295" y="2221"/>
                        <a:pt x="1759" y="2221"/>
                        <a:pt x="1804" y="2221"/>
                      </a:cubicBezTo>
                      <a:cubicBezTo>
                        <a:pt x="1826" y="2221"/>
                        <a:pt x="1850" y="2219"/>
                        <a:pt x="1871" y="2214"/>
                      </a:cubicBezTo>
                      <a:cubicBezTo>
                        <a:pt x="1886" y="2211"/>
                        <a:pt x="1903" y="2203"/>
                        <a:pt x="1905" y="2186"/>
                      </a:cubicBezTo>
                      <a:cubicBezTo>
                        <a:pt x="1905" y="2126"/>
                        <a:pt x="1905" y="2126"/>
                        <a:pt x="1905" y="2126"/>
                      </a:cubicBezTo>
                      <a:cubicBezTo>
                        <a:pt x="1907" y="2113"/>
                        <a:pt x="1899" y="2100"/>
                        <a:pt x="1891" y="2091"/>
                      </a:cubicBezTo>
                      <a:cubicBezTo>
                        <a:pt x="1887" y="2086"/>
                        <a:pt x="1883" y="2081"/>
                        <a:pt x="1879" y="2077"/>
                      </a:cubicBezTo>
                      <a:cubicBezTo>
                        <a:pt x="1858" y="2052"/>
                        <a:pt x="1837" y="2027"/>
                        <a:pt x="1816" y="2003"/>
                      </a:cubicBezTo>
                      <a:cubicBezTo>
                        <a:pt x="1770" y="1948"/>
                        <a:pt x="1724" y="1894"/>
                        <a:pt x="1678" y="1840"/>
                      </a:cubicBezTo>
                      <a:cubicBezTo>
                        <a:pt x="1676" y="1837"/>
                        <a:pt x="1674" y="1834"/>
                        <a:pt x="1671" y="1832"/>
                      </a:cubicBezTo>
                      <a:cubicBezTo>
                        <a:pt x="1662" y="1820"/>
                        <a:pt x="1647" y="1813"/>
                        <a:pt x="1633" y="1809"/>
                      </a:cubicBezTo>
                      <a:cubicBezTo>
                        <a:pt x="1618" y="1804"/>
                        <a:pt x="1603" y="1801"/>
                        <a:pt x="1587" y="1800"/>
                      </a:cubicBezTo>
                      <a:cubicBezTo>
                        <a:pt x="1642" y="1785"/>
                        <a:pt x="1682" y="1735"/>
                        <a:pt x="1682" y="1676"/>
                      </a:cubicBezTo>
                      <a:cubicBezTo>
                        <a:pt x="1682" y="1462"/>
                        <a:pt x="1682" y="1462"/>
                        <a:pt x="1682" y="1462"/>
                      </a:cubicBezTo>
                      <a:cubicBezTo>
                        <a:pt x="1698" y="1455"/>
                        <a:pt x="1714" y="1448"/>
                        <a:pt x="1730" y="1441"/>
                      </a:cubicBezTo>
                      <a:cubicBezTo>
                        <a:pt x="1801" y="1408"/>
                        <a:pt x="1863" y="1368"/>
                        <a:pt x="1916" y="1325"/>
                      </a:cubicBezTo>
                      <a:cubicBezTo>
                        <a:pt x="1946" y="1300"/>
                        <a:pt x="1972" y="1273"/>
                        <a:pt x="1995" y="1246"/>
                      </a:cubicBezTo>
                      <a:cubicBezTo>
                        <a:pt x="2018" y="1218"/>
                        <a:pt x="2037" y="1187"/>
                        <a:pt x="2054" y="1154"/>
                      </a:cubicBezTo>
                      <a:cubicBezTo>
                        <a:pt x="2068" y="1124"/>
                        <a:pt x="2079" y="1090"/>
                        <a:pt x="2084" y="1054"/>
                      </a:cubicBezTo>
                      <a:cubicBezTo>
                        <a:pt x="2086" y="1040"/>
                        <a:pt x="2087" y="1026"/>
                        <a:pt x="2089" y="1013"/>
                      </a:cubicBezTo>
                      <a:cubicBezTo>
                        <a:pt x="2089" y="1008"/>
                        <a:pt x="2090" y="1003"/>
                        <a:pt x="2090" y="998"/>
                      </a:cubicBezTo>
                      <a:cubicBezTo>
                        <a:pt x="2102" y="877"/>
                        <a:pt x="2102" y="877"/>
                        <a:pt x="2102" y="877"/>
                      </a:cubicBezTo>
                      <a:cubicBezTo>
                        <a:pt x="2103" y="874"/>
                        <a:pt x="2103" y="870"/>
                        <a:pt x="2103" y="867"/>
                      </a:cubicBezTo>
                      <a:cubicBezTo>
                        <a:pt x="2105" y="848"/>
                        <a:pt x="2107" y="829"/>
                        <a:pt x="2107" y="809"/>
                      </a:cubicBezTo>
                      <a:close/>
                      <a:moveTo>
                        <a:pt x="1474" y="1837"/>
                      </a:moveTo>
                      <a:cubicBezTo>
                        <a:pt x="1475" y="1836"/>
                        <a:pt x="1476" y="1836"/>
                        <a:pt x="1478" y="1836"/>
                      </a:cubicBezTo>
                      <a:cubicBezTo>
                        <a:pt x="1481" y="1835"/>
                        <a:pt x="1483" y="1835"/>
                        <a:pt x="1487" y="1835"/>
                      </a:cubicBezTo>
                      <a:cubicBezTo>
                        <a:pt x="1492" y="1835"/>
                        <a:pt x="1492" y="1835"/>
                        <a:pt x="1492" y="1835"/>
                      </a:cubicBezTo>
                      <a:cubicBezTo>
                        <a:pt x="1492" y="1835"/>
                        <a:pt x="1492" y="1835"/>
                        <a:pt x="1492" y="1835"/>
                      </a:cubicBezTo>
                      <a:cubicBezTo>
                        <a:pt x="1502" y="1835"/>
                        <a:pt x="1511" y="1835"/>
                        <a:pt x="1521" y="1835"/>
                      </a:cubicBezTo>
                      <a:cubicBezTo>
                        <a:pt x="1521" y="1835"/>
                        <a:pt x="1521" y="1835"/>
                        <a:pt x="1521" y="1835"/>
                      </a:cubicBezTo>
                      <a:cubicBezTo>
                        <a:pt x="1531" y="1835"/>
                        <a:pt x="1531" y="1835"/>
                        <a:pt x="1531" y="1835"/>
                      </a:cubicBezTo>
                      <a:cubicBezTo>
                        <a:pt x="1534" y="1834"/>
                        <a:pt x="1538" y="1835"/>
                        <a:pt x="1541" y="1835"/>
                      </a:cubicBezTo>
                      <a:cubicBezTo>
                        <a:pt x="1543" y="1836"/>
                        <a:pt x="1546" y="1836"/>
                        <a:pt x="1548" y="1837"/>
                      </a:cubicBezTo>
                      <a:cubicBezTo>
                        <a:pt x="1548" y="1837"/>
                        <a:pt x="1548" y="1837"/>
                        <a:pt x="1548" y="1837"/>
                      </a:cubicBezTo>
                      <a:cubicBezTo>
                        <a:pt x="1549" y="1837"/>
                        <a:pt x="1549" y="1838"/>
                        <a:pt x="1549" y="1838"/>
                      </a:cubicBezTo>
                      <a:cubicBezTo>
                        <a:pt x="1550" y="1838"/>
                        <a:pt x="1550" y="1838"/>
                        <a:pt x="1550" y="1838"/>
                      </a:cubicBezTo>
                      <a:cubicBezTo>
                        <a:pt x="1553" y="1839"/>
                        <a:pt x="1556" y="1840"/>
                        <a:pt x="1558" y="1842"/>
                      </a:cubicBezTo>
                      <a:cubicBezTo>
                        <a:pt x="1560" y="1843"/>
                        <a:pt x="1562" y="1845"/>
                        <a:pt x="1563" y="1847"/>
                      </a:cubicBezTo>
                      <a:cubicBezTo>
                        <a:pt x="1571" y="1858"/>
                        <a:pt x="1571" y="1858"/>
                        <a:pt x="1571" y="1858"/>
                      </a:cubicBezTo>
                      <a:cubicBezTo>
                        <a:pt x="1573" y="1861"/>
                        <a:pt x="1577" y="1865"/>
                        <a:pt x="1579" y="1870"/>
                      </a:cubicBezTo>
                      <a:cubicBezTo>
                        <a:pt x="1579" y="1870"/>
                        <a:pt x="1579" y="1870"/>
                        <a:pt x="1579" y="1870"/>
                      </a:cubicBezTo>
                      <a:cubicBezTo>
                        <a:pt x="1581" y="1872"/>
                        <a:pt x="1581" y="1874"/>
                        <a:pt x="1581" y="1876"/>
                      </a:cubicBezTo>
                      <a:cubicBezTo>
                        <a:pt x="1581" y="1877"/>
                        <a:pt x="1580" y="1878"/>
                        <a:pt x="1579" y="1879"/>
                      </a:cubicBezTo>
                      <a:cubicBezTo>
                        <a:pt x="1579" y="1879"/>
                        <a:pt x="1579" y="1880"/>
                        <a:pt x="1579" y="1880"/>
                      </a:cubicBezTo>
                      <a:cubicBezTo>
                        <a:pt x="1579" y="1880"/>
                        <a:pt x="1579" y="1880"/>
                        <a:pt x="1579" y="1880"/>
                      </a:cubicBezTo>
                      <a:cubicBezTo>
                        <a:pt x="1578" y="1880"/>
                        <a:pt x="1578" y="1880"/>
                        <a:pt x="1578" y="1880"/>
                      </a:cubicBezTo>
                      <a:cubicBezTo>
                        <a:pt x="1578" y="1880"/>
                        <a:pt x="1578" y="1881"/>
                        <a:pt x="1577" y="1881"/>
                      </a:cubicBezTo>
                      <a:cubicBezTo>
                        <a:pt x="1577" y="1881"/>
                        <a:pt x="1577" y="1881"/>
                        <a:pt x="1576" y="1881"/>
                      </a:cubicBezTo>
                      <a:cubicBezTo>
                        <a:pt x="1576" y="1881"/>
                        <a:pt x="1576" y="1882"/>
                        <a:pt x="1575" y="1882"/>
                      </a:cubicBezTo>
                      <a:cubicBezTo>
                        <a:pt x="1569" y="1885"/>
                        <a:pt x="1560" y="1884"/>
                        <a:pt x="1553" y="1884"/>
                      </a:cubicBezTo>
                      <a:cubicBezTo>
                        <a:pt x="1516" y="1884"/>
                        <a:pt x="1516" y="1884"/>
                        <a:pt x="1516" y="1884"/>
                      </a:cubicBezTo>
                      <a:cubicBezTo>
                        <a:pt x="1509" y="1884"/>
                        <a:pt x="1501" y="1883"/>
                        <a:pt x="1494" y="1879"/>
                      </a:cubicBezTo>
                      <a:cubicBezTo>
                        <a:pt x="1492" y="1878"/>
                        <a:pt x="1490" y="1877"/>
                        <a:pt x="1488" y="1876"/>
                      </a:cubicBezTo>
                      <a:cubicBezTo>
                        <a:pt x="1486" y="1874"/>
                        <a:pt x="1484" y="1872"/>
                        <a:pt x="1483" y="1871"/>
                      </a:cubicBezTo>
                      <a:cubicBezTo>
                        <a:pt x="1481" y="1868"/>
                        <a:pt x="1481" y="1868"/>
                        <a:pt x="1481" y="1868"/>
                      </a:cubicBezTo>
                      <a:cubicBezTo>
                        <a:pt x="1478" y="1861"/>
                        <a:pt x="1473" y="1854"/>
                        <a:pt x="1470" y="1847"/>
                      </a:cubicBezTo>
                      <a:cubicBezTo>
                        <a:pt x="1467" y="1842"/>
                        <a:pt x="1469" y="1839"/>
                        <a:pt x="1474" y="1837"/>
                      </a:cubicBezTo>
                      <a:close/>
                      <a:moveTo>
                        <a:pt x="965" y="1871"/>
                      </a:moveTo>
                      <a:cubicBezTo>
                        <a:pt x="966" y="1869"/>
                        <a:pt x="966" y="1868"/>
                        <a:pt x="966" y="1866"/>
                      </a:cubicBezTo>
                      <a:cubicBezTo>
                        <a:pt x="966" y="1866"/>
                        <a:pt x="966" y="1866"/>
                        <a:pt x="966" y="1866"/>
                      </a:cubicBezTo>
                      <a:cubicBezTo>
                        <a:pt x="967" y="1861"/>
                        <a:pt x="966" y="1855"/>
                        <a:pt x="968" y="1850"/>
                      </a:cubicBezTo>
                      <a:cubicBezTo>
                        <a:pt x="968" y="1848"/>
                        <a:pt x="968" y="1848"/>
                        <a:pt x="968" y="1848"/>
                      </a:cubicBezTo>
                      <a:cubicBezTo>
                        <a:pt x="968" y="1846"/>
                        <a:pt x="969" y="1845"/>
                        <a:pt x="970" y="1843"/>
                      </a:cubicBezTo>
                      <a:cubicBezTo>
                        <a:pt x="971" y="1842"/>
                        <a:pt x="973" y="1841"/>
                        <a:pt x="974" y="1841"/>
                      </a:cubicBezTo>
                      <a:cubicBezTo>
                        <a:pt x="974" y="1840"/>
                        <a:pt x="974" y="1840"/>
                        <a:pt x="974" y="1840"/>
                      </a:cubicBezTo>
                      <a:cubicBezTo>
                        <a:pt x="975" y="1840"/>
                        <a:pt x="975" y="1840"/>
                        <a:pt x="975" y="1840"/>
                      </a:cubicBezTo>
                      <a:cubicBezTo>
                        <a:pt x="976" y="1840"/>
                        <a:pt x="976" y="1839"/>
                        <a:pt x="976" y="1839"/>
                      </a:cubicBezTo>
                      <a:cubicBezTo>
                        <a:pt x="976" y="1839"/>
                        <a:pt x="977" y="1839"/>
                        <a:pt x="977" y="1839"/>
                      </a:cubicBezTo>
                      <a:cubicBezTo>
                        <a:pt x="978" y="1839"/>
                        <a:pt x="978" y="1838"/>
                        <a:pt x="979" y="1838"/>
                      </a:cubicBezTo>
                      <a:cubicBezTo>
                        <a:pt x="980" y="1838"/>
                        <a:pt x="980" y="1838"/>
                        <a:pt x="980" y="1838"/>
                      </a:cubicBezTo>
                      <a:cubicBezTo>
                        <a:pt x="981" y="1837"/>
                        <a:pt x="982" y="1837"/>
                        <a:pt x="983" y="1837"/>
                      </a:cubicBezTo>
                      <a:cubicBezTo>
                        <a:pt x="983" y="1837"/>
                        <a:pt x="984" y="1837"/>
                        <a:pt x="984" y="1837"/>
                      </a:cubicBezTo>
                      <a:cubicBezTo>
                        <a:pt x="984" y="1837"/>
                        <a:pt x="984" y="1837"/>
                        <a:pt x="985" y="1837"/>
                      </a:cubicBezTo>
                      <a:cubicBezTo>
                        <a:pt x="985" y="1837"/>
                        <a:pt x="985" y="1837"/>
                        <a:pt x="986" y="1836"/>
                      </a:cubicBezTo>
                      <a:cubicBezTo>
                        <a:pt x="988" y="1836"/>
                        <a:pt x="991" y="1836"/>
                        <a:pt x="993" y="1836"/>
                      </a:cubicBezTo>
                      <a:cubicBezTo>
                        <a:pt x="995" y="1836"/>
                        <a:pt x="995" y="1836"/>
                        <a:pt x="995" y="1836"/>
                      </a:cubicBezTo>
                      <a:cubicBezTo>
                        <a:pt x="998" y="1836"/>
                        <a:pt x="1000" y="1836"/>
                        <a:pt x="1003" y="1836"/>
                      </a:cubicBezTo>
                      <a:cubicBezTo>
                        <a:pt x="1038" y="1836"/>
                        <a:pt x="1038" y="1836"/>
                        <a:pt x="1038" y="1836"/>
                      </a:cubicBezTo>
                      <a:cubicBezTo>
                        <a:pt x="1038" y="1836"/>
                        <a:pt x="1039" y="1836"/>
                        <a:pt x="1040" y="1836"/>
                      </a:cubicBezTo>
                      <a:cubicBezTo>
                        <a:pt x="1040" y="1836"/>
                        <a:pt x="1040" y="1836"/>
                        <a:pt x="1041" y="1836"/>
                      </a:cubicBezTo>
                      <a:cubicBezTo>
                        <a:pt x="1042" y="1836"/>
                        <a:pt x="1042" y="1836"/>
                        <a:pt x="1043" y="1836"/>
                      </a:cubicBezTo>
                      <a:cubicBezTo>
                        <a:pt x="1050" y="1837"/>
                        <a:pt x="1058" y="1839"/>
                        <a:pt x="1061" y="1844"/>
                      </a:cubicBezTo>
                      <a:cubicBezTo>
                        <a:pt x="1061" y="1845"/>
                        <a:pt x="1061" y="1845"/>
                        <a:pt x="1061" y="1846"/>
                      </a:cubicBezTo>
                      <a:cubicBezTo>
                        <a:pt x="1061" y="1846"/>
                        <a:pt x="1061" y="1846"/>
                        <a:pt x="1061" y="1846"/>
                      </a:cubicBezTo>
                      <a:cubicBezTo>
                        <a:pt x="1063" y="1853"/>
                        <a:pt x="1062" y="1863"/>
                        <a:pt x="1062" y="1870"/>
                      </a:cubicBezTo>
                      <a:cubicBezTo>
                        <a:pt x="1062" y="1872"/>
                        <a:pt x="1062" y="1872"/>
                        <a:pt x="1062" y="1872"/>
                      </a:cubicBezTo>
                      <a:cubicBezTo>
                        <a:pt x="1062" y="1873"/>
                        <a:pt x="1062" y="1874"/>
                        <a:pt x="1061" y="1876"/>
                      </a:cubicBezTo>
                      <a:cubicBezTo>
                        <a:pt x="1054" y="1889"/>
                        <a:pt x="1022" y="1885"/>
                        <a:pt x="1010" y="1885"/>
                      </a:cubicBezTo>
                      <a:cubicBezTo>
                        <a:pt x="1003" y="1885"/>
                        <a:pt x="996" y="1885"/>
                        <a:pt x="989" y="1885"/>
                      </a:cubicBezTo>
                      <a:cubicBezTo>
                        <a:pt x="983" y="1885"/>
                        <a:pt x="974" y="1884"/>
                        <a:pt x="969" y="1879"/>
                      </a:cubicBezTo>
                      <a:cubicBezTo>
                        <a:pt x="969" y="1879"/>
                        <a:pt x="969" y="1879"/>
                        <a:pt x="968" y="1879"/>
                      </a:cubicBezTo>
                      <a:cubicBezTo>
                        <a:pt x="968" y="1879"/>
                        <a:pt x="968" y="1878"/>
                        <a:pt x="968" y="1878"/>
                      </a:cubicBezTo>
                      <a:cubicBezTo>
                        <a:pt x="967" y="1878"/>
                        <a:pt x="967" y="1878"/>
                        <a:pt x="967" y="1877"/>
                      </a:cubicBezTo>
                      <a:cubicBezTo>
                        <a:pt x="967" y="1877"/>
                        <a:pt x="967" y="1877"/>
                        <a:pt x="967" y="1877"/>
                      </a:cubicBezTo>
                      <a:cubicBezTo>
                        <a:pt x="967" y="1877"/>
                        <a:pt x="967" y="1877"/>
                        <a:pt x="967" y="1877"/>
                      </a:cubicBezTo>
                      <a:cubicBezTo>
                        <a:pt x="966" y="1876"/>
                        <a:pt x="966" y="1876"/>
                        <a:pt x="966" y="1875"/>
                      </a:cubicBezTo>
                      <a:cubicBezTo>
                        <a:pt x="965" y="1874"/>
                        <a:pt x="965" y="1873"/>
                        <a:pt x="965" y="1872"/>
                      </a:cubicBezTo>
                      <a:lnTo>
                        <a:pt x="965" y="1871"/>
                      </a:lnTo>
                      <a:close/>
                      <a:moveTo>
                        <a:pt x="956" y="1955"/>
                      </a:moveTo>
                      <a:cubicBezTo>
                        <a:pt x="956" y="1952"/>
                        <a:pt x="956" y="1952"/>
                        <a:pt x="956" y="1952"/>
                      </a:cubicBezTo>
                      <a:cubicBezTo>
                        <a:pt x="956" y="1952"/>
                        <a:pt x="956" y="1951"/>
                        <a:pt x="956" y="1951"/>
                      </a:cubicBezTo>
                      <a:cubicBezTo>
                        <a:pt x="957" y="1943"/>
                        <a:pt x="958" y="1935"/>
                        <a:pt x="959" y="1926"/>
                      </a:cubicBezTo>
                      <a:cubicBezTo>
                        <a:pt x="959" y="1926"/>
                        <a:pt x="959" y="1926"/>
                        <a:pt x="959" y="1926"/>
                      </a:cubicBezTo>
                      <a:cubicBezTo>
                        <a:pt x="959" y="1926"/>
                        <a:pt x="959" y="1926"/>
                        <a:pt x="959" y="1925"/>
                      </a:cubicBezTo>
                      <a:cubicBezTo>
                        <a:pt x="963" y="1907"/>
                        <a:pt x="999" y="1911"/>
                        <a:pt x="1013" y="1911"/>
                      </a:cubicBezTo>
                      <a:cubicBezTo>
                        <a:pt x="1025" y="1911"/>
                        <a:pt x="1055" y="1908"/>
                        <a:pt x="1061" y="1921"/>
                      </a:cubicBezTo>
                      <a:cubicBezTo>
                        <a:pt x="1062" y="1923"/>
                        <a:pt x="1063" y="1924"/>
                        <a:pt x="1063" y="1926"/>
                      </a:cubicBezTo>
                      <a:cubicBezTo>
                        <a:pt x="1063" y="1940"/>
                        <a:pt x="1063" y="1940"/>
                        <a:pt x="1063" y="1940"/>
                      </a:cubicBezTo>
                      <a:cubicBezTo>
                        <a:pt x="1063" y="1945"/>
                        <a:pt x="1063" y="1949"/>
                        <a:pt x="1063" y="1953"/>
                      </a:cubicBezTo>
                      <a:cubicBezTo>
                        <a:pt x="1063" y="1953"/>
                        <a:pt x="1063" y="1953"/>
                        <a:pt x="1063" y="1953"/>
                      </a:cubicBezTo>
                      <a:cubicBezTo>
                        <a:pt x="1063" y="1955"/>
                        <a:pt x="1063" y="1955"/>
                        <a:pt x="1063" y="1955"/>
                      </a:cubicBezTo>
                      <a:cubicBezTo>
                        <a:pt x="1063" y="1957"/>
                        <a:pt x="1062" y="1959"/>
                        <a:pt x="1061" y="1961"/>
                      </a:cubicBezTo>
                      <a:cubicBezTo>
                        <a:pt x="1061" y="1962"/>
                        <a:pt x="1060" y="1962"/>
                        <a:pt x="1060" y="1962"/>
                      </a:cubicBezTo>
                      <a:cubicBezTo>
                        <a:pt x="1060" y="1963"/>
                        <a:pt x="1059" y="1963"/>
                        <a:pt x="1059" y="1964"/>
                      </a:cubicBezTo>
                      <a:cubicBezTo>
                        <a:pt x="1058" y="1964"/>
                        <a:pt x="1058" y="1964"/>
                        <a:pt x="1058" y="1964"/>
                      </a:cubicBezTo>
                      <a:cubicBezTo>
                        <a:pt x="1055" y="1967"/>
                        <a:pt x="1051" y="1969"/>
                        <a:pt x="1046" y="1970"/>
                      </a:cubicBezTo>
                      <a:cubicBezTo>
                        <a:pt x="1046" y="1970"/>
                        <a:pt x="1046" y="1970"/>
                        <a:pt x="1046" y="1970"/>
                      </a:cubicBezTo>
                      <a:cubicBezTo>
                        <a:pt x="1046" y="1970"/>
                        <a:pt x="1046" y="1970"/>
                        <a:pt x="1046" y="1970"/>
                      </a:cubicBezTo>
                      <a:cubicBezTo>
                        <a:pt x="1044" y="1971"/>
                        <a:pt x="1043" y="1971"/>
                        <a:pt x="1041" y="1971"/>
                      </a:cubicBezTo>
                      <a:cubicBezTo>
                        <a:pt x="1041" y="1971"/>
                        <a:pt x="1040" y="1971"/>
                        <a:pt x="1040" y="1971"/>
                      </a:cubicBezTo>
                      <a:cubicBezTo>
                        <a:pt x="1038" y="1971"/>
                        <a:pt x="1037" y="1972"/>
                        <a:pt x="1035" y="1972"/>
                      </a:cubicBezTo>
                      <a:cubicBezTo>
                        <a:pt x="1035" y="1972"/>
                        <a:pt x="1035" y="1972"/>
                        <a:pt x="1035" y="1972"/>
                      </a:cubicBezTo>
                      <a:cubicBezTo>
                        <a:pt x="982" y="1972"/>
                        <a:pt x="982" y="1972"/>
                        <a:pt x="982" y="1972"/>
                      </a:cubicBezTo>
                      <a:cubicBezTo>
                        <a:pt x="976" y="1972"/>
                        <a:pt x="969" y="1971"/>
                        <a:pt x="963" y="1967"/>
                      </a:cubicBezTo>
                      <a:cubicBezTo>
                        <a:pt x="963" y="1967"/>
                        <a:pt x="963" y="1967"/>
                        <a:pt x="963" y="1967"/>
                      </a:cubicBezTo>
                      <a:cubicBezTo>
                        <a:pt x="963" y="1967"/>
                        <a:pt x="963" y="1967"/>
                        <a:pt x="963" y="1967"/>
                      </a:cubicBezTo>
                      <a:cubicBezTo>
                        <a:pt x="962" y="1966"/>
                        <a:pt x="961" y="1965"/>
                        <a:pt x="960" y="1964"/>
                      </a:cubicBezTo>
                      <a:cubicBezTo>
                        <a:pt x="959" y="1964"/>
                        <a:pt x="958" y="1963"/>
                        <a:pt x="958" y="1962"/>
                      </a:cubicBezTo>
                      <a:cubicBezTo>
                        <a:pt x="958" y="1962"/>
                        <a:pt x="958" y="1962"/>
                        <a:pt x="957" y="1962"/>
                      </a:cubicBezTo>
                      <a:cubicBezTo>
                        <a:pt x="956" y="1960"/>
                        <a:pt x="956" y="1957"/>
                        <a:pt x="956" y="1955"/>
                      </a:cubicBezTo>
                      <a:close/>
                      <a:moveTo>
                        <a:pt x="820" y="1872"/>
                      </a:moveTo>
                      <a:cubicBezTo>
                        <a:pt x="820" y="1872"/>
                        <a:pt x="820" y="1872"/>
                        <a:pt x="820" y="1872"/>
                      </a:cubicBezTo>
                      <a:cubicBezTo>
                        <a:pt x="820" y="1872"/>
                        <a:pt x="820" y="1872"/>
                        <a:pt x="820" y="1872"/>
                      </a:cubicBezTo>
                      <a:cubicBezTo>
                        <a:pt x="820" y="1870"/>
                        <a:pt x="821" y="1868"/>
                        <a:pt x="822" y="1866"/>
                      </a:cubicBezTo>
                      <a:cubicBezTo>
                        <a:pt x="823" y="1861"/>
                        <a:pt x="824" y="1854"/>
                        <a:pt x="827" y="1849"/>
                      </a:cubicBezTo>
                      <a:cubicBezTo>
                        <a:pt x="827" y="1848"/>
                        <a:pt x="827" y="1848"/>
                        <a:pt x="827" y="1848"/>
                      </a:cubicBezTo>
                      <a:cubicBezTo>
                        <a:pt x="827" y="1847"/>
                        <a:pt x="829" y="1845"/>
                        <a:pt x="830" y="1844"/>
                      </a:cubicBezTo>
                      <a:cubicBezTo>
                        <a:pt x="831" y="1843"/>
                        <a:pt x="832" y="1842"/>
                        <a:pt x="833" y="1841"/>
                      </a:cubicBezTo>
                      <a:cubicBezTo>
                        <a:pt x="837" y="1839"/>
                        <a:pt x="840" y="1838"/>
                        <a:pt x="844" y="1837"/>
                      </a:cubicBezTo>
                      <a:cubicBezTo>
                        <a:pt x="845" y="1837"/>
                        <a:pt x="845" y="1837"/>
                        <a:pt x="845" y="1837"/>
                      </a:cubicBezTo>
                      <a:cubicBezTo>
                        <a:pt x="848" y="1836"/>
                        <a:pt x="851" y="1836"/>
                        <a:pt x="855" y="1836"/>
                      </a:cubicBezTo>
                      <a:cubicBezTo>
                        <a:pt x="859" y="1836"/>
                        <a:pt x="859" y="1836"/>
                        <a:pt x="859" y="1836"/>
                      </a:cubicBezTo>
                      <a:cubicBezTo>
                        <a:pt x="861" y="1836"/>
                        <a:pt x="862" y="1836"/>
                        <a:pt x="864" y="1836"/>
                      </a:cubicBezTo>
                      <a:cubicBezTo>
                        <a:pt x="873" y="1836"/>
                        <a:pt x="883" y="1836"/>
                        <a:pt x="893" y="1836"/>
                      </a:cubicBezTo>
                      <a:cubicBezTo>
                        <a:pt x="894" y="1836"/>
                        <a:pt x="896" y="1836"/>
                        <a:pt x="897" y="1836"/>
                      </a:cubicBezTo>
                      <a:cubicBezTo>
                        <a:pt x="899" y="1836"/>
                        <a:pt x="899" y="1836"/>
                        <a:pt x="899" y="1836"/>
                      </a:cubicBezTo>
                      <a:cubicBezTo>
                        <a:pt x="899" y="1836"/>
                        <a:pt x="899" y="1836"/>
                        <a:pt x="900" y="1836"/>
                      </a:cubicBezTo>
                      <a:cubicBezTo>
                        <a:pt x="901" y="1836"/>
                        <a:pt x="902" y="1836"/>
                        <a:pt x="904" y="1836"/>
                      </a:cubicBezTo>
                      <a:cubicBezTo>
                        <a:pt x="904" y="1836"/>
                        <a:pt x="904" y="1836"/>
                        <a:pt x="904" y="1836"/>
                      </a:cubicBezTo>
                      <a:cubicBezTo>
                        <a:pt x="911" y="1837"/>
                        <a:pt x="919" y="1839"/>
                        <a:pt x="921" y="1846"/>
                      </a:cubicBezTo>
                      <a:cubicBezTo>
                        <a:pt x="921" y="1846"/>
                        <a:pt x="921" y="1846"/>
                        <a:pt x="921" y="1846"/>
                      </a:cubicBezTo>
                      <a:cubicBezTo>
                        <a:pt x="921" y="1846"/>
                        <a:pt x="921" y="1846"/>
                        <a:pt x="921" y="1846"/>
                      </a:cubicBezTo>
                      <a:cubicBezTo>
                        <a:pt x="921" y="1854"/>
                        <a:pt x="918" y="1863"/>
                        <a:pt x="917" y="1870"/>
                      </a:cubicBezTo>
                      <a:cubicBezTo>
                        <a:pt x="917" y="1870"/>
                        <a:pt x="917" y="1870"/>
                        <a:pt x="917" y="1870"/>
                      </a:cubicBezTo>
                      <a:cubicBezTo>
                        <a:pt x="917" y="1872"/>
                        <a:pt x="917" y="1872"/>
                        <a:pt x="917" y="1872"/>
                      </a:cubicBezTo>
                      <a:cubicBezTo>
                        <a:pt x="916" y="1873"/>
                        <a:pt x="916" y="1875"/>
                        <a:pt x="914" y="1876"/>
                      </a:cubicBezTo>
                      <a:cubicBezTo>
                        <a:pt x="914" y="1876"/>
                        <a:pt x="914" y="1877"/>
                        <a:pt x="914" y="1877"/>
                      </a:cubicBezTo>
                      <a:cubicBezTo>
                        <a:pt x="914" y="1877"/>
                        <a:pt x="914" y="1877"/>
                        <a:pt x="914" y="1877"/>
                      </a:cubicBezTo>
                      <a:cubicBezTo>
                        <a:pt x="914" y="1877"/>
                        <a:pt x="914" y="1877"/>
                        <a:pt x="914" y="1877"/>
                      </a:cubicBezTo>
                      <a:cubicBezTo>
                        <a:pt x="904" y="1889"/>
                        <a:pt x="878" y="1886"/>
                        <a:pt x="865" y="1886"/>
                      </a:cubicBezTo>
                      <a:cubicBezTo>
                        <a:pt x="857" y="1886"/>
                        <a:pt x="849" y="1886"/>
                        <a:pt x="841" y="1886"/>
                      </a:cubicBezTo>
                      <a:cubicBezTo>
                        <a:pt x="834" y="1886"/>
                        <a:pt x="824" y="1884"/>
                        <a:pt x="820" y="1877"/>
                      </a:cubicBezTo>
                      <a:cubicBezTo>
                        <a:pt x="820" y="1877"/>
                        <a:pt x="820" y="1876"/>
                        <a:pt x="820" y="1875"/>
                      </a:cubicBezTo>
                      <a:cubicBezTo>
                        <a:pt x="820" y="1875"/>
                        <a:pt x="820" y="1875"/>
                        <a:pt x="820" y="1874"/>
                      </a:cubicBezTo>
                      <a:cubicBezTo>
                        <a:pt x="820" y="1873"/>
                        <a:pt x="820" y="1873"/>
                        <a:pt x="820" y="1872"/>
                      </a:cubicBezTo>
                      <a:close/>
                      <a:moveTo>
                        <a:pt x="795" y="1956"/>
                      </a:moveTo>
                      <a:cubicBezTo>
                        <a:pt x="796" y="1952"/>
                        <a:pt x="796" y="1952"/>
                        <a:pt x="796" y="1952"/>
                      </a:cubicBezTo>
                      <a:cubicBezTo>
                        <a:pt x="796" y="1952"/>
                        <a:pt x="796" y="1952"/>
                        <a:pt x="796" y="1952"/>
                      </a:cubicBezTo>
                      <a:cubicBezTo>
                        <a:pt x="796" y="1951"/>
                        <a:pt x="796" y="1951"/>
                        <a:pt x="796" y="1950"/>
                      </a:cubicBezTo>
                      <a:cubicBezTo>
                        <a:pt x="803" y="1926"/>
                        <a:pt x="803" y="1926"/>
                        <a:pt x="803" y="1926"/>
                      </a:cubicBezTo>
                      <a:cubicBezTo>
                        <a:pt x="804" y="1926"/>
                        <a:pt x="804" y="1926"/>
                        <a:pt x="804" y="1925"/>
                      </a:cubicBezTo>
                      <a:cubicBezTo>
                        <a:pt x="811" y="1908"/>
                        <a:pt x="843" y="1911"/>
                        <a:pt x="859" y="1911"/>
                      </a:cubicBezTo>
                      <a:cubicBezTo>
                        <a:pt x="865" y="1911"/>
                        <a:pt x="877" y="1910"/>
                        <a:pt x="888" y="1912"/>
                      </a:cubicBezTo>
                      <a:cubicBezTo>
                        <a:pt x="890" y="1912"/>
                        <a:pt x="891" y="1912"/>
                        <a:pt x="893" y="1913"/>
                      </a:cubicBezTo>
                      <a:cubicBezTo>
                        <a:pt x="894" y="1913"/>
                        <a:pt x="894" y="1913"/>
                        <a:pt x="894" y="1913"/>
                      </a:cubicBezTo>
                      <a:cubicBezTo>
                        <a:pt x="899" y="1914"/>
                        <a:pt x="903" y="1916"/>
                        <a:pt x="905" y="1920"/>
                      </a:cubicBezTo>
                      <a:cubicBezTo>
                        <a:pt x="906" y="1920"/>
                        <a:pt x="906" y="1920"/>
                        <a:pt x="906" y="1920"/>
                      </a:cubicBezTo>
                      <a:cubicBezTo>
                        <a:pt x="906" y="1921"/>
                        <a:pt x="906" y="1921"/>
                        <a:pt x="906" y="1921"/>
                      </a:cubicBezTo>
                      <a:cubicBezTo>
                        <a:pt x="906" y="1921"/>
                        <a:pt x="906" y="1921"/>
                        <a:pt x="906" y="1921"/>
                      </a:cubicBezTo>
                      <a:cubicBezTo>
                        <a:pt x="907" y="1923"/>
                        <a:pt x="907" y="1924"/>
                        <a:pt x="907" y="1926"/>
                      </a:cubicBezTo>
                      <a:cubicBezTo>
                        <a:pt x="907" y="1928"/>
                        <a:pt x="907" y="1928"/>
                        <a:pt x="907" y="1928"/>
                      </a:cubicBezTo>
                      <a:cubicBezTo>
                        <a:pt x="907" y="1928"/>
                        <a:pt x="907" y="1928"/>
                        <a:pt x="907" y="1928"/>
                      </a:cubicBezTo>
                      <a:cubicBezTo>
                        <a:pt x="906" y="1932"/>
                        <a:pt x="905" y="1936"/>
                        <a:pt x="904" y="1941"/>
                      </a:cubicBezTo>
                      <a:cubicBezTo>
                        <a:pt x="902" y="1955"/>
                        <a:pt x="902" y="1955"/>
                        <a:pt x="902" y="1955"/>
                      </a:cubicBezTo>
                      <a:cubicBezTo>
                        <a:pt x="901" y="1958"/>
                        <a:pt x="900" y="1960"/>
                        <a:pt x="899" y="1962"/>
                      </a:cubicBezTo>
                      <a:cubicBezTo>
                        <a:pt x="898" y="1962"/>
                        <a:pt x="898" y="1962"/>
                        <a:pt x="898" y="1962"/>
                      </a:cubicBezTo>
                      <a:cubicBezTo>
                        <a:pt x="898" y="1963"/>
                        <a:pt x="897" y="1963"/>
                        <a:pt x="897" y="1963"/>
                      </a:cubicBezTo>
                      <a:cubicBezTo>
                        <a:pt x="897" y="1964"/>
                        <a:pt x="896" y="1964"/>
                        <a:pt x="895" y="1965"/>
                      </a:cubicBezTo>
                      <a:cubicBezTo>
                        <a:pt x="891" y="1968"/>
                        <a:pt x="887" y="1969"/>
                        <a:pt x="882" y="1971"/>
                      </a:cubicBezTo>
                      <a:cubicBezTo>
                        <a:pt x="882" y="1971"/>
                        <a:pt x="882" y="1971"/>
                        <a:pt x="882" y="1971"/>
                      </a:cubicBezTo>
                      <a:cubicBezTo>
                        <a:pt x="882" y="1971"/>
                        <a:pt x="882" y="1971"/>
                        <a:pt x="882" y="1971"/>
                      </a:cubicBezTo>
                      <a:cubicBezTo>
                        <a:pt x="880" y="1971"/>
                        <a:pt x="879" y="1971"/>
                        <a:pt x="877" y="1971"/>
                      </a:cubicBezTo>
                      <a:cubicBezTo>
                        <a:pt x="877" y="1972"/>
                        <a:pt x="876" y="1972"/>
                        <a:pt x="876" y="1972"/>
                      </a:cubicBezTo>
                      <a:cubicBezTo>
                        <a:pt x="874" y="1972"/>
                        <a:pt x="872" y="1972"/>
                        <a:pt x="871" y="1972"/>
                      </a:cubicBezTo>
                      <a:cubicBezTo>
                        <a:pt x="871" y="1972"/>
                        <a:pt x="871" y="1972"/>
                        <a:pt x="871" y="1972"/>
                      </a:cubicBezTo>
                      <a:cubicBezTo>
                        <a:pt x="818" y="1972"/>
                        <a:pt x="818" y="1972"/>
                        <a:pt x="818" y="1972"/>
                      </a:cubicBezTo>
                      <a:cubicBezTo>
                        <a:pt x="812" y="1972"/>
                        <a:pt x="805" y="1971"/>
                        <a:pt x="799" y="1967"/>
                      </a:cubicBezTo>
                      <a:cubicBezTo>
                        <a:pt x="799" y="1967"/>
                        <a:pt x="799" y="1967"/>
                        <a:pt x="799" y="1967"/>
                      </a:cubicBezTo>
                      <a:cubicBezTo>
                        <a:pt x="799" y="1967"/>
                        <a:pt x="799" y="1967"/>
                        <a:pt x="799" y="1967"/>
                      </a:cubicBezTo>
                      <a:cubicBezTo>
                        <a:pt x="798" y="1967"/>
                        <a:pt x="797" y="1966"/>
                        <a:pt x="797" y="1965"/>
                      </a:cubicBezTo>
                      <a:cubicBezTo>
                        <a:pt x="796" y="1964"/>
                        <a:pt x="796" y="1963"/>
                        <a:pt x="795" y="1963"/>
                      </a:cubicBezTo>
                      <a:cubicBezTo>
                        <a:pt x="795" y="1962"/>
                        <a:pt x="795" y="1962"/>
                        <a:pt x="795" y="1962"/>
                      </a:cubicBezTo>
                      <a:cubicBezTo>
                        <a:pt x="794" y="1960"/>
                        <a:pt x="794" y="1958"/>
                        <a:pt x="795" y="1956"/>
                      </a:cubicBezTo>
                      <a:close/>
                      <a:moveTo>
                        <a:pt x="674" y="1875"/>
                      </a:moveTo>
                      <a:cubicBezTo>
                        <a:pt x="674" y="1872"/>
                        <a:pt x="676" y="1869"/>
                        <a:pt x="677" y="1867"/>
                      </a:cubicBezTo>
                      <a:cubicBezTo>
                        <a:pt x="680" y="1861"/>
                        <a:pt x="683" y="1852"/>
                        <a:pt x="687" y="1847"/>
                      </a:cubicBezTo>
                      <a:cubicBezTo>
                        <a:pt x="688" y="1846"/>
                        <a:pt x="688" y="1846"/>
                        <a:pt x="688" y="1846"/>
                      </a:cubicBezTo>
                      <a:cubicBezTo>
                        <a:pt x="688" y="1846"/>
                        <a:pt x="689" y="1845"/>
                        <a:pt x="689" y="1845"/>
                      </a:cubicBezTo>
                      <a:cubicBezTo>
                        <a:pt x="689" y="1845"/>
                        <a:pt x="689" y="1845"/>
                        <a:pt x="690" y="1844"/>
                      </a:cubicBezTo>
                      <a:cubicBezTo>
                        <a:pt x="690" y="1844"/>
                        <a:pt x="690" y="1844"/>
                        <a:pt x="690" y="1844"/>
                      </a:cubicBezTo>
                      <a:cubicBezTo>
                        <a:pt x="690" y="1844"/>
                        <a:pt x="691" y="1844"/>
                        <a:pt x="691" y="1843"/>
                      </a:cubicBezTo>
                      <a:cubicBezTo>
                        <a:pt x="695" y="1840"/>
                        <a:pt x="700" y="1838"/>
                        <a:pt x="706" y="1838"/>
                      </a:cubicBezTo>
                      <a:cubicBezTo>
                        <a:pt x="706" y="1837"/>
                        <a:pt x="706" y="1837"/>
                        <a:pt x="706" y="1837"/>
                      </a:cubicBezTo>
                      <a:cubicBezTo>
                        <a:pt x="709" y="1837"/>
                        <a:pt x="713" y="1836"/>
                        <a:pt x="716" y="1836"/>
                      </a:cubicBezTo>
                      <a:cubicBezTo>
                        <a:pt x="734" y="1836"/>
                        <a:pt x="734" y="1836"/>
                        <a:pt x="734" y="1836"/>
                      </a:cubicBezTo>
                      <a:cubicBezTo>
                        <a:pt x="740" y="1836"/>
                        <a:pt x="746" y="1836"/>
                        <a:pt x="751" y="1836"/>
                      </a:cubicBezTo>
                      <a:cubicBezTo>
                        <a:pt x="759" y="1836"/>
                        <a:pt x="771" y="1835"/>
                        <a:pt x="777" y="1841"/>
                      </a:cubicBezTo>
                      <a:cubicBezTo>
                        <a:pt x="778" y="1841"/>
                        <a:pt x="778" y="1842"/>
                        <a:pt x="778" y="1842"/>
                      </a:cubicBezTo>
                      <a:cubicBezTo>
                        <a:pt x="778" y="1842"/>
                        <a:pt x="779" y="1842"/>
                        <a:pt x="779" y="1842"/>
                      </a:cubicBezTo>
                      <a:cubicBezTo>
                        <a:pt x="779" y="1842"/>
                        <a:pt x="779" y="1843"/>
                        <a:pt x="779" y="1843"/>
                      </a:cubicBezTo>
                      <a:cubicBezTo>
                        <a:pt x="779" y="1843"/>
                        <a:pt x="779" y="1843"/>
                        <a:pt x="780" y="1844"/>
                      </a:cubicBezTo>
                      <a:cubicBezTo>
                        <a:pt x="780" y="1845"/>
                        <a:pt x="780" y="1846"/>
                        <a:pt x="780" y="1847"/>
                      </a:cubicBezTo>
                      <a:cubicBezTo>
                        <a:pt x="779" y="1854"/>
                        <a:pt x="774" y="1863"/>
                        <a:pt x="773" y="1867"/>
                      </a:cubicBezTo>
                      <a:cubicBezTo>
                        <a:pt x="773" y="1867"/>
                        <a:pt x="773" y="1867"/>
                        <a:pt x="773" y="1867"/>
                      </a:cubicBezTo>
                      <a:cubicBezTo>
                        <a:pt x="772" y="1869"/>
                        <a:pt x="772" y="1870"/>
                        <a:pt x="771" y="1871"/>
                      </a:cubicBezTo>
                      <a:cubicBezTo>
                        <a:pt x="771" y="1872"/>
                        <a:pt x="771" y="1872"/>
                        <a:pt x="771" y="1872"/>
                      </a:cubicBezTo>
                      <a:cubicBezTo>
                        <a:pt x="771" y="1873"/>
                        <a:pt x="771" y="1873"/>
                        <a:pt x="770" y="1873"/>
                      </a:cubicBezTo>
                      <a:cubicBezTo>
                        <a:pt x="770" y="1874"/>
                        <a:pt x="770" y="1874"/>
                        <a:pt x="770" y="1874"/>
                      </a:cubicBezTo>
                      <a:cubicBezTo>
                        <a:pt x="770" y="1875"/>
                        <a:pt x="769" y="1875"/>
                        <a:pt x="769" y="1876"/>
                      </a:cubicBezTo>
                      <a:cubicBezTo>
                        <a:pt x="769" y="1876"/>
                        <a:pt x="769" y="1876"/>
                        <a:pt x="768" y="1876"/>
                      </a:cubicBezTo>
                      <a:cubicBezTo>
                        <a:pt x="768" y="1876"/>
                        <a:pt x="768" y="1877"/>
                        <a:pt x="768" y="1877"/>
                      </a:cubicBezTo>
                      <a:cubicBezTo>
                        <a:pt x="768" y="1877"/>
                        <a:pt x="767" y="1877"/>
                        <a:pt x="767" y="1877"/>
                      </a:cubicBezTo>
                      <a:cubicBezTo>
                        <a:pt x="766" y="1878"/>
                        <a:pt x="765" y="1879"/>
                        <a:pt x="764" y="1880"/>
                      </a:cubicBezTo>
                      <a:cubicBezTo>
                        <a:pt x="763" y="1880"/>
                        <a:pt x="762" y="1881"/>
                        <a:pt x="761" y="1881"/>
                      </a:cubicBezTo>
                      <a:cubicBezTo>
                        <a:pt x="760" y="1882"/>
                        <a:pt x="760" y="1882"/>
                        <a:pt x="760" y="1882"/>
                      </a:cubicBezTo>
                      <a:cubicBezTo>
                        <a:pt x="760" y="1882"/>
                        <a:pt x="760" y="1882"/>
                        <a:pt x="760" y="1882"/>
                      </a:cubicBezTo>
                      <a:cubicBezTo>
                        <a:pt x="756" y="1883"/>
                        <a:pt x="752" y="1885"/>
                        <a:pt x="749" y="1885"/>
                      </a:cubicBezTo>
                      <a:cubicBezTo>
                        <a:pt x="748" y="1885"/>
                        <a:pt x="746" y="1885"/>
                        <a:pt x="745" y="1886"/>
                      </a:cubicBezTo>
                      <a:cubicBezTo>
                        <a:pt x="745" y="1886"/>
                        <a:pt x="745" y="1886"/>
                        <a:pt x="745" y="1886"/>
                      </a:cubicBezTo>
                      <a:cubicBezTo>
                        <a:pt x="738" y="1886"/>
                        <a:pt x="730" y="1886"/>
                        <a:pt x="723" y="1886"/>
                      </a:cubicBezTo>
                      <a:cubicBezTo>
                        <a:pt x="693" y="1886"/>
                        <a:pt x="693" y="1886"/>
                        <a:pt x="693" y="1886"/>
                      </a:cubicBezTo>
                      <a:cubicBezTo>
                        <a:pt x="687" y="1886"/>
                        <a:pt x="676" y="1885"/>
                        <a:pt x="674" y="1878"/>
                      </a:cubicBezTo>
                      <a:cubicBezTo>
                        <a:pt x="673" y="1877"/>
                        <a:pt x="673" y="1876"/>
                        <a:pt x="673" y="1876"/>
                      </a:cubicBezTo>
                      <a:cubicBezTo>
                        <a:pt x="673" y="1875"/>
                        <a:pt x="674" y="1875"/>
                        <a:pt x="674" y="1875"/>
                      </a:cubicBezTo>
                      <a:close/>
                      <a:moveTo>
                        <a:pt x="647" y="1928"/>
                      </a:moveTo>
                      <a:cubicBezTo>
                        <a:pt x="648" y="1927"/>
                        <a:pt x="648" y="1927"/>
                        <a:pt x="648" y="1927"/>
                      </a:cubicBezTo>
                      <a:cubicBezTo>
                        <a:pt x="648" y="1926"/>
                        <a:pt x="648" y="1926"/>
                        <a:pt x="648" y="1926"/>
                      </a:cubicBezTo>
                      <a:cubicBezTo>
                        <a:pt x="649" y="1925"/>
                        <a:pt x="649" y="1924"/>
                        <a:pt x="650" y="1924"/>
                      </a:cubicBezTo>
                      <a:cubicBezTo>
                        <a:pt x="650" y="1924"/>
                        <a:pt x="650" y="1924"/>
                        <a:pt x="650" y="1924"/>
                      </a:cubicBezTo>
                      <a:cubicBezTo>
                        <a:pt x="661" y="1909"/>
                        <a:pt x="687" y="1912"/>
                        <a:pt x="703" y="1912"/>
                      </a:cubicBezTo>
                      <a:cubicBezTo>
                        <a:pt x="703" y="1912"/>
                        <a:pt x="703" y="1912"/>
                        <a:pt x="703" y="1912"/>
                      </a:cubicBezTo>
                      <a:cubicBezTo>
                        <a:pt x="708" y="1912"/>
                        <a:pt x="720" y="1911"/>
                        <a:pt x="730" y="1912"/>
                      </a:cubicBezTo>
                      <a:cubicBezTo>
                        <a:pt x="734" y="1912"/>
                        <a:pt x="737" y="1912"/>
                        <a:pt x="740" y="1913"/>
                      </a:cubicBezTo>
                      <a:cubicBezTo>
                        <a:pt x="742" y="1913"/>
                        <a:pt x="744" y="1914"/>
                        <a:pt x="745" y="1915"/>
                      </a:cubicBezTo>
                      <a:cubicBezTo>
                        <a:pt x="749" y="1917"/>
                        <a:pt x="752" y="1919"/>
                        <a:pt x="752" y="1923"/>
                      </a:cubicBezTo>
                      <a:cubicBezTo>
                        <a:pt x="752" y="1923"/>
                        <a:pt x="752" y="1924"/>
                        <a:pt x="752" y="1924"/>
                      </a:cubicBezTo>
                      <a:cubicBezTo>
                        <a:pt x="752" y="1924"/>
                        <a:pt x="752" y="1924"/>
                        <a:pt x="752" y="1924"/>
                      </a:cubicBezTo>
                      <a:cubicBezTo>
                        <a:pt x="752" y="1925"/>
                        <a:pt x="751" y="1926"/>
                        <a:pt x="751" y="1927"/>
                      </a:cubicBezTo>
                      <a:cubicBezTo>
                        <a:pt x="741" y="1956"/>
                        <a:pt x="741" y="1956"/>
                        <a:pt x="741" y="1956"/>
                      </a:cubicBezTo>
                      <a:cubicBezTo>
                        <a:pt x="740" y="1958"/>
                        <a:pt x="738" y="1960"/>
                        <a:pt x="736" y="1962"/>
                      </a:cubicBezTo>
                      <a:cubicBezTo>
                        <a:pt x="734" y="1964"/>
                        <a:pt x="731" y="1966"/>
                        <a:pt x="728" y="1967"/>
                      </a:cubicBezTo>
                      <a:cubicBezTo>
                        <a:pt x="728" y="1968"/>
                        <a:pt x="727" y="1968"/>
                        <a:pt x="727" y="1968"/>
                      </a:cubicBezTo>
                      <a:cubicBezTo>
                        <a:pt x="723" y="1970"/>
                        <a:pt x="718" y="1971"/>
                        <a:pt x="713" y="1972"/>
                      </a:cubicBezTo>
                      <a:cubicBezTo>
                        <a:pt x="713" y="1972"/>
                        <a:pt x="713" y="1972"/>
                        <a:pt x="713" y="1972"/>
                      </a:cubicBezTo>
                      <a:cubicBezTo>
                        <a:pt x="712" y="1972"/>
                        <a:pt x="711" y="1972"/>
                        <a:pt x="710" y="1972"/>
                      </a:cubicBezTo>
                      <a:cubicBezTo>
                        <a:pt x="701" y="1973"/>
                        <a:pt x="692" y="1972"/>
                        <a:pt x="682" y="1972"/>
                      </a:cubicBezTo>
                      <a:cubicBezTo>
                        <a:pt x="673" y="1973"/>
                        <a:pt x="663" y="1973"/>
                        <a:pt x="654" y="1973"/>
                      </a:cubicBezTo>
                      <a:cubicBezTo>
                        <a:pt x="647" y="1973"/>
                        <a:pt x="638" y="1971"/>
                        <a:pt x="634" y="1966"/>
                      </a:cubicBezTo>
                      <a:cubicBezTo>
                        <a:pt x="634" y="1965"/>
                        <a:pt x="634" y="1965"/>
                        <a:pt x="633" y="1965"/>
                      </a:cubicBezTo>
                      <a:cubicBezTo>
                        <a:pt x="633" y="1964"/>
                        <a:pt x="633" y="1964"/>
                        <a:pt x="633" y="1964"/>
                      </a:cubicBezTo>
                      <a:cubicBezTo>
                        <a:pt x="633" y="1963"/>
                        <a:pt x="633" y="1963"/>
                        <a:pt x="632" y="1963"/>
                      </a:cubicBezTo>
                      <a:cubicBezTo>
                        <a:pt x="632" y="1963"/>
                        <a:pt x="632" y="1962"/>
                        <a:pt x="632" y="1962"/>
                      </a:cubicBezTo>
                      <a:cubicBezTo>
                        <a:pt x="632" y="1962"/>
                        <a:pt x="632" y="1962"/>
                        <a:pt x="632" y="1962"/>
                      </a:cubicBezTo>
                      <a:cubicBezTo>
                        <a:pt x="632" y="1962"/>
                        <a:pt x="632" y="1961"/>
                        <a:pt x="632" y="1960"/>
                      </a:cubicBezTo>
                      <a:cubicBezTo>
                        <a:pt x="632" y="1959"/>
                        <a:pt x="632" y="1959"/>
                        <a:pt x="633" y="1959"/>
                      </a:cubicBezTo>
                      <a:cubicBezTo>
                        <a:pt x="633" y="1958"/>
                        <a:pt x="633" y="1957"/>
                        <a:pt x="633" y="1956"/>
                      </a:cubicBezTo>
                      <a:cubicBezTo>
                        <a:pt x="633" y="1956"/>
                        <a:pt x="633" y="1956"/>
                        <a:pt x="633" y="1956"/>
                      </a:cubicBezTo>
                      <a:cubicBezTo>
                        <a:pt x="634" y="1955"/>
                        <a:pt x="634" y="1955"/>
                        <a:pt x="634" y="1955"/>
                      </a:cubicBezTo>
                      <a:cubicBezTo>
                        <a:pt x="634" y="1954"/>
                        <a:pt x="635" y="1953"/>
                        <a:pt x="635" y="1952"/>
                      </a:cubicBezTo>
                      <a:cubicBezTo>
                        <a:pt x="639" y="1944"/>
                        <a:pt x="643" y="1936"/>
                        <a:pt x="647" y="1928"/>
                      </a:cubicBezTo>
                      <a:cubicBezTo>
                        <a:pt x="647" y="1928"/>
                        <a:pt x="647" y="1928"/>
                        <a:pt x="647" y="1928"/>
                      </a:cubicBezTo>
                      <a:close/>
                      <a:moveTo>
                        <a:pt x="527" y="1875"/>
                      </a:moveTo>
                      <a:cubicBezTo>
                        <a:pt x="528" y="1873"/>
                        <a:pt x="531" y="1870"/>
                        <a:pt x="532" y="1868"/>
                      </a:cubicBezTo>
                      <a:cubicBezTo>
                        <a:pt x="536" y="1861"/>
                        <a:pt x="541" y="1854"/>
                        <a:pt x="546" y="1848"/>
                      </a:cubicBezTo>
                      <a:cubicBezTo>
                        <a:pt x="546" y="1847"/>
                        <a:pt x="546" y="1847"/>
                        <a:pt x="547" y="1847"/>
                      </a:cubicBezTo>
                      <a:cubicBezTo>
                        <a:pt x="547" y="1847"/>
                        <a:pt x="547" y="1847"/>
                        <a:pt x="547" y="1846"/>
                      </a:cubicBezTo>
                      <a:cubicBezTo>
                        <a:pt x="561" y="1833"/>
                        <a:pt x="590" y="1837"/>
                        <a:pt x="608" y="1837"/>
                      </a:cubicBezTo>
                      <a:cubicBezTo>
                        <a:pt x="616" y="1837"/>
                        <a:pt x="626" y="1835"/>
                        <a:pt x="634" y="1839"/>
                      </a:cubicBezTo>
                      <a:cubicBezTo>
                        <a:pt x="634" y="1839"/>
                        <a:pt x="634" y="1839"/>
                        <a:pt x="634" y="1839"/>
                      </a:cubicBezTo>
                      <a:cubicBezTo>
                        <a:pt x="634" y="1839"/>
                        <a:pt x="635" y="1839"/>
                        <a:pt x="636" y="1840"/>
                      </a:cubicBezTo>
                      <a:cubicBezTo>
                        <a:pt x="636" y="1840"/>
                        <a:pt x="636" y="1840"/>
                        <a:pt x="636" y="1840"/>
                      </a:cubicBezTo>
                      <a:cubicBezTo>
                        <a:pt x="638" y="1841"/>
                        <a:pt x="639" y="1843"/>
                        <a:pt x="639" y="1844"/>
                      </a:cubicBezTo>
                      <a:cubicBezTo>
                        <a:pt x="640" y="1845"/>
                        <a:pt x="640" y="1847"/>
                        <a:pt x="639" y="1849"/>
                      </a:cubicBezTo>
                      <a:cubicBezTo>
                        <a:pt x="638" y="1850"/>
                        <a:pt x="638" y="1850"/>
                        <a:pt x="638" y="1850"/>
                      </a:cubicBezTo>
                      <a:cubicBezTo>
                        <a:pt x="637" y="1854"/>
                        <a:pt x="633" y="1858"/>
                        <a:pt x="631" y="1862"/>
                      </a:cubicBezTo>
                      <a:cubicBezTo>
                        <a:pt x="631" y="1862"/>
                        <a:pt x="631" y="1862"/>
                        <a:pt x="631" y="1862"/>
                      </a:cubicBezTo>
                      <a:cubicBezTo>
                        <a:pt x="625" y="1873"/>
                        <a:pt x="625" y="1873"/>
                        <a:pt x="625" y="1873"/>
                      </a:cubicBezTo>
                      <a:cubicBezTo>
                        <a:pt x="624" y="1874"/>
                        <a:pt x="623" y="1876"/>
                        <a:pt x="621" y="1878"/>
                      </a:cubicBezTo>
                      <a:cubicBezTo>
                        <a:pt x="618" y="1879"/>
                        <a:pt x="616" y="1881"/>
                        <a:pt x="613" y="1882"/>
                      </a:cubicBezTo>
                      <a:cubicBezTo>
                        <a:pt x="612" y="1882"/>
                        <a:pt x="611" y="1883"/>
                        <a:pt x="610" y="1883"/>
                      </a:cubicBezTo>
                      <a:cubicBezTo>
                        <a:pt x="610" y="1883"/>
                        <a:pt x="609" y="1883"/>
                        <a:pt x="609" y="1884"/>
                      </a:cubicBezTo>
                      <a:cubicBezTo>
                        <a:pt x="609" y="1884"/>
                        <a:pt x="609" y="1884"/>
                        <a:pt x="609" y="1884"/>
                      </a:cubicBezTo>
                      <a:cubicBezTo>
                        <a:pt x="607" y="1884"/>
                        <a:pt x="605" y="1885"/>
                        <a:pt x="603" y="1885"/>
                      </a:cubicBezTo>
                      <a:cubicBezTo>
                        <a:pt x="599" y="1886"/>
                        <a:pt x="596" y="1886"/>
                        <a:pt x="592" y="1886"/>
                      </a:cubicBezTo>
                      <a:cubicBezTo>
                        <a:pt x="582" y="1886"/>
                        <a:pt x="582" y="1886"/>
                        <a:pt x="582" y="1886"/>
                      </a:cubicBezTo>
                      <a:cubicBezTo>
                        <a:pt x="582" y="1886"/>
                        <a:pt x="582" y="1886"/>
                        <a:pt x="582" y="1886"/>
                      </a:cubicBezTo>
                      <a:cubicBezTo>
                        <a:pt x="570" y="1886"/>
                        <a:pt x="557" y="1886"/>
                        <a:pt x="545" y="1886"/>
                      </a:cubicBezTo>
                      <a:cubicBezTo>
                        <a:pt x="540" y="1886"/>
                        <a:pt x="528" y="1885"/>
                        <a:pt x="527" y="1878"/>
                      </a:cubicBezTo>
                      <a:cubicBezTo>
                        <a:pt x="527" y="1877"/>
                        <a:pt x="527" y="1876"/>
                        <a:pt x="527" y="1875"/>
                      </a:cubicBezTo>
                      <a:close/>
                      <a:moveTo>
                        <a:pt x="545" y="2017"/>
                      </a:moveTo>
                      <a:cubicBezTo>
                        <a:pt x="545" y="2017"/>
                        <a:pt x="545" y="2017"/>
                        <a:pt x="545" y="2017"/>
                      </a:cubicBezTo>
                      <a:cubicBezTo>
                        <a:pt x="543" y="2024"/>
                        <a:pt x="538" y="2031"/>
                        <a:pt x="534" y="2038"/>
                      </a:cubicBezTo>
                      <a:cubicBezTo>
                        <a:pt x="534" y="2038"/>
                        <a:pt x="534" y="2038"/>
                        <a:pt x="534" y="2038"/>
                      </a:cubicBezTo>
                      <a:cubicBezTo>
                        <a:pt x="530" y="2045"/>
                        <a:pt x="527" y="2053"/>
                        <a:pt x="521" y="2060"/>
                      </a:cubicBezTo>
                      <a:cubicBezTo>
                        <a:pt x="521" y="2061"/>
                        <a:pt x="520" y="2061"/>
                        <a:pt x="520" y="2062"/>
                      </a:cubicBezTo>
                      <a:cubicBezTo>
                        <a:pt x="520" y="2062"/>
                        <a:pt x="520" y="2062"/>
                        <a:pt x="520" y="2062"/>
                      </a:cubicBezTo>
                      <a:cubicBezTo>
                        <a:pt x="519" y="2063"/>
                        <a:pt x="518" y="2064"/>
                        <a:pt x="517" y="2064"/>
                      </a:cubicBezTo>
                      <a:cubicBezTo>
                        <a:pt x="517" y="2065"/>
                        <a:pt x="517" y="2065"/>
                        <a:pt x="516" y="2065"/>
                      </a:cubicBezTo>
                      <a:cubicBezTo>
                        <a:pt x="516" y="2065"/>
                        <a:pt x="516" y="2066"/>
                        <a:pt x="516" y="2066"/>
                      </a:cubicBezTo>
                      <a:cubicBezTo>
                        <a:pt x="510" y="2071"/>
                        <a:pt x="503" y="2074"/>
                        <a:pt x="496" y="2076"/>
                      </a:cubicBezTo>
                      <a:cubicBezTo>
                        <a:pt x="495" y="2076"/>
                        <a:pt x="494" y="2076"/>
                        <a:pt x="493" y="2077"/>
                      </a:cubicBezTo>
                      <a:cubicBezTo>
                        <a:pt x="489" y="2078"/>
                        <a:pt x="484" y="2078"/>
                        <a:pt x="480" y="2078"/>
                      </a:cubicBezTo>
                      <a:cubicBezTo>
                        <a:pt x="476" y="2078"/>
                        <a:pt x="476" y="2078"/>
                        <a:pt x="476" y="2078"/>
                      </a:cubicBezTo>
                      <a:cubicBezTo>
                        <a:pt x="476" y="2078"/>
                        <a:pt x="476" y="2078"/>
                        <a:pt x="476" y="2078"/>
                      </a:cubicBezTo>
                      <a:cubicBezTo>
                        <a:pt x="458" y="2078"/>
                        <a:pt x="439" y="2078"/>
                        <a:pt x="421" y="2079"/>
                      </a:cubicBezTo>
                      <a:cubicBezTo>
                        <a:pt x="419" y="2079"/>
                        <a:pt x="418" y="2078"/>
                        <a:pt x="416" y="2078"/>
                      </a:cubicBezTo>
                      <a:cubicBezTo>
                        <a:pt x="414" y="2078"/>
                        <a:pt x="412" y="2078"/>
                        <a:pt x="410" y="2077"/>
                      </a:cubicBezTo>
                      <a:cubicBezTo>
                        <a:pt x="406" y="2076"/>
                        <a:pt x="404" y="2074"/>
                        <a:pt x="402" y="2072"/>
                      </a:cubicBezTo>
                      <a:cubicBezTo>
                        <a:pt x="401" y="2070"/>
                        <a:pt x="400" y="2068"/>
                        <a:pt x="400" y="2066"/>
                      </a:cubicBezTo>
                      <a:cubicBezTo>
                        <a:pt x="400" y="2064"/>
                        <a:pt x="401" y="2062"/>
                        <a:pt x="402" y="2060"/>
                      </a:cubicBezTo>
                      <a:cubicBezTo>
                        <a:pt x="402" y="2059"/>
                        <a:pt x="402" y="2059"/>
                        <a:pt x="403" y="2059"/>
                      </a:cubicBezTo>
                      <a:cubicBezTo>
                        <a:pt x="403" y="2058"/>
                        <a:pt x="403" y="2058"/>
                        <a:pt x="403" y="2058"/>
                      </a:cubicBezTo>
                      <a:cubicBezTo>
                        <a:pt x="404" y="2057"/>
                        <a:pt x="404" y="2057"/>
                        <a:pt x="404" y="2057"/>
                      </a:cubicBezTo>
                      <a:cubicBezTo>
                        <a:pt x="404" y="2057"/>
                        <a:pt x="404" y="2057"/>
                        <a:pt x="404" y="2057"/>
                      </a:cubicBezTo>
                      <a:cubicBezTo>
                        <a:pt x="409" y="2050"/>
                        <a:pt x="413" y="2043"/>
                        <a:pt x="418" y="2035"/>
                      </a:cubicBezTo>
                      <a:cubicBezTo>
                        <a:pt x="422" y="2030"/>
                        <a:pt x="425" y="2024"/>
                        <a:pt x="430" y="2019"/>
                      </a:cubicBezTo>
                      <a:cubicBezTo>
                        <a:pt x="430" y="2018"/>
                        <a:pt x="431" y="2018"/>
                        <a:pt x="431" y="2017"/>
                      </a:cubicBezTo>
                      <a:cubicBezTo>
                        <a:pt x="431" y="2017"/>
                        <a:pt x="432" y="2017"/>
                        <a:pt x="432" y="2017"/>
                      </a:cubicBezTo>
                      <a:cubicBezTo>
                        <a:pt x="433" y="2016"/>
                        <a:pt x="434" y="2015"/>
                        <a:pt x="435" y="2014"/>
                      </a:cubicBezTo>
                      <a:cubicBezTo>
                        <a:pt x="435" y="2014"/>
                        <a:pt x="435" y="2014"/>
                        <a:pt x="435" y="2014"/>
                      </a:cubicBezTo>
                      <a:cubicBezTo>
                        <a:pt x="435" y="2014"/>
                        <a:pt x="435" y="2014"/>
                        <a:pt x="435" y="2014"/>
                      </a:cubicBezTo>
                      <a:cubicBezTo>
                        <a:pt x="441" y="2009"/>
                        <a:pt x="449" y="2006"/>
                        <a:pt x="457" y="2004"/>
                      </a:cubicBezTo>
                      <a:cubicBezTo>
                        <a:pt x="457" y="2004"/>
                        <a:pt x="457" y="2004"/>
                        <a:pt x="457" y="2004"/>
                      </a:cubicBezTo>
                      <a:cubicBezTo>
                        <a:pt x="457" y="2004"/>
                        <a:pt x="458" y="2004"/>
                        <a:pt x="458" y="2004"/>
                      </a:cubicBezTo>
                      <a:cubicBezTo>
                        <a:pt x="459" y="2004"/>
                        <a:pt x="461" y="2004"/>
                        <a:pt x="462" y="2004"/>
                      </a:cubicBezTo>
                      <a:cubicBezTo>
                        <a:pt x="463" y="2003"/>
                        <a:pt x="464" y="2003"/>
                        <a:pt x="465" y="2003"/>
                      </a:cubicBezTo>
                      <a:cubicBezTo>
                        <a:pt x="466" y="2003"/>
                        <a:pt x="467" y="2003"/>
                        <a:pt x="468" y="2003"/>
                      </a:cubicBezTo>
                      <a:cubicBezTo>
                        <a:pt x="468" y="2003"/>
                        <a:pt x="469" y="2003"/>
                        <a:pt x="470" y="2003"/>
                      </a:cubicBezTo>
                      <a:cubicBezTo>
                        <a:pt x="471" y="2003"/>
                        <a:pt x="471" y="2003"/>
                        <a:pt x="471" y="2003"/>
                      </a:cubicBezTo>
                      <a:cubicBezTo>
                        <a:pt x="471" y="2003"/>
                        <a:pt x="471" y="2003"/>
                        <a:pt x="471" y="2003"/>
                      </a:cubicBezTo>
                      <a:cubicBezTo>
                        <a:pt x="488" y="2003"/>
                        <a:pt x="504" y="2003"/>
                        <a:pt x="521" y="2003"/>
                      </a:cubicBezTo>
                      <a:cubicBezTo>
                        <a:pt x="521" y="2003"/>
                        <a:pt x="521" y="2003"/>
                        <a:pt x="521" y="2003"/>
                      </a:cubicBezTo>
                      <a:cubicBezTo>
                        <a:pt x="524" y="2003"/>
                        <a:pt x="524" y="2003"/>
                        <a:pt x="524" y="2003"/>
                      </a:cubicBezTo>
                      <a:cubicBezTo>
                        <a:pt x="528" y="2003"/>
                        <a:pt x="532" y="2003"/>
                        <a:pt x="535" y="2004"/>
                      </a:cubicBezTo>
                      <a:cubicBezTo>
                        <a:pt x="536" y="2004"/>
                        <a:pt x="536" y="2005"/>
                        <a:pt x="537" y="2005"/>
                      </a:cubicBezTo>
                      <a:cubicBezTo>
                        <a:pt x="537" y="2005"/>
                        <a:pt x="538" y="2005"/>
                        <a:pt x="538" y="2006"/>
                      </a:cubicBezTo>
                      <a:cubicBezTo>
                        <a:pt x="538" y="2006"/>
                        <a:pt x="539" y="2006"/>
                        <a:pt x="539" y="2006"/>
                      </a:cubicBezTo>
                      <a:cubicBezTo>
                        <a:pt x="543" y="2008"/>
                        <a:pt x="546" y="2012"/>
                        <a:pt x="545" y="2017"/>
                      </a:cubicBezTo>
                      <a:close/>
                      <a:moveTo>
                        <a:pt x="579" y="1956"/>
                      </a:moveTo>
                      <a:cubicBezTo>
                        <a:pt x="579" y="1956"/>
                        <a:pt x="579" y="1956"/>
                        <a:pt x="579" y="1956"/>
                      </a:cubicBezTo>
                      <a:cubicBezTo>
                        <a:pt x="579" y="1956"/>
                        <a:pt x="579" y="1956"/>
                        <a:pt x="579" y="1956"/>
                      </a:cubicBezTo>
                      <a:cubicBezTo>
                        <a:pt x="578" y="1957"/>
                        <a:pt x="578" y="1958"/>
                        <a:pt x="577" y="1959"/>
                      </a:cubicBezTo>
                      <a:cubicBezTo>
                        <a:pt x="577" y="1959"/>
                        <a:pt x="577" y="1960"/>
                        <a:pt x="577" y="1960"/>
                      </a:cubicBezTo>
                      <a:cubicBezTo>
                        <a:pt x="572" y="1964"/>
                        <a:pt x="566" y="1968"/>
                        <a:pt x="560" y="1970"/>
                      </a:cubicBezTo>
                      <a:cubicBezTo>
                        <a:pt x="560" y="1970"/>
                        <a:pt x="560" y="1970"/>
                        <a:pt x="560" y="1970"/>
                      </a:cubicBezTo>
                      <a:cubicBezTo>
                        <a:pt x="559" y="1970"/>
                        <a:pt x="558" y="1970"/>
                        <a:pt x="557" y="1971"/>
                      </a:cubicBezTo>
                      <a:cubicBezTo>
                        <a:pt x="556" y="1971"/>
                        <a:pt x="556" y="1971"/>
                        <a:pt x="555" y="1971"/>
                      </a:cubicBezTo>
                      <a:cubicBezTo>
                        <a:pt x="554" y="1971"/>
                        <a:pt x="554" y="1971"/>
                        <a:pt x="553" y="1971"/>
                      </a:cubicBezTo>
                      <a:cubicBezTo>
                        <a:pt x="550" y="1972"/>
                        <a:pt x="546" y="1973"/>
                        <a:pt x="542" y="1973"/>
                      </a:cubicBezTo>
                      <a:cubicBezTo>
                        <a:pt x="541" y="1973"/>
                        <a:pt x="541" y="1973"/>
                        <a:pt x="541" y="1973"/>
                      </a:cubicBezTo>
                      <a:cubicBezTo>
                        <a:pt x="534" y="1973"/>
                        <a:pt x="527" y="1973"/>
                        <a:pt x="520" y="1973"/>
                      </a:cubicBezTo>
                      <a:cubicBezTo>
                        <a:pt x="510" y="1973"/>
                        <a:pt x="499" y="1973"/>
                        <a:pt x="489" y="1973"/>
                      </a:cubicBezTo>
                      <a:cubicBezTo>
                        <a:pt x="488" y="1973"/>
                        <a:pt x="486" y="1973"/>
                        <a:pt x="484" y="1973"/>
                      </a:cubicBezTo>
                      <a:cubicBezTo>
                        <a:pt x="484" y="1973"/>
                        <a:pt x="484" y="1973"/>
                        <a:pt x="483" y="1973"/>
                      </a:cubicBezTo>
                      <a:cubicBezTo>
                        <a:pt x="482" y="1972"/>
                        <a:pt x="480" y="1972"/>
                        <a:pt x="479" y="1972"/>
                      </a:cubicBezTo>
                      <a:cubicBezTo>
                        <a:pt x="479" y="1972"/>
                        <a:pt x="479" y="1972"/>
                        <a:pt x="479" y="1972"/>
                      </a:cubicBezTo>
                      <a:cubicBezTo>
                        <a:pt x="479" y="1972"/>
                        <a:pt x="479" y="1972"/>
                        <a:pt x="479" y="1972"/>
                      </a:cubicBezTo>
                      <a:cubicBezTo>
                        <a:pt x="474" y="1970"/>
                        <a:pt x="470" y="1968"/>
                        <a:pt x="470" y="1963"/>
                      </a:cubicBezTo>
                      <a:cubicBezTo>
                        <a:pt x="470" y="1962"/>
                        <a:pt x="470" y="1961"/>
                        <a:pt x="470" y="1960"/>
                      </a:cubicBezTo>
                      <a:cubicBezTo>
                        <a:pt x="470" y="1960"/>
                        <a:pt x="470" y="1959"/>
                        <a:pt x="471" y="1959"/>
                      </a:cubicBezTo>
                      <a:cubicBezTo>
                        <a:pt x="471" y="1958"/>
                        <a:pt x="471" y="1957"/>
                        <a:pt x="472" y="1957"/>
                      </a:cubicBezTo>
                      <a:cubicBezTo>
                        <a:pt x="472" y="1957"/>
                        <a:pt x="472" y="1956"/>
                        <a:pt x="472" y="1956"/>
                      </a:cubicBezTo>
                      <a:cubicBezTo>
                        <a:pt x="472" y="1956"/>
                        <a:pt x="472" y="1956"/>
                        <a:pt x="472" y="1956"/>
                      </a:cubicBezTo>
                      <a:cubicBezTo>
                        <a:pt x="473" y="1955"/>
                        <a:pt x="474" y="1954"/>
                        <a:pt x="474" y="1953"/>
                      </a:cubicBezTo>
                      <a:cubicBezTo>
                        <a:pt x="479" y="1945"/>
                        <a:pt x="485" y="1938"/>
                        <a:pt x="490" y="1930"/>
                      </a:cubicBezTo>
                      <a:cubicBezTo>
                        <a:pt x="490" y="1930"/>
                        <a:pt x="490" y="1930"/>
                        <a:pt x="490" y="1930"/>
                      </a:cubicBezTo>
                      <a:cubicBezTo>
                        <a:pt x="492" y="1927"/>
                        <a:pt x="492" y="1927"/>
                        <a:pt x="492" y="1927"/>
                      </a:cubicBezTo>
                      <a:cubicBezTo>
                        <a:pt x="493" y="1925"/>
                        <a:pt x="495" y="1923"/>
                        <a:pt x="498" y="1921"/>
                      </a:cubicBezTo>
                      <a:cubicBezTo>
                        <a:pt x="499" y="1920"/>
                        <a:pt x="501" y="1919"/>
                        <a:pt x="503" y="1918"/>
                      </a:cubicBezTo>
                      <a:cubicBezTo>
                        <a:pt x="504" y="1918"/>
                        <a:pt x="505" y="1917"/>
                        <a:pt x="506" y="1917"/>
                      </a:cubicBezTo>
                      <a:cubicBezTo>
                        <a:pt x="506" y="1917"/>
                        <a:pt x="506" y="1917"/>
                        <a:pt x="507" y="1917"/>
                      </a:cubicBezTo>
                      <a:cubicBezTo>
                        <a:pt x="507" y="1917"/>
                        <a:pt x="507" y="1916"/>
                        <a:pt x="507" y="1916"/>
                      </a:cubicBezTo>
                      <a:cubicBezTo>
                        <a:pt x="508" y="1916"/>
                        <a:pt x="508" y="1916"/>
                        <a:pt x="508" y="1916"/>
                      </a:cubicBezTo>
                      <a:cubicBezTo>
                        <a:pt x="511" y="1915"/>
                        <a:pt x="514" y="1914"/>
                        <a:pt x="517" y="1913"/>
                      </a:cubicBezTo>
                      <a:cubicBezTo>
                        <a:pt x="521" y="1913"/>
                        <a:pt x="525" y="1912"/>
                        <a:pt x="528" y="1912"/>
                      </a:cubicBezTo>
                      <a:cubicBezTo>
                        <a:pt x="538" y="1912"/>
                        <a:pt x="538" y="1912"/>
                        <a:pt x="538" y="1912"/>
                      </a:cubicBezTo>
                      <a:cubicBezTo>
                        <a:pt x="541" y="1912"/>
                        <a:pt x="543" y="1912"/>
                        <a:pt x="545" y="1912"/>
                      </a:cubicBezTo>
                      <a:cubicBezTo>
                        <a:pt x="555" y="1912"/>
                        <a:pt x="564" y="1912"/>
                        <a:pt x="573" y="1912"/>
                      </a:cubicBezTo>
                      <a:cubicBezTo>
                        <a:pt x="573" y="1912"/>
                        <a:pt x="573" y="1912"/>
                        <a:pt x="573" y="1912"/>
                      </a:cubicBezTo>
                      <a:cubicBezTo>
                        <a:pt x="577" y="1912"/>
                        <a:pt x="577" y="1912"/>
                        <a:pt x="577" y="1912"/>
                      </a:cubicBezTo>
                      <a:cubicBezTo>
                        <a:pt x="581" y="1912"/>
                        <a:pt x="584" y="1913"/>
                        <a:pt x="587" y="1913"/>
                      </a:cubicBezTo>
                      <a:cubicBezTo>
                        <a:pt x="589" y="1914"/>
                        <a:pt x="590" y="1915"/>
                        <a:pt x="592" y="1915"/>
                      </a:cubicBezTo>
                      <a:cubicBezTo>
                        <a:pt x="596" y="1918"/>
                        <a:pt x="599" y="1921"/>
                        <a:pt x="595" y="1927"/>
                      </a:cubicBezTo>
                      <a:cubicBezTo>
                        <a:pt x="592" y="1934"/>
                        <a:pt x="588" y="1941"/>
                        <a:pt x="584" y="1948"/>
                      </a:cubicBezTo>
                      <a:cubicBezTo>
                        <a:pt x="579" y="1956"/>
                        <a:pt x="579" y="1956"/>
                        <a:pt x="579" y="1956"/>
                      </a:cubicBezTo>
                      <a:cubicBezTo>
                        <a:pt x="579" y="1956"/>
                        <a:pt x="579" y="1956"/>
                        <a:pt x="579" y="1956"/>
                      </a:cubicBezTo>
                      <a:close/>
                      <a:moveTo>
                        <a:pt x="1064" y="2056"/>
                      </a:moveTo>
                      <a:cubicBezTo>
                        <a:pt x="1064" y="2057"/>
                        <a:pt x="1064" y="2059"/>
                        <a:pt x="1064" y="2060"/>
                      </a:cubicBezTo>
                      <a:cubicBezTo>
                        <a:pt x="1064" y="2060"/>
                        <a:pt x="1064" y="2060"/>
                        <a:pt x="1064" y="2061"/>
                      </a:cubicBezTo>
                      <a:cubicBezTo>
                        <a:pt x="1063" y="2062"/>
                        <a:pt x="1063" y="2063"/>
                        <a:pt x="1062" y="2064"/>
                      </a:cubicBezTo>
                      <a:cubicBezTo>
                        <a:pt x="1062" y="2064"/>
                        <a:pt x="1062" y="2064"/>
                        <a:pt x="1062" y="2064"/>
                      </a:cubicBezTo>
                      <a:cubicBezTo>
                        <a:pt x="1062" y="2064"/>
                        <a:pt x="1062" y="2064"/>
                        <a:pt x="1062" y="2064"/>
                      </a:cubicBezTo>
                      <a:cubicBezTo>
                        <a:pt x="1061" y="2065"/>
                        <a:pt x="1060" y="2066"/>
                        <a:pt x="1059" y="2067"/>
                      </a:cubicBezTo>
                      <a:cubicBezTo>
                        <a:pt x="1059" y="2067"/>
                        <a:pt x="1059" y="2067"/>
                        <a:pt x="1059" y="2068"/>
                      </a:cubicBezTo>
                      <a:cubicBezTo>
                        <a:pt x="1058" y="2069"/>
                        <a:pt x="1057" y="2069"/>
                        <a:pt x="1056" y="2070"/>
                      </a:cubicBezTo>
                      <a:cubicBezTo>
                        <a:pt x="1056" y="2070"/>
                        <a:pt x="1055" y="2071"/>
                        <a:pt x="1055" y="2071"/>
                      </a:cubicBezTo>
                      <a:cubicBezTo>
                        <a:pt x="1055" y="2071"/>
                        <a:pt x="1055" y="2071"/>
                        <a:pt x="1055" y="2071"/>
                      </a:cubicBezTo>
                      <a:cubicBezTo>
                        <a:pt x="1053" y="2072"/>
                        <a:pt x="1052" y="2072"/>
                        <a:pt x="1051" y="2073"/>
                      </a:cubicBezTo>
                      <a:cubicBezTo>
                        <a:pt x="1051" y="2073"/>
                        <a:pt x="1051" y="2073"/>
                        <a:pt x="1050" y="2073"/>
                      </a:cubicBezTo>
                      <a:cubicBezTo>
                        <a:pt x="1049" y="2074"/>
                        <a:pt x="1048" y="2074"/>
                        <a:pt x="1047" y="2074"/>
                      </a:cubicBezTo>
                      <a:cubicBezTo>
                        <a:pt x="1047" y="2075"/>
                        <a:pt x="1046" y="2075"/>
                        <a:pt x="1046" y="2075"/>
                      </a:cubicBezTo>
                      <a:cubicBezTo>
                        <a:pt x="1046" y="2075"/>
                        <a:pt x="1045" y="2075"/>
                        <a:pt x="1045" y="2075"/>
                      </a:cubicBezTo>
                      <a:cubicBezTo>
                        <a:pt x="1045" y="2075"/>
                        <a:pt x="1045" y="2075"/>
                        <a:pt x="1044" y="2075"/>
                      </a:cubicBezTo>
                      <a:cubicBezTo>
                        <a:pt x="1043" y="2076"/>
                        <a:pt x="1042" y="2076"/>
                        <a:pt x="1041" y="2076"/>
                      </a:cubicBezTo>
                      <a:cubicBezTo>
                        <a:pt x="1039" y="2076"/>
                        <a:pt x="1038" y="2076"/>
                        <a:pt x="1037" y="2077"/>
                      </a:cubicBezTo>
                      <a:cubicBezTo>
                        <a:pt x="1036" y="2077"/>
                        <a:pt x="1035" y="2077"/>
                        <a:pt x="1034" y="2077"/>
                      </a:cubicBezTo>
                      <a:cubicBezTo>
                        <a:pt x="1033" y="2077"/>
                        <a:pt x="1033" y="2077"/>
                        <a:pt x="1033" y="2077"/>
                      </a:cubicBezTo>
                      <a:cubicBezTo>
                        <a:pt x="1031" y="2077"/>
                        <a:pt x="1031" y="2077"/>
                        <a:pt x="1031" y="2077"/>
                      </a:cubicBezTo>
                      <a:cubicBezTo>
                        <a:pt x="1031" y="2077"/>
                        <a:pt x="1031" y="2077"/>
                        <a:pt x="1031" y="2077"/>
                      </a:cubicBezTo>
                      <a:cubicBezTo>
                        <a:pt x="1025" y="2077"/>
                        <a:pt x="1018" y="2077"/>
                        <a:pt x="1011" y="2077"/>
                      </a:cubicBezTo>
                      <a:cubicBezTo>
                        <a:pt x="981" y="2077"/>
                        <a:pt x="630" y="2078"/>
                        <a:pt x="605" y="2078"/>
                      </a:cubicBezTo>
                      <a:cubicBezTo>
                        <a:pt x="604" y="2078"/>
                        <a:pt x="602" y="2078"/>
                        <a:pt x="600" y="2078"/>
                      </a:cubicBezTo>
                      <a:cubicBezTo>
                        <a:pt x="598" y="2077"/>
                        <a:pt x="596" y="2077"/>
                        <a:pt x="594" y="2076"/>
                      </a:cubicBezTo>
                      <a:cubicBezTo>
                        <a:pt x="590" y="2075"/>
                        <a:pt x="588" y="2074"/>
                        <a:pt x="586" y="2072"/>
                      </a:cubicBezTo>
                      <a:cubicBezTo>
                        <a:pt x="584" y="2070"/>
                        <a:pt x="583" y="2068"/>
                        <a:pt x="582" y="2065"/>
                      </a:cubicBezTo>
                      <a:cubicBezTo>
                        <a:pt x="582" y="2063"/>
                        <a:pt x="582" y="2060"/>
                        <a:pt x="584" y="2057"/>
                      </a:cubicBezTo>
                      <a:cubicBezTo>
                        <a:pt x="584" y="2056"/>
                        <a:pt x="584" y="2056"/>
                        <a:pt x="584" y="2056"/>
                      </a:cubicBezTo>
                      <a:cubicBezTo>
                        <a:pt x="584" y="2056"/>
                        <a:pt x="584" y="2056"/>
                        <a:pt x="584" y="2056"/>
                      </a:cubicBezTo>
                      <a:cubicBezTo>
                        <a:pt x="588" y="2048"/>
                        <a:pt x="592" y="2040"/>
                        <a:pt x="596" y="2031"/>
                      </a:cubicBezTo>
                      <a:cubicBezTo>
                        <a:pt x="597" y="2030"/>
                        <a:pt x="598" y="2029"/>
                        <a:pt x="598" y="2027"/>
                      </a:cubicBezTo>
                      <a:cubicBezTo>
                        <a:pt x="601" y="2021"/>
                        <a:pt x="601" y="2021"/>
                        <a:pt x="601" y="2021"/>
                      </a:cubicBezTo>
                      <a:cubicBezTo>
                        <a:pt x="603" y="2018"/>
                        <a:pt x="605" y="2016"/>
                        <a:pt x="607" y="2014"/>
                      </a:cubicBezTo>
                      <a:cubicBezTo>
                        <a:pt x="608" y="2013"/>
                        <a:pt x="609" y="2013"/>
                        <a:pt x="609" y="2012"/>
                      </a:cubicBezTo>
                      <a:cubicBezTo>
                        <a:pt x="610" y="2012"/>
                        <a:pt x="610" y="2012"/>
                        <a:pt x="610" y="2011"/>
                      </a:cubicBezTo>
                      <a:cubicBezTo>
                        <a:pt x="611" y="2011"/>
                        <a:pt x="612" y="2011"/>
                        <a:pt x="612" y="2010"/>
                      </a:cubicBezTo>
                      <a:cubicBezTo>
                        <a:pt x="612" y="2010"/>
                        <a:pt x="612" y="2010"/>
                        <a:pt x="613" y="2010"/>
                      </a:cubicBezTo>
                      <a:cubicBezTo>
                        <a:pt x="613" y="2010"/>
                        <a:pt x="613" y="2010"/>
                        <a:pt x="614" y="2009"/>
                      </a:cubicBezTo>
                      <a:cubicBezTo>
                        <a:pt x="615" y="2009"/>
                        <a:pt x="616" y="2008"/>
                        <a:pt x="617" y="2008"/>
                      </a:cubicBezTo>
                      <a:cubicBezTo>
                        <a:pt x="617" y="2008"/>
                        <a:pt x="618" y="2007"/>
                        <a:pt x="618" y="2007"/>
                      </a:cubicBezTo>
                      <a:cubicBezTo>
                        <a:pt x="619" y="2007"/>
                        <a:pt x="620" y="2007"/>
                        <a:pt x="621" y="2006"/>
                      </a:cubicBezTo>
                      <a:cubicBezTo>
                        <a:pt x="622" y="2006"/>
                        <a:pt x="623" y="2005"/>
                        <a:pt x="625" y="2005"/>
                      </a:cubicBezTo>
                      <a:cubicBezTo>
                        <a:pt x="625" y="2005"/>
                        <a:pt x="626" y="2004"/>
                        <a:pt x="627" y="2004"/>
                      </a:cubicBezTo>
                      <a:cubicBezTo>
                        <a:pt x="627" y="2004"/>
                        <a:pt x="628" y="2004"/>
                        <a:pt x="628" y="2004"/>
                      </a:cubicBezTo>
                      <a:cubicBezTo>
                        <a:pt x="632" y="2003"/>
                        <a:pt x="636" y="2002"/>
                        <a:pt x="640" y="2002"/>
                      </a:cubicBezTo>
                      <a:cubicBezTo>
                        <a:pt x="640" y="2002"/>
                        <a:pt x="1008" y="2001"/>
                        <a:pt x="1021" y="2001"/>
                      </a:cubicBezTo>
                      <a:cubicBezTo>
                        <a:pt x="1026" y="2001"/>
                        <a:pt x="1030" y="2001"/>
                        <a:pt x="1034" y="2001"/>
                      </a:cubicBezTo>
                      <a:cubicBezTo>
                        <a:pt x="1036" y="2001"/>
                        <a:pt x="1038" y="2002"/>
                        <a:pt x="1040" y="2002"/>
                      </a:cubicBezTo>
                      <a:cubicBezTo>
                        <a:pt x="1040" y="2002"/>
                        <a:pt x="1040" y="2002"/>
                        <a:pt x="1041" y="2002"/>
                      </a:cubicBezTo>
                      <a:cubicBezTo>
                        <a:pt x="1042" y="2002"/>
                        <a:pt x="1044" y="2002"/>
                        <a:pt x="1045" y="2003"/>
                      </a:cubicBezTo>
                      <a:cubicBezTo>
                        <a:pt x="1045" y="2003"/>
                        <a:pt x="1046" y="2003"/>
                        <a:pt x="1046" y="2003"/>
                      </a:cubicBezTo>
                      <a:cubicBezTo>
                        <a:pt x="1046" y="2003"/>
                        <a:pt x="1046" y="2003"/>
                        <a:pt x="1046" y="2003"/>
                      </a:cubicBezTo>
                      <a:cubicBezTo>
                        <a:pt x="1048" y="2003"/>
                        <a:pt x="1049" y="2004"/>
                        <a:pt x="1050" y="2004"/>
                      </a:cubicBezTo>
                      <a:cubicBezTo>
                        <a:pt x="1050" y="2004"/>
                        <a:pt x="1051" y="2005"/>
                        <a:pt x="1051" y="2005"/>
                      </a:cubicBezTo>
                      <a:cubicBezTo>
                        <a:pt x="1052" y="2005"/>
                        <a:pt x="1053" y="2006"/>
                        <a:pt x="1054" y="2006"/>
                      </a:cubicBezTo>
                      <a:cubicBezTo>
                        <a:pt x="1055" y="2006"/>
                        <a:pt x="1055" y="2007"/>
                        <a:pt x="1055" y="2007"/>
                      </a:cubicBezTo>
                      <a:cubicBezTo>
                        <a:pt x="1055" y="2007"/>
                        <a:pt x="1055" y="2007"/>
                        <a:pt x="1056" y="2007"/>
                      </a:cubicBezTo>
                      <a:cubicBezTo>
                        <a:pt x="1056" y="2008"/>
                        <a:pt x="1057" y="2008"/>
                        <a:pt x="1058" y="2009"/>
                      </a:cubicBezTo>
                      <a:cubicBezTo>
                        <a:pt x="1059" y="2010"/>
                        <a:pt x="1061" y="2011"/>
                        <a:pt x="1061" y="2013"/>
                      </a:cubicBezTo>
                      <a:cubicBezTo>
                        <a:pt x="1063" y="2015"/>
                        <a:pt x="1064" y="2017"/>
                        <a:pt x="1064" y="2020"/>
                      </a:cubicBezTo>
                      <a:cubicBezTo>
                        <a:pt x="1064" y="2022"/>
                        <a:pt x="1064" y="2022"/>
                        <a:pt x="1064" y="2022"/>
                      </a:cubicBezTo>
                      <a:cubicBezTo>
                        <a:pt x="1064" y="2022"/>
                        <a:pt x="1064" y="2022"/>
                        <a:pt x="1064" y="2022"/>
                      </a:cubicBezTo>
                      <a:cubicBezTo>
                        <a:pt x="1064" y="2031"/>
                        <a:pt x="1064" y="2040"/>
                        <a:pt x="1064" y="2049"/>
                      </a:cubicBezTo>
                      <a:cubicBezTo>
                        <a:pt x="1064" y="2051"/>
                        <a:pt x="1064" y="2054"/>
                        <a:pt x="1064" y="2056"/>
                      </a:cubicBezTo>
                      <a:close/>
                      <a:moveTo>
                        <a:pt x="1114" y="1878"/>
                      </a:moveTo>
                      <a:cubicBezTo>
                        <a:pt x="1114" y="1878"/>
                        <a:pt x="1114" y="1877"/>
                        <a:pt x="1113" y="1877"/>
                      </a:cubicBezTo>
                      <a:cubicBezTo>
                        <a:pt x="1113" y="1877"/>
                        <a:pt x="1113" y="1877"/>
                        <a:pt x="1113" y="1877"/>
                      </a:cubicBezTo>
                      <a:cubicBezTo>
                        <a:pt x="1112" y="1875"/>
                        <a:pt x="1111" y="1873"/>
                        <a:pt x="1111" y="1871"/>
                      </a:cubicBezTo>
                      <a:cubicBezTo>
                        <a:pt x="1111" y="1870"/>
                        <a:pt x="1111" y="1870"/>
                        <a:pt x="1111" y="1870"/>
                      </a:cubicBezTo>
                      <a:cubicBezTo>
                        <a:pt x="1110" y="1868"/>
                        <a:pt x="1110" y="1867"/>
                        <a:pt x="1110" y="1866"/>
                      </a:cubicBezTo>
                      <a:cubicBezTo>
                        <a:pt x="1110" y="1866"/>
                        <a:pt x="1110" y="1866"/>
                        <a:pt x="1110" y="1866"/>
                      </a:cubicBezTo>
                      <a:cubicBezTo>
                        <a:pt x="1110" y="1861"/>
                        <a:pt x="1109" y="1855"/>
                        <a:pt x="1109" y="1849"/>
                      </a:cubicBezTo>
                      <a:cubicBezTo>
                        <a:pt x="1109" y="1848"/>
                        <a:pt x="1109" y="1848"/>
                        <a:pt x="1109" y="1848"/>
                      </a:cubicBezTo>
                      <a:cubicBezTo>
                        <a:pt x="1109" y="1846"/>
                        <a:pt x="1109" y="1844"/>
                        <a:pt x="1110" y="1843"/>
                      </a:cubicBezTo>
                      <a:cubicBezTo>
                        <a:pt x="1112" y="1841"/>
                        <a:pt x="1113" y="1840"/>
                        <a:pt x="1115" y="1839"/>
                      </a:cubicBezTo>
                      <a:cubicBezTo>
                        <a:pt x="1118" y="1838"/>
                        <a:pt x="1120" y="1837"/>
                        <a:pt x="1123" y="1836"/>
                      </a:cubicBezTo>
                      <a:cubicBezTo>
                        <a:pt x="1123" y="1836"/>
                        <a:pt x="1123" y="1836"/>
                        <a:pt x="1123" y="1836"/>
                      </a:cubicBezTo>
                      <a:cubicBezTo>
                        <a:pt x="1123" y="1836"/>
                        <a:pt x="1123" y="1836"/>
                        <a:pt x="1123" y="1836"/>
                      </a:cubicBezTo>
                      <a:cubicBezTo>
                        <a:pt x="1124" y="1836"/>
                        <a:pt x="1125" y="1836"/>
                        <a:pt x="1126" y="1836"/>
                      </a:cubicBezTo>
                      <a:cubicBezTo>
                        <a:pt x="1127" y="1836"/>
                        <a:pt x="1127" y="1836"/>
                        <a:pt x="1128" y="1836"/>
                      </a:cubicBezTo>
                      <a:cubicBezTo>
                        <a:pt x="1133" y="1835"/>
                        <a:pt x="1138" y="1835"/>
                        <a:pt x="1143" y="1835"/>
                      </a:cubicBezTo>
                      <a:cubicBezTo>
                        <a:pt x="1176" y="1835"/>
                        <a:pt x="1176" y="1835"/>
                        <a:pt x="1176" y="1835"/>
                      </a:cubicBezTo>
                      <a:cubicBezTo>
                        <a:pt x="1178" y="1835"/>
                        <a:pt x="1180" y="1835"/>
                        <a:pt x="1182" y="1836"/>
                      </a:cubicBezTo>
                      <a:cubicBezTo>
                        <a:pt x="1191" y="1837"/>
                        <a:pt x="1201" y="1839"/>
                        <a:pt x="1203" y="1848"/>
                      </a:cubicBezTo>
                      <a:cubicBezTo>
                        <a:pt x="1205" y="1855"/>
                        <a:pt x="1206" y="1863"/>
                        <a:pt x="1207" y="1870"/>
                      </a:cubicBezTo>
                      <a:cubicBezTo>
                        <a:pt x="1207" y="1871"/>
                        <a:pt x="1207" y="1871"/>
                        <a:pt x="1207" y="1871"/>
                      </a:cubicBezTo>
                      <a:cubicBezTo>
                        <a:pt x="1208" y="1873"/>
                        <a:pt x="1207" y="1874"/>
                        <a:pt x="1207" y="1876"/>
                      </a:cubicBezTo>
                      <a:cubicBezTo>
                        <a:pt x="1207" y="1876"/>
                        <a:pt x="1207" y="1876"/>
                        <a:pt x="1206" y="1876"/>
                      </a:cubicBezTo>
                      <a:cubicBezTo>
                        <a:pt x="1206" y="1876"/>
                        <a:pt x="1206" y="1876"/>
                        <a:pt x="1206" y="1876"/>
                      </a:cubicBezTo>
                      <a:cubicBezTo>
                        <a:pt x="1206" y="1877"/>
                        <a:pt x="1206" y="1877"/>
                        <a:pt x="1206" y="1877"/>
                      </a:cubicBezTo>
                      <a:cubicBezTo>
                        <a:pt x="1204" y="1880"/>
                        <a:pt x="1200" y="1882"/>
                        <a:pt x="1195" y="1883"/>
                      </a:cubicBezTo>
                      <a:cubicBezTo>
                        <a:pt x="1195" y="1883"/>
                        <a:pt x="1195" y="1884"/>
                        <a:pt x="1194" y="1884"/>
                      </a:cubicBezTo>
                      <a:cubicBezTo>
                        <a:pt x="1194" y="1884"/>
                        <a:pt x="1193" y="1884"/>
                        <a:pt x="1193" y="1884"/>
                      </a:cubicBezTo>
                      <a:cubicBezTo>
                        <a:pt x="1192" y="1884"/>
                        <a:pt x="1192" y="1884"/>
                        <a:pt x="1192" y="1884"/>
                      </a:cubicBezTo>
                      <a:cubicBezTo>
                        <a:pt x="1191" y="1884"/>
                        <a:pt x="1190" y="1884"/>
                        <a:pt x="1189" y="1885"/>
                      </a:cubicBezTo>
                      <a:cubicBezTo>
                        <a:pt x="1178" y="1886"/>
                        <a:pt x="1164" y="1885"/>
                        <a:pt x="1158" y="1885"/>
                      </a:cubicBezTo>
                      <a:cubicBezTo>
                        <a:pt x="1137" y="1885"/>
                        <a:pt x="1137" y="1885"/>
                        <a:pt x="1137" y="1885"/>
                      </a:cubicBezTo>
                      <a:cubicBezTo>
                        <a:pt x="1135" y="1885"/>
                        <a:pt x="1134" y="1885"/>
                        <a:pt x="1132" y="1885"/>
                      </a:cubicBezTo>
                      <a:cubicBezTo>
                        <a:pt x="1131" y="1884"/>
                        <a:pt x="1130" y="1884"/>
                        <a:pt x="1128" y="1884"/>
                      </a:cubicBezTo>
                      <a:cubicBezTo>
                        <a:pt x="1128" y="1884"/>
                        <a:pt x="1128" y="1884"/>
                        <a:pt x="1127" y="1884"/>
                      </a:cubicBezTo>
                      <a:cubicBezTo>
                        <a:pt x="1127" y="1884"/>
                        <a:pt x="1127" y="1884"/>
                        <a:pt x="1127" y="1884"/>
                      </a:cubicBezTo>
                      <a:cubicBezTo>
                        <a:pt x="1126" y="1883"/>
                        <a:pt x="1125" y="1883"/>
                        <a:pt x="1123" y="1883"/>
                      </a:cubicBezTo>
                      <a:cubicBezTo>
                        <a:pt x="1123" y="1883"/>
                        <a:pt x="1122" y="1882"/>
                        <a:pt x="1122" y="1882"/>
                      </a:cubicBezTo>
                      <a:cubicBezTo>
                        <a:pt x="1121" y="1882"/>
                        <a:pt x="1120" y="1881"/>
                        <a:pt x="1119" y="1881"/>
                      </a:cubicBezTo>
                      <a:cubicBezTo>
                        <a:pt x="1117" y="1880"/>
                        <a:pt x="1116" y="1879"/>
                        <a:pt x="1115" y="1878"/>
                      </a:cubicBezTo>
                      <a:cubicBezTo>
                        <a:pt x="1115" y="1878"/>
                        <a:pt x="1114" y="1878"/>
                        <a:pt x="1114" y="1878"/>
                      </a:cubicBezTo>
                      <a:close/>
                      <a:moveTo>
                        <a:pt x="1120" y="1961"/>
                      </a:moveTo>
                      <a:cubicBezTo>
                        <a:pt x="1118" y="1959"/>
                        <a:pt x="1117" y="1957"/>
                        <a:pt x="1117" y="1955"/>
                      </a:cubicBezTo>
                      <a:cubicBezTo>
                        <a:pt x="1117" y="1952"/>
                        <a:pt x="1117" y="1952"/>
                        <a:pt x="1117" y="1952"/>
                      </a:cubicBezTo>
                      <a:cubicBezTo>
                        <a:pt x="1117" y="1952"/>
                        <a:pt x="1117" y="1952"/>
                        <a:pt x="1117" y="1952"/>
                      </a:cubicBezTo>
                      <a:cubicBezTo>
                        <a:pt x="1116" y="1943"/>
                        <a:pt x="1116" y="1935"/>
                        <a:pt x="1115" y="1926"/>
                      </a:cubicBezTo>
                      <a:cubicBezTo>
                        <a:pt x="1115" y="1926"/>
                        <a:pt x="1115" y="1926"/>
                        <a:pt x="1115" y="1926"/>
                      </a:cubicBezTo>
                      <a:cubicBezTo>
                        <a:pt x="1115" y="1926"/>
                        <a:pt x="1115" y="1926"/>
                        <a:pt x="1115" y="1926"/>
                      </a:cubicBezTo>
                      <a:cubicBezTo>
                        <a:pt x="1115" y="1925"/>
                        <a:pt x="1115" y="1925"/>
                        <a:pt x="1115" y="1924"/>
                      </a:cubicBezTo>
                      <a:cubicBezTo>
                        <a:pt x="1117" y="1906"/>
                        <a:pt x="1155" y="1911"/>
                        <a:pt x="1167" y="1911"/>
                      </a:cubicBezTo>
                      <a:cubicBezTo>
                        <a:pt x="1181" y="1911"/>
                        <a:pt x="1208" y="1907"/>
                        <a:pt x="1216" y="1921"/>
                      </a:cubicBezTo>
                      <a:cubicBezTo>
                        <a:pt x="1217" y="1923"/>
                        <a:pt x="1218" y="1924"/>
                        <a:pt x="1218" y="1925"/>
                      </a:cubicBezTo>
                      <a:cubicBezTo>
                        <a:pt x="1219" y="1927"/>
                        <a:pt x="1219" y="1927"/>
                        <a:pt x="1219" y="1927"/>
                      </a:cubicBezTo>
                      <a:cubicBezTo>
                        <a:pt x="1219" y="1927"/>
                        <a:pt x="1219" y="1927"/>
                        <a:pt x="1219" y="1927"/>
                      </a:cubicBezTo>
                      <a:cubicBezTo>
                        <a:pt x="1219" y="1931"/>
                        <a:pt x="1220" y="1936"/>
                        <a:pt x="1221" y="1940"/>
                      </a:cubicBezTo>
                      <a:cubicBezTo>
                        <a:pt x="1224" y="1955"/>
                        <a:pt x="1224" y="1955"/>
                        <a:pt x="1224" y="1955"/>
                      </a:cubicBezTo>
                      <a:cubicBezTo>
                        <a:pt x="1225" y="1957"/>
                        <a:pt x="1224" y="1959"/>
                        <a:pt x="1223" y="1961"/>
                      </a:cubicBezTo>
                      <a:cubicBezTo>
                        <a:pt x="1223" y="1962"/>
                        <a:pt x="1222" y="1963"/>
                        <a:pt x="1220" y="1964"/>
                      </a:cubicBezTo>
                      <a:cubicBezTo>
                        <a:pt x="1220" y="1965"/>
                        <a:pt x="1219" y="1965"/>
                        <a:pt x="1219" y="1966"/>
                      </a:cubicBezTo>
                      <a:cubicBezTo>
                        <a:pt x="1219" y="1966"/>
                        <a:pt x="1218" y="1966"/>
                        <a:pt x="1218" y="1966"/>
                      </a:cubicBezTo>
                      <a:cubicBezTo>
                        <a:pt x="1218" y="1966"/>
                        <a:pt x="1218" y="1966"/>
                        <a:pt x="1218" y="1967"/>
                      </a:cubicBezTo>
                      <a:cubicBezTo>
                        <a:pt x="1217" y="1967"/>
                        <a:pt x="1216" y="1967"/>
                        <a:pt x="1215" y="1968"/>
                      </a:cubicBezTo>
                      <a:cubicBezTo>
                        <a:pt x="1215" y="1968"/>
                        <a:pt x="1214" y="1968"/>
                        <a:pt x="1213" y="1969"/>
                      </a:cubicBezTo>
                      <a:cubicBezTo>
                        <a:pt x="1213" y="1969"/>
                        <a:pt x="1212" y="1969"/>
                        <a:pt x="1212" y="1969"/>
                      </a:cubicBezTo>
                      <a:cubicBezTo>
                        <a:pt x="1211" y="1969"/>
                        <a:pt x="1211" y="1970"/>
                        <a:pt x="1210" y="1970"/>
                      </a:cubicBezTo>
                      <a:cubicBezTo>
                        <a:pt x="1209" y="1970"/>
                        <a:pt x="1209" y="1970"/>
                        <a:pt x="1208" y="1970"/>
                      </a:cubicBezTo>
                      <a:cubicBezTo>
                        <a:pt x="1208" y="1970"/>
                        <a:pt x="1207" y="1970"/>
                        <a:pt x="1207" y="1970"/>
                      </a:cubicBezTo>
                      <a:cubicBezTo>
                        <a:pt x="1206" y="1971"/>
                        <a:pt x="1205" y="1971"/>
                        <a:pt x="1204" y="1971"/>
                      </a:cubicBezTo>
                      <a:cubicBezTo>
                        <a:pt x="1202" y="1971"/>
                        <a:pt x="1201" y="1971"/>
                        <a:pt x="1199" y="1971"/>
                      </a:cubicBezTo>
                      <a:cubicBezTo>
                        <a:pt x="1199" y="1971"/>
                        <a:pt x="1199" y="1971"/>
                        <a:pt x="1199" y="1971"/>
                      </a:cubicBezTo>
                      <a:cubicBezTo>
                        <a:pt x="1199" y="1971"/>
                        <a:pt x="1199" y="1971"/>
                        <a:pt x="1199" y="1971"/>
                      </a:cubicBezTo>
                      <a:cubicBezTo>
                        <a:pt x="1181" y="1971"/>
                        <a:pt x="1164" y="1971"/>
                        <a:pt x="1147" y="1971"/>
                      </a:cubicBezTo>
                      <a:cubicBezTo>
                        <a:pt x="1145" y="1971"/>
                        <a:pt x="1143" y="1971"/>
                        <a:pt x="1141" y="1971"/>
                      </a:cubicBezTo>
                      <a:cubicBezTo>
                        <a:pt x="1141" y="1971"/>
                        <a:pt x="1140" y="1971"/>
                        <a:pt x="1140" y="1971"/>
                      </a:cubicBezTo>
                      <a:cubicBezTo>
                        <a:pt x="1139" y="1971"/>
                        <a:pt x="1137" y="1970"/>
                        <a:pt x="1136" y="1970"/>
                      </a:cubicBezTo>
                      <a:cubicBezTo>
                        <a:pt x="1136" y="1970"/>
                        <a:pt x="1136" y="1970"/>
                        <a:pt x="1136" y="1970"/>
                      </a:cubicBezTo>
                      <a:cubicBezTo>
                        <a:pt x="1135" y="1970"/>
                        <a:pt x="1135" y="1970"/>
                        <a:pt x="1135" y="1970"/>
                      </a:cubicBezTo>
                      <a:cubicBezTo>
                        <a:pt x="1134" y="1969"/>
                        <a:pt x="1132" y="1969"/>
                        <a:pt x="1131" y="1969"/>
                      </a:cubicBezTo>
                      <a:cubicBezTo>
                        <a:pt x="1130" y="1968"/>
                        <a:pt x="1130" y="1968"/>
                        <a:pt x="1129" y="1968"/>
                      </a:cubicBezTo>
                      <a:cubicBezTo>
                        <a:pt x="1128" y="1967"/>
                        <a:pt x="1128" y="1967"/>
                        <a:pt x="1127" y="1967"/>
                      </a:cubicBezTo>
                      <a:cubicBezTo>
                        <a:pt x="1127" y="1967"/>
                        <a:pt x="1126" y="1967"/>
                        <a:pt x="1126" y="1966"/>
                      </a:cubicBezTo>
                      <a:cubicBezTo>
                        <a:pt x="1124" y="1965"/>
                        <a:pt x="1121" y="1963"/>
                        <a:pt x="1120" y="1961"/>
                      </a:cubicBezTo>
                      <a:close/>
                      <a:moveTo>
                        <a:pt x="1244" y="2063"/>
                      </a:moveTo>
                      <a:cubicBezTo>
                        <a:pt x="1243" y="2066"/>
                        <a:pt x="1241" y="2068"/>
                        <a:pt x="1238" y="2070"/>
                      </a:cubicBezTo>
                      <a:cubicBezTo>
                        <a:pt x="1236" y="2072"/>
                        <a:pt x="1233" y="2074"/>
                        <a:pt x="1229" y="2075"/>
                      </a:cubicBezTo>
                      <a:cubicBezTo>
                        <a:pt x="1225" y="2076"/>
                        <a:pt x="1221" y="2076"/>
                        <a:pt x="1217" y="2076"/>
                      </a:cubicBezTo>
                      <a:cubicBezTo>
                        <a:pt x="1205" y="2076"/>
                        <a:pt x="1205" y="2076"/>
                        <a:pt x="1205" y="2076"/>
                      </a:cubicBezTo>
                      <a:cubicBezTo>
                        <a:pt x="1205" y="2076"/>
                        <a:pt x="1205" y="2076"/>
                        <a:pt x="1205" y="2076"/>
                      </a:cubicBezTo>
                      <a:cubicBezTo>
                        <a:pt x="1189" y="2076"/>
                        <a:pt x="1174" y="2076"/>
                        <a:pt x="1158" y="2077"/>
                      </a:cubicBezTo>
                      <a:cubicBezTo>
                        <a:pt x="1156" y="2077"/>
                        <a:pt x="1154" y="2076"/>
                        <a:pt x="1152" y="2076"/>
                      </a:cubicBezTo>
                      <a:cubicBezTo>
                        <a:pt x="1152" y="2076"/>
                        <a:pt x="1151" y="2076"/>
                        <a:pt x="1151" y="2076"/>
                      </a:cubicBezTo>
                      <a:cubicBezTo>
                        <a:pt x="1149" y="2076"/>
                        <a:pt x="1148" y="2075"/>
                        <a:pt x="1146" y="2075"/>
                      </a:cubicBezTo>
                      <a:cubicBezTo>
                        <a:pt x="1146" y="2075"/>
                        <a:pt x="1146" y="2075"/>
                        <a:pt x="1146" y="2075"/>
                      </a:cubicBezTo>
                      <a:cubicBezTo>
                        <a:pt x="1145" y="2075"/>
                        <a:pt x="1145" y="2075"/>
                        <a:pt x="1145" y="2075"/>
                      </a:cubicBezTo>
                      <a:cubicBezTo>
                        <a:pt x="1138" y="2073"/>
                        <a:pt x="1132" y="2069"/>
                        <a:pt x="1128" y="2064"/>
                      </a:cubicBezTo>
                      <a:cubicBezTo>
                        <a:pt x="1128" y="2064"/>
                        <a:pt x="1128" y="2064"/>
                        <a:pt x="1128" y="2064"/>
                      </a:cubicBezTo>
                      <a:cubicBezTo>
                        <a:pt x="1128" y="2064"/>
                        <a:pt x="1128" y="2064"/>
                        <a:pt x="1128" y="2064"/>
                      </a:cubicBezTo>
                      <a:cubicBezTo>
                        <a:pt x="1127" y="2063"/>
                        <a:pt x="1126" y="2062"/>
                        <a:pt x="1126" y="2060"/>
                      </a:cubicBezTo>
                      <a:cubicBezTo>
                        <a:pt x="1126" y="2060"/>
                        <a:pt x="1126" y="2059"/>
                        <a:pt x="1125" y="2059"/>
                      </a:cubicBezTo>
                      <a:cubicBezTo>
                        <a:pt x="1125" y="2058"/>
                        <a:pt x="1125" y="2057"/>
                        <a:pt x="1125" y="2057"/>
                      </a:cubicBezTo>
                      <a:cubicBezTo>
                        <a:pt x="1125" y="2056"/>
                        <a:pt x="1125" y="2056"/>
                        <a:pt x="1125" y="2056"/>
                      </a:cubicBezTo>
                      <a:cubicBezTo>
                        <a:pt x="1125" y="2055"/>
                        <a:pt x="1125" y="2055"/>
                        <a:pt x="1125" y="2055"/>
                      </a:cubicBezTo>
                      <a:cubicBezTo>
                        <a:pt x="1125" y="2055"/>
                        <a:pt x="1125" y="2055"/>
                        <a:pt x="1125" y="2055"/>
                      </a:cubicBezTo>
                      <a:cubicBezTo>
                        <a:pt x="1124" y="2046"/>
                        <a:pt x="1123" y="2037"/>
                        <a:pt x="1123" y="2029"/>
                      </a:cubicBezTo>
                      <a:cubicBezTo>
                        <a:pt x="1123" y="2027"/>
                        <a:pt x="1122" y="2026"/>
                        <a:pt x="1122" y="2024"/>
                      </a:cubicBezTo>
                      <a:cubicBezTo>
                        <a:pt x="1122" y="2020"/>
                        <a:pt x="1122" y="2020"/>
                        <a:pt x="1122" y="2020"/>
                      </a:cubicBezTo>
                      <a:cubicBezTo>
                        <a:pt x="1122" y="2019"/>
                        <a:pt x="1122" y="2019"/>
                        <a:pt x="1122" y="2019"/>
                      </a:cubicBezTo>
                      <a:cubicBezTo>
                        <a:pt x="1122" y="2018"/>
                        <a:pt x="1122" y="2017"/>
                        <a:pt x="1122" y="2016"/>
                      </a:cubicBezTo>
                      <a:cubicBezTo>
                        <a:pt x="1122" y="2016"/>
                        <a:pt x="1123" y="2016"/>
                        <a:pt x="1123" y="2015"/>
                      </a:cubicBezTo>
                      <a:cubicBezTo>
                        <a:pt x="1123" y="2014"/>
                        <a:pt x="1123" y="2014"/>
                        <a:pt x="1123" y="2013"/>
                      </a:cubicBezTo>
                      <a:cubicBezTo>
                        <a:pt x="1124" y="2013"/>
                        <a:pt x="1124" y="2013"/>
                        <a:pt x="1124" y="2012"/>
                      </a:cubicBezTo>
                      <a:cubicBezTo>
                        <a:pt x="1124" y="2012"/>
                        <a:pt x="1124" y="2012"/>
                        <a:pt x="1124" y="2012"/>
                      </a:cubicBezTo>
                      <a:cubicBezTo>
                        <a:pt x="1125" y="2011"/>
                        <a:pt x="1125" y="2010"/>
                        <a:pt x="1126" y="2010"/>
                      </a:cubicBezTo>
                      <a:cubicBezTo>
                        <a:pt x="1126" y="2009"/>
                        <a:pt x="1127" y="2009"/>
                        <a:pt x="1127" y="2009"/>
                      </a:cubicBezTo>
                      <a:cubicBezTo>
                        <a:pt x="1128" y="2008"/>
                        <a:pt x="1128" y="2008"/>
                        <a:pt x="1129" y="2007"/>
                      </a:cubicBezTo>
                      <a:cubicBezTo>
                        <a:pt x="1129" y="2007"/>
                        <a:pt x="1129" y="2007"/>
                        <a:pt x="1130" y="2006"/>
                      </a:cubicBezTo>
                      <a:cubicBezTo>
                        <a:pt x="1130" y="2006"/>
                        <a:pt x="1130" y="2006"/>
                        <a:pt x="1130" y="2006"/>
                      </a:cubicBezTo>
                      <a:cubicBezTo>
                        <a:pt x="1131" y="2006"/>
                        <a:pt x="1132" y="2005"/>
                        <a:pt x="1133" y="2004"/>
                      </a:cubicBezTo>
                      <a:cubicBezTo>
                        <a:pt x="1134" y="2004"/>
                        <a:pt x="1134" y="2004"/>
                        <a:pt x="1134" y="2004"/>
                      </a:cubicBezTo>
                      <a:cubicBezTo>
                        <a:pt x="1134" y="2004"/>
                        <a:pt x="1135" y="2004"/>
                        <a:pt x="1135" y="2004"/>
                      </a:cubicBezTo>
                      <a:cubicBezTo>
                        <a:pt x="1135" y="2004"/>
                        <a:pt x="1135" y="2004"/>
                        <a:pt x="1136" y="2004"/>
                      </a:cubicBezTo>
                      <a:cubicBezTo>
                        <a:pt x="1137" y="2003"/>
                        <a:pt x="1138" y="2003"/>
                        <a:pt x="1139" y="2003"/>
                      </a:cubicBezTo>
                      <a:cubicBezTo>
                        <a:pt x="1139" y="2002"/>
                        <a:pt x="1140" y="2002"/>
                        <a:pt x="1140" y="2002"/>
                      </a:cubicBezTo>
                      <a:cubicBezTo>
                        <a:pt x="1141" y="2002"/>
                        <a:pt x="1141" y="2002"/>
                        <a:pt x="1142" y="2002"/>
                      </a:cubicBezTo>
                      <a:cubicBezTo>
                        <a:pt x="1143" y="2002"/>
                        <a:pt x="1145" y="2001"/>
                        <a:pt x="1147" y="2001"/>
                      </a:cubicBezTo>
                      <a:cubicBezTo>
                        <a:pt x="1147" y="2001"/>
                        <a:pt x="1148" y="2001"/>
                        <a:pt x="1148" y="2001"/>
                      </a:cubicBezTo>
                      <a:cubicBezTo>
                        <a:pt x="1149" y="2001"/>
                        <a:pt x="1149" y="2001"/>
                        <a:pt x="1150" y="2001"/>
                      </a:cubicBezTo>
                      <a:cubicBezTo>
                        <a:pt x="1153" y="2001"/>
                        <a:pt x="1153" y="2001"/>
                        <a:pt x="1153" y="2001"/>
                      </a:cubicBezTo>
                      <a:cubicBezTo>
                        <a:pt x="1155" y="2001"/>
                        <a:pt x="1158" y="2001"/>
                        <a:pt x="1160" y="2001"/>
                      </a:cubicBezTo>
                      <a:cubicBezTo>
                        <a:pt x="1163" y="2001"/>
                        <a:pt x="1165" y="2001"/>
                        <a:pt x="1168" y="2001"/>
                      </a:cubicBezTo>
                      <a:cubicBezTo>
                        <a:pt x="1191" y="2001"/>
                        <a:pt x="1191" y="2001"/>
                        <a:pt x="1191" y="2001"/>
                      </a:cubicBezTo>
                      <a:cubicBezTo>
                        <a:pt x="1197" y="2001"/>
                        <a:pt x="1203" y="2001"/>
                        <a:pt x="1209" y="2001"/>
                      </a:cubicBezTo>
                      <a:cubicBezTo>
                        <a:pt x="1210" y="2001"/>
                        <a:pt x="1211" y="2001"/>
                        <a:pt x="1212" y="2002"/>
                      </a:cubicBezTo>
                      <a:cubicBezTo>
                        <a:pt x="1212" y="2002"/>
                        <a:pt x="1213" y="2002"/>
                        <a:pt x="1214" y="2002"/>
                      </a:cubicBezTo>
                      <a:cubicBezTo>
                        <a:pt x="1214" y="2002"/>
                        <a:pt x="1214" y="2002"/>
                        <a:pt x="1215" y="2002"/>
                      </a:cubicBezTo>
                      <a:cubicBezTo>
                        <a:pt x="1215" y="2002"/>
                        <a:pt x="1216" y="2002"/>
                        <a:pt x="1216" y="2002"/>
                      </a:cubicBezTo>
                      <a:cubicBezTo>
                        <a:pt x="1216" y="2002"/>
                        <a:pt x="1216" y="2003"/>
                        <a:pt x="1217" y="2003"/>
                      </a:cubicBezTo>
                      <a:cubicBezTo>
                        <a:pt x="1218" y="2003"/>
                        <a:pt x="1219" y="2003"/>
                        <a:pt x="1220" y="2004"/>
                      </a:cubicBezTo>
                      <a:cubicBezTo>
                        <a:pt x="1221" y="2004"/>
                        <a:pt x="1221" y="2004"/>
                        <a:pt x="1222" y="2004"/>
                      </a:cubicBezTo>
                      <a:cubicBezTo>
                        <a:pt x="1222" y="2005"/>
                        <a:pt x="1223" y="2005"/>
                        <a:pt x="1223" y="2005"/>
                      </a:cubicBezTo>
                      <a:cubicBezTo>
                        <a:pt x="1224" y="2005"/>
                        <a:pt x="1225" y="2006"/>
                        <a:pt x="1226" y="2006"/>
                      </a:cubicBezTo>
                      <a:cubicBezTo>
                        <a:pt x="1229" y="2008"/>
                        <a:pt x="1231" y="2010"/>
                        <a:pt x="1233" y="2012"/>
                      </a:cubicBezTo>
                      <a:cubicBezTo>
                        <a:pt x="1235" y="2014"/>
                        <a:pt x="1237" y="2017"/>
                        <a:pt x="1237" y="2019"/>
                      </a:cubicBezTo>
                      <a:cubicBezTo>
                        <a:pt x="1240" y="2034"/>
                        <a:pt x="1240" y="2034"/>
                        <a:pt x="1240" y="2034"/>
                      </a:cubicBezTo>
                      <a:cubicBezTo>
                        <a:pt x="1241" y="2040"/>
                        <a:pt x="1243" y="2046"/>
                        <a:pt x="1244" y="2052"/>
                      </a:cubicBezTo>
                      <a:cubicBezTo>
                        <a:pt x="1244" y="2052"/>
                        <a:pt x="1244" y="2052"/>
                        <a:pt x="1244" y="2052"/>
                      </a:cubicBezTo>
                      <a:cubicBezTo>
                        <a:pt x="1244" y="2055"/>
                        <a:pt x="1244" y="2055"/>
                        <a:pt x="1244" y="2055"/>
                      </a:cubicBezTo>
                      <a:cubicBezTo>
                        <a:pt x="1245" y="2058"/>
                        <a:pt x="1245" y="2061"/>
                        <a:pt x="1244" y="2063"/>
                      </a:cubicBezTo>
                      <a:close/>
                      <a:moveTo>
                        <a:pt x="1349" y="1880"/>
                      </a:moveTo>
                      <a:cubicBezTo>
                        <a:pt x="1346" y="1879"/>
                        <a:pt x="1344" y="1878"/>
                        <a:pt x="1342" y="1876"/>
                      </a:cubicBezTo>
                      <a:cubicBezTo>
                        <a:pt x="1340" y="1875"/>
                        <a:pt x="1338" y="1873"/>
                        <a:pt x="1338" y="1871"/>
                      </a:cubicBezTo>
                      <a:cubicBezTo>
                        <a:pt x="1337" y="1868"/>
                        <a:pt x="1337" y="1868"/>
                        <a:pt x="1337" y="1868"/>
                      </a:cubicBezTo>
                      <a:cubicBezTo>
                        <a:pt x="1335" y="1863"/>
                        <a:pt x="1333" y="1859"/>
                        <a:pt x="1332" y="1854"/>
                      </a:cubicBezTo>
                      <a:cubicBezTo>
                        <a:pt x="1331" y="1852"/>
                        <a:pt x="1329" y="1848"/>
                        <a:pt x="1329" y="1845"/>
                      </a:cubicBezTo>
                      <a:cubicBezTo>
                        <a:pt x="1329" y="1845"/>
                        <a:pt x="1329" y="1845"/>
                        <a:pt x="1329" y="1844"/>
                      </a:cubicBezTo>
                      <a:cubicBezTo>
                        <a:pt x="1329" y="1844"/>
                        <a:pt x="1329" y="1844"/>
                        <a:pt x="1329" y="1844"/>
                      </a:cubicBezTo>
                      <a:cubicBezTo>
                        <a:pt x="1329" y="1844"/>
                        <a:pt x="1329" y="1843"/>
                        <a:pt x="1329" y="1843"/>
                      </a:cubicBezTo>
                      <a:cubicBezTo>
                        <a:pt x="1329" y="1843"/>
                        <a:pt x="1329" y="1843"/>
                        <a:pt x="1329" y="1842"/>
                      </a:cubicBezTo>
                      <a:cubicBezTo>
                        <a:pt x="1329" y="1842"/>
                        <a:pt x="1329" y="1842"/>
                        <a:pt x="1329" y="1842"/>
                      </a:cubicBezTo>
                      <a:cubicBezTo>
                        <a:pt x="1333" y="1834"/>
                        <a:pt x="1348" y="1835"/>
                        <a:pt x="1355" y="1835"/>
                      </a:cubicBezTo>
                      <a:cubicBezTo>
                        <a:pt x="1392" y="1835"/>
                        <a:pt x="1392" y="1835"/>
                        <a:pt x="1392" y="1835"/>
                      </a:cubicBezTo>
                      <a:cubicBezTo>
                        <a:pt x="1396" y="1835"/>
                        <a:pt x="1399" y="1835"/>
                        <a:pt x="1402" y="1836"/>
                      </a:cubicBezTo>
                      <a:cubicBezTo>
                        <a:pt x="1403" y="1836"/>
                        <a:pt x="1404" y="1836"/>
                        <a:pt x="1405" y="1836"/>
                      </a:cubicBezTo>
                      <a:cubicBezTo>
                        <a:pt x="1405" y="1836"/>
                        <a:pt x="1405" y="1837"/>
                        <a:pt x="1406" y="1837"/>
                      </a:cubicBezTo>
                      <a:cubicBezTo>
                        <a:pt x="1406" y="1837"/>
                        <a:pt x="1407" y="1837"/>
                        <a:pt x="1408" y="1837"/>
                      </a:cubicBezTo>
                      <a:cubicBezTo>
                        <a:pt x="1409" y="1837"/>
                        <a:pt x="1410" y="1838"/>
                        <a:pt x="1411" y="1838"/>
                      </a:cubicBezTo>
                      <a:cubicBezTo>
                        <a:pt x="1411" y="1838"/>
                        <a:pt x="1411" y="1838"/>
                        <a:pt x="1411" y="1838"/>
                      </a:cubicBezTo>
                      <a:cubicBezTo>
                        <a:pt x="1411" y="1838"/>
                        <a:pt x="1411" y="1838"/>
                        <a:pt x="1411" y="1838"/>
                      </a:cubicBezTo>
                      <a:cubicBezTo>
                        <a:pt x="1412" y="1839"/>
                        <a:pt x="1413" y="1839"/>
                        <a:pt x="1414" y="1840"/>
                      </a:cubicBezTo>
                      <a:cubicBezTo>
                        <a:pt x="1415" y="1840"/>
                        <a:pt x="1415" y="1840"/>
                        <a:pt x="1416" y="1841"/>
                      </a:cubicBezTo>
                      <a:cubicBezTo>
                        <a:pt x="1416" y="1841"/>
                        <a:pt x="1416" y="1841"/>
                        <a:pt x="1417" y="1841"/>
                      </a:cubicBezTo>
                      <a:cubicBezTo>
                        <a:pt x="1417" y="1841"/>
                        <a:pt x="1417" y="1841"/>
                        <a:pt x="1417" y="1842"/>
                      </a:cubicBezTo>
                      <a:cubicBezTo>
                        <a:pt x="1418" y="1842"/>
                        <a:pt x="1418" y="1842"/>
                        <a:pt x="1418" y="1842"/>
                      </a:cubicBezTo>
                      <a:cubicBezTo>
                        <a:pt x="1420" y="1844"/>
                        <a:pt x="1422" y="1845"/>
                        <a:pt x="1423" y="1847"/>
                      </a:cubicBezTo>
                      <a:cubicBezTo>
                        <a:pt x="1423" y="1847"/>
                        <a:pt x="1423" y="1847"/>
                        <a:pt x="1423" y="1847"/>
                      </a:cubicBezTo>
                      <a:cubicBezTo>
                        <a:pt x="1426" y="1852"/>
                        <a:pt x="1428" y="1859"/>
                        <a:pt x="1431" y="1864"/>
                      </a:cubicBezTo>
                      <a:cubicBezTo>
                        <a:pt x="1431" y="1864"/>
                        <a:pt x="1431" y="1864"/>
                        <a:pt x="1431" y="1864"/>
                      </a:cubicBezTo>
                      <a:cubicBezTo>
                        <a:pt x="1432" y="1867"/>
                        <a:pt x="1434" y="1870"/>
                        <a:pt x="1435" y="1873"/>
                      </a:cubicBezTo>
                      <a:cubicBezTo>
                        <a:pt x="1435" y="1873"/>
                        <a:pt x="1435" y="1873"/>
                        <a:pt x="1435" y="1873"/>
                      </a:cubicBezTo>
                      <a:cubicBezTo>
                        <a:pt x="1435" y="1873"/>
                        <a:pt x="1435" y="1873"/>
                        <a:pt x="1435" y="1874"/>
                      </a:cubicBezTo>
                      <a:cubicBezTo>
                        <a:pt x="1436" y="1879"/>
                        <a:pt x="1431" y="1882"/>
                        <a:pt x="1425" y="1883"/>
                      </a:cubicBezTo>
                      <a:cubicBezTo>
                        <a:pt x="1425" y="1883"/>
                        <a:pt x="1425" y="1883"/>
                        <a:pt x="1425" y="1883"/>
                      </a:cubicBezTo>
                      <a:cubicBezTo>
                        <a:pt x="1425" y="1883"/>
                        <a:pt x="1424" y="1883"/>
                        <a:pt x="1424" y="1883"/>
                      </a:cubicBezTo>
                      <a:cubicBezTo>
                        <a:pt x="1423" y="1884"/>
                        <a:pt x="1422" y="1884"/>
                        <a:pt x="1421" y="1884"/>
                      </a:cubicBezTo>
                      <a:cubicBezTo>
                        <a:pt x="1421" y="1884"/>
                        <a:pt x="1420" y="1884"/>
                        <a:pt x="1420" y="1884"/>
                      </a:cubicBezTo>
                      <a:cubicBezTo>
                        <a:pt x="1419" y="1884"/>
                        <a:pt x="1418" y="1884"/>
                        <a:pt x="1417" y="1884"/>
                      </a:cubicBezTo>
                      <a:cubicBezTo>
                        <a:pt x="1417" y="1884"/>
                        <a:pt x="1416" y="1884"/>
                        <a:pt x="1416" y="1884"/>
                      </a:cubicBezTo>
                      <a:cubicBezTo>
                        <a:pt x="1416" y="1884"/>
                        <a:pt x="1416" y="1884"/>
                        <a:pt x="1415" y="1884"/>
                      </a:cubicBezTo>
                      <a:cubicBezTo>
                        <a:pt x="1414" y="1884"/>
                        <a:pt x="1414" y="1884"/>
                        <a:pt x="1414" y="1884"/>
                      </a:cubicBezTo>
                      <a:cubicBezTo>
                        <a:pt x="1408" y="1884"/>
                        <a:pt x="1403" y="1884"/>
                        <a:pt x="1397" y="1884"/>
                      </a:cubicBezTo>
                      <a:cubicBezTo>
                        <a:pt x="1387" y="1884"/>
                        <a:pt x="1378" y="1884"/>
                        <a:pt x="1368" y="1884"/>
                      </a:cubicBezTo>
                      <a:cubicBezTo>
                        <a:pt x="1362" y="1884"/>
                        <a:pt x="1355" y="1883"/>
                        <a:pt x="1349" y="1880"/>
                      </a:cubicBezTo>
                      <a:cubicBezTo>
                        <a:pt x="1349" y="1880"/>
                        <a:pt x="1349" y="1880"/>
                        <a:pt x="1349" y="1880"/>
                      </a:cubicBezTo>
                      <a:close/>
                      <a:moveTo>
                        <a:pt x="1373" y="1961"/>
                      </a:moveTo>
                      <a:cubicBezTo>
                        <a:pt x="1371" y="1959"/>
                        <a:pt x="1369" y="1956"/>
                        <a:pt x="1369" y="1954"/>
                      </a:cubicBezTo>
                      <a:cubicBezTo>
                        <a:pt x="1363" y="1940"/>
                        <a:pt x="1363" y="1940"/>
                        <a:pt x="1363" y="1940"/>
                      </a:cubicBezTo>
                      <a:cubicBezTo>
                        <a:pt x="1362" y="1935"/>
                        <a:pt x="1360" y="1931"/>
                        <a:pt x="1359" y="1927"/>
                      </a:cubicBezTo>
                      <a:cubicBezTo>
                        <a:pt x="1359" y="1927"/>
                        <a:pt x="1359" y="1927"/>
                        <a:pt x="1359" y="1927"/>
                      </a:cubicBezTo>
                      <a:cubicBezTo>
                        <a:pt x="1358" y="1925"/>
                        <a:pt x="1358" y="1925"/>
                        <a:pt x="1358" y="1925"/>
                      </a:cubicBezTo>
                      <a:cubicBezTo>
                        <a:pt x="1357" y="1923"/>
                        <a:pt x="1357" y="1921"/>
                        <a:pt x="1358" y="1919"/>
                      </a:cubicBezTo>
                      <a:cubicBezTo>
                        <a:pt x="1358" y="1918"/>
                        <a:pt x="1359" y="1917"/>
                        <a:pt x="1360" y="1916"/>
                      </a:cubicBezTo>
                      <a:cubicBezTo>
                        <a:pt x="1360" y="1916"/>
                        <a:pt x="1361" y="1916"/>
                        <a:pt x="1361" y="1915"/>
                      </a:cubicBezTo>
                      <a:cubicBezTo>
                        <a:pt x="1361" y="1915"/>
                        <a:pt x="1361" y="1915"/>
                        <a:pt x="1362" y="1915"/>
                      </a:cubicBezTo>
                      <a:cubicBezTo>
                        <a:pt x="1364" y="1913"/>
                        <a:pt x="1366" y="1912"/>
                        <a:pt x="1369" y="1911"/>
                      </a:cubicBezTo>
                      <a:cubicBezTo>
                        <a:pt x="1371" y="1911"/>
                        <a:pt x="1374" y="1910"/>
                        <a:pt x="1376" y="1910"/>
                      </a:cubicBezTo>
                      <a:cubicBezTo>
                        <a:pt x="1386" y="1909"/>
                        <a:pt x="1397" y="1910"/>
                        <a:pt x="1402" y="1910"/>
                      </a:cubicBezTo>
                      <a:cubicBezTo>
                        <a:pt x="1420" y="1910"/>
                        <a:pt x="1451" y="1906"/>
                        <a:pt x="1461" y="1925"/>
                      </a:cubicBezTo>
                      <a:cubicBezTo>
                        <a:pt x="1461" y="1925"/>
                        <a:pt x="1461" y="1925"/>
                        <a:pt x="1461" y="1925"/>
                      </a:cubicBezTo>
                      <a:cubicBezTo>
                        <a:pt x="1461" y="1925"/>
                        <a:pt x="1461" y="1925"/>
                        <a:pt x="1461" y="1925"/>
                      </a:cubicBezTo>
                      <a:cubicBezTo>
                        <a:pt x="1461" y="1925"/>
                        <a:pt x="1461" y="1925"/>
                        <a:pt x="1461" y="1925"/>
                      </a:cubicBezTo>
                      <a:cubicBezTo>
                        <a:pt x="1465" y="1933"/>
                        <a:pt x="1469" y="1940"/>
                        <a:pt x="1473" y="1948"/>
                      </a:cubicBezTo>
                      <a:cubicBezTo>
                        <a:pt x="1474" y="1951"/>
                        <a:pt x="1476" y="1953"/>
                        <a:pt x="1476" y="1956"/>
                      </a:cubicBezTo>
                      <a:cubicBezTo>
                        <a:pt x="1476" y="1956"/>
                        <a:pt x="1476" y="1956"/>
                        <a:pt x="1476" y="1957"/>
                      </a:cubicBezTo>
                      <a:cubicBezTo>
                        <a:pt x="1477" y="1957"/>
                        <a:pt x="1477" y="1958"/>
                        <a:pt x="1477" y="1958"/>
                      </a:cubicBezTo>
                      <a:cubicBezTo>
                        <a:pt x="1477" y="1959"/>
                        <a:pt x="1477" y="1959"/>
                        <a:pt x="1477" y="1960"/>
                      </a:cubicBezTo>
                      <a:cubicBezTo>
                        <a:pt x="1477" y="1960"/>
                        <a:pt x="1477" y="1960"/>
                        <a:pt x="1477" y="1960"/>
                      </a:cubicBezTo>
                      <a:cubicBezTo>
                        <a:pt x="1477" y="1960"/>
                        <a:pt x="1476" y="1961"/>
                        <a:pt x="1476" y="1961"/>
                      </a:cubicBezTo>
                      <a:cubicBezTo>
                        <a:pt x="1476" y="1962"/>
                        <a:pt x="1476" y="1962"/>
                        <a:pt x="1475" y="1963"/>
                      </a:cubicBezTo>
                      <a:cubicBezTo>
                        <a:pt x="1475" y="1963"/>
                        <a:pt x="1475" y="1963"/>
                        <a:pt x="1475" y="1963"/>
                      </a:cubicBezTo>
                      <a:cubicBezTo>
                        <a:pt x="1475" y="1964"/>
                        <a:pt x="1474" y="1965"/>
                        <a:pt x="1474" y="1965"/>
                      </a:cubicBezTo>
                      <a:cubicBezTo>
                        <a:pt x="1473" y="1965"/>
                        <a:pt x="1473" y="1965"/>
                        <a:pt x="1473" y="1966"/>
                      </a:cubicBezTo>
                      <a:cubicBezTo>
                        <a:pt x="1473" y="1966"/>
                        <a:pt x="1473" y="1966"/>
                        <a:pt x="1472" y="1966"/>
                      </a:cubicBezTo>
                      <a:cubicBezTo>
                        <a:pt x="1472" y="1966"/>
                        <a:pt x="1472" y="1967"/>
                        <a:pt x="1471" y="1967"/>
                      </a:cubicBezTo>
                      <a:cubicBezTo>
                        <a:pt x="1470" y="1968"/>
                        <a:pt x="1468" y="1969"/>
                        <a:pt x="1466" y="1969"/>
                      </a:cubicBezTo>
                      <a:cubicBezTo>
                        <a:pt x="1465" y="1969"/>
                        <a:pt x="1465" y="1969"/>
                        <a:pt x="1464" y="1970"/>
                      </a:cubicBezTo>
                      <a:cubicBezTo>
                        <a:pt x="1463" y="1970"/>
                        <a:pt x="1462" y="1970"/>
                        <a:pt x="1462" y="1970"/>
                      </a:cubicBezTo>
                      <a:cubicBezTo>
                        <a:pt x="1461" y="1970"/>
                        <a:pt x="1461" y="1970"/>
                        <a:pt x="1461" y="1970"/>
                      </a:cubicBezTo>
                      <a:cubicBezTo>
                        <a:pt x="1460" y="1970"/>
                        <a:pt x="1460" y="1970"/>
                        <a:pt x="1460" y="1970"/>
                      </a:cubicBezTo>
                      <a:cubicBezTo>
                        <a:pt x="1441" y="1972"/>
                        <a:pt x="1422" y="1971"/>
                        <a:pt x="1403" y="1971"/>
                      </a:cubicBezTo>
                      <a:cubicBezTo>
                        <a:pt x="1401" y="1971"/>
                        <a:pt x="1399" y="1971"/>
                        <a:pt x="1397" y="1970"/>
                      </a:cubicBezTo>
                      <a:cubicBezTo>
                        <a:pt x="1397" y="1970"/>
                        <a:pt x="1397" y="1970"/>
                        <a:pt x="1397" y="1970"/>
                      </a:cubicBezTo>
                      <a:cubicBezTo>
                        <a:pt x="1390" y="1970"/>
                        <a:pt x="1383" y="1967"/>
                        <a:pt x="1377" y="1964"/>
                      </a:cubicBezTo>
                      <a:cubicBezTo>
                        <a:pt x="1376" y="1963"/>
                        <a:pt x="1374" y="1962"/>
                        <a:pt x="1373" y="1961"/>
                      </a:cubicBezTo>
                      <a:close/>
                      <a:moveTo>
                        <a:pt x="1527" y="2063"/>
                      </a:moveTo>
                      <a:cubicBezTo>
                        <a:pt x="1527" y="2063"/>
                        <a:pt x="1527" y="2064"/>
                        <a:pt x="1527" y="2064"/>
                      </a:cubicBezTo>
                      <a:cubicBezTo>
                        <a:pt x="1527" y="2065"/>
                        <a:pt x="1526" y="2065"/>
                        <a:pt x="1526" y="2065"/>
                      </a:cubicBezTo>
                      <a:cubicBezTo>
                        <a:pt x="1526" y="2066"/>
                        <a:pt x="1526" y="2066"/>
                        <a:pt x="1525" y="2067"/>
                      </a:cubicBezTo>
                      <a:cubicBezTo>
                        <a:pt x="1525" y="2067"/>
                        <a:pt x="1525" y="2068"/>
                        <a:pt x="1525" y="2068"/>
                      </a:cubicBezTo>
                      <a:cubicBezTo>
                        <a:pt x="1525" y="2068"/>
                        <a:pt x="1524" y="2068"/>
                        <a:pt x="1524" y="2069"/>
                      </a:cubicBezTo>
                      <a:cubicBezTo>
                        <a:pt x="1524" y="2069"/>
                        <a:pt x="1524" y="2069"/>
                        <a:pt x="1524" y="2069"/>
                      </a:cubicBezTo>
                      <a:cubicBezTo>
                        <a:pt x="1524" y="2069"/>
                        <a:pt x="1523" y="2070"/>
                        <a:pt x="1523" y="2070"/>
                      </a:cubicBezTo>
                      <a:cubicBezTo>
                        <a:pt x="1520" y="2073"/>
                        <a:pt x="1515" y="2074"/>
                        <a:pt x="1511" y="2075"/>
                      </a:cubicBezTo>
                      <a:cubicBezTo>
                        <a:pt x="1510" y="2075"/>
                        <a:pt x="1510" y="2075"/>
                        <a:pt x="1510" y="2075"/>
                      </a:cubicBezTo>
                      <a:cubicBezTo>
                        <a:pt x="1508" y="2075"/>
                        <a:pt x="1506" y="2076"/>
                        <a:pt x="1504" y="2076"/>
                      </a:cubicBezTo>
                      <a:cubicBezTo>
                        <a:pt x="1504" y="2076"/>
                        <a:pt x="1504" y="2076"/>
                        <a:pt x="1504" y="2076"/>
                      </a:cubicBezTo>
                      <a:cubicBezTo>
                        <a:pt x="1503" y="2076"/>
                        <a:pt x="1503" y="2076"/>
                        <a:pt x="1503" y="2076"/>
                      </a:cubicBezTo>
                      <a:cubicBezTo>
                        <a:pt x="1501" y="2076"/>
                        <a:pt x="1499" y="2076"/>
                        <a:pt x="1497" y="2076"/>
                      </a:cubicBezTo>
                      <a:cubicBezTo>
                        <a:pt x="1446" y="2076"/>
                        <a:pt x="1446" y="2076"/>
                        <a:pt x="1446" y="2076"/>
                      </a:cubicBezTo>
                      <a:cubicBezTo>
                        <a:pt x="1444" y="2076"/>
                        <a:pt x="1441" y="2076"/>
                        <a:pt x="1439" y="2075"/>
                      </a:cubicBezTo>
                      <a:cubicBezTo>
                        <a:pt x="1439" y="2075"/>
                        <a:pt x="1438" y="2075"/>
                        <a:pt x="1438" y="2075"/>
                      </a:cubicBezTo>
                      <a:cubicBezTo>
                        <a:pt x="1427" y="2074"/>
                        <a:pt x="1414" y="2069"/>
                        <a:pt x="1408" y="2059"/>
                      </a:cubicBezTo>
                      <a:cubicBezTo>
                        <a:pt x="1407" y="2058"/>
                        <a:pt x="1407" y="2056"/>
                        <a:pt x="1406" y="2055"/>
                      </a:cubicBezTo>
                      <a:cubicBezTo>
                        <a:pt x="1406" y="2055"/>
                        <a:pt x="1406" y="2055"/>
                        <a:pt x="1406" y="2055"/>
                      </a:cubicBezTo>
                      <a:cubicBezTo>
                        <a:pt x="1406" y="2055"/>
                        <a:pt x="1406" y="2055"/>
                        <a:pt x="1406" y="2055"/>
                      </a:cubicBezTo>
                      <a:cubicBezTo>
                        <a:pt x="1403" y="2047"/>
                        <a:pt x="1400" y="2040"/>
                        <a:pt x="1398" y="2032"/>
                      </a:cubicBezTo>
                      <a:cubicBezTo>
                        <a:pt x="1396" y="2029"/>
                        <a:pt x="1394" y="2024"/>
                        <a:pt x="1393" y="2019"/>
                      </a:cubicBezTo>
                      <a:cubicBezTo>
                        <a:pt x="1393" y="2019"/>
                        <a:pt x="1393" y="2019"/>
                        <a:pt x="1393" y="2019"/>
                      </a:cubicBezTo>
                      <a:cubicBezTo>
                        <a:pt x="1393" y="2019"/>
                        <a:pt x="1393" y="2019"/>
                        <a:pt x="1393" y="2019"/>
                      </a:cubicBezTo>
                      <a:cubicBezTo>
                        <a:pt x="1392" y="2018"/>
                        <a:pt x="1392" y="2018"/>
                        <a:pt x="1392" y="2017"/>
                      </a:cubicBezTo>
                      <a:cubicBezTo>
                        <a:pt x="1392" y="2015"/>
                        <a:pt x="1392" y="2013"/>
                        <a:pt x="1392" y="2012"/>
                      </a:cubicBezTo>
                      <a:cubicBezTo>
                        <a:pt x="1393" y="2011"/>
                        <a:pt x="1393" y="2010"/>
                        <a:pt x="1394" y="2009"/>
                      </a:cubicBezTo>
                      <a:cubicBezTo>
                        <a:pt x="1394" y="2009"/>
                        <a:pt x="1394" y="2009"/>
                        <a:pt x="1394" y="2009"/>
                      </a:cubicBezTo>
                      <a:cubicBezTo>
                        <a:pt x="1397" y="2004"/>
                        <a:pt x="1403" y="2002"/>
                        <a:pt x="1409" y="2001"/>
                      </a:cubicBezTo>
                      <a:cubicBezTo>
                        <a:pt x="1409" y="2001"/>
                        <a:pt x="1409" y="2001"/>
                        <a:pt x="1410" y="2001"/>
                      </a:cubicBezTo>
                      <a:cubicBezTo>
                        <a:pt x="1411" y="2001"/>
                        <a:pt x="1413" y="2001"/>
                        <a:pt x="1414" y="2000"/>
                      </a:cubicBezTo>
                      <a:cubicBezTo>
                        <a:pt x="1414" y="2000"/>
                        <a:pt x="1415" y="2000"/>
                        <a:pt x="1415" y="2000"/>
                      </a:cubicBezTo>
                      <a:cubicBezTo>
                        <a:pt x="1418" y="2000"/>
                        <a:pt x="1418" y="2000"/>
                        <a:pt x="1418" y="2000"/>
                      </a:cubicBezTo>
                      <a:cubicBezTo>
                        <a:pt x="1419" y="2000"/>
                        <a:pt x="1420" y="2000"/>
                        <a:pt x="1421" y="2000"/>
                      </a:cubicBezTo>
                      <a:cubicBezTo>
                        <a:pt x="1437" y="2000"/>
                        <a:pt x="1453" y="2000"/>
                        <a:pt x="1469" y="2000"/>
                      </a:cubicBezTo>
                      <a:cubicBezTo>
                        <a:pt x="1469" y="2000"/>
                        <a:pt x="1469" y="2000"/>
                        <a:pt x="1469" y="2000"/>
                      </a:cubicBezTo>
                      <a:cubicBezTo>
                        <a:pt x="1469" y="2000"/>
                        <a:pt x="1469" y="2000"/>
                        <a:pt x="1469" y="2000"/>
                      </a:cubicBezTo>
                      <a:cubicBezTo>
                        <a:pt x="1471" y="2000"/>
                        <a:pt x="1473" y="2000"/>
                        <a:pt x="1475" y="2001"/>
                      </a:cubicBezTo>
                      <a:cubicBezTo>
                        <a:pt x="1475" y="2001"/>
                        <a:pt x="1476" y="2001"/>
                        <a:pt x="1476" y="2001"/>
                      </a:cubicBezTo>
                      <a:cubicBezTo>
                        <a:pt x="1487" y="2002"/>
                        <a:pt x="1499" y="2006"/>
                        <a:pt x="1505" y="2015"/>
                      </a:cubicBezTo>
                      <a:cubicBezTo>
                        <a:pt x="1506" y="2016"/>
                        <a:pt x="1507" y="2017"/>
                        <a:pt x="1508" y="2019"/>
                      </a:cubicBezTo>
                      <a:cubicBezTo>
                        <a:pt x="1509" y="2022"/>
                        <a:pt x="1509" y="2022"/>
                        <a:pt x="1509" y="2022"/>
                      </a:cubicBezTo>
                      <a:cubicBezTo>
                        <a:pt x="1512" y="2028"/>
                        <a:pt x="1516" y="2035"/>
                        <a:pt x="1519" y="2041"/>
                      </a:cubicBezTo>
                      <a:cubicBezTo>
                        <a:pt x="1521" y="2045"/>
                        <a:pt x="1524" y="2051"/>
                        <a:pt x="1526" y="2056"/>
                      </a:cubicBezTo>
                      <a:cubicBezTo>
                        <a:pt x="1527" y="2058"/>
                        <a:pt x="1527" y="2061"/>
                        <a:pt x="1527" y="2063"/>
                      </a:cubicBezTo>
                      <a:close/>
                      <a:moveTo>
                        <a:pt x="1640" y="2000"/>
                      </a:moveTo>
                      <a:cubicBezTo>
                        <a:pt x="1642" y="2000"/>
                        <a:pt x="1643" y="2000"/>
                        <a:pt x="1645" y="2000"/>
                      </a:cubicBezTo>
                      <a:cubicBezTo>
                        <a:pt x="1645" y="2000"/>
                        <a:pt x="1645" y="2000"/>
                        <a:pt x="1646" y="2000"/>
                      </a:cubicBezTo>
                      <a:cubicBezTo>
                        <a:pt x="1657" y="2002"/>
                        <a:pt x="1669" y="2006"/>
                        <a:pt x="1677" y="2014"/>
                      </a:cubicBezTo>
                      <a:cubicBezTo>
                        <a:pt x="1678" y="2014"/>
                        <a:pt x="1678" y="2015"/>
                        <a:pt x="1678" y="2015"/>
                      </a:cubicBezTo>
                      <a:cubicBezTo>
                        <a:pt x="1679" y="2016"/>
                        <a:pt x="1679" y="2016"/>
                        <a:pt x="1680" y="2017"/>
                      </a:cubicBezTo>
                      <a:cubicBezTo>
                        <a:pt x="1680" y="2017"/>
                        <a:pt x="1680" y="2017"/>
                        <a:pt x="1680" y="2018"/>
                      </a:cubicBezTo>
                      <a:cubicBezTo>
                        <a:pt x="1681" y="2018"/>
                        <a:pt x="1681" y="2018"/>
                        <a:pt x="1681" y="2018"/>
                      </a:cubicBezTo>
                      <a:cubicBezTo>
                        <a:pt x="1682" y="2019"/>
                        <a:pt x="1682" y="2019"/>
                        <a:pt x="1682" y="2019"/>
                      </a:cubicBezTo>
                      <a:cubicBezTo>
                        <a:pt x="1685" y="2024"/>
                        <a:pt x="1688" y="2029"/>
                        <a:pt x="1692" y="2034"/>
                      </a:cubicBezTo>
                      <a:cubicBezTo>
                        <a:pt x="1692" y="2034"/>
                        <a:pt x="1692" y="2034"/>
                        <a:pt x="1692" y="2034"/>
                      </a:cubicBezTo>
                      <a:cubicBezTo>
                        <a:pt x="1697" y="2041"/>
                        <a:pt x="1703" y="2049"/>
                        <a:pt x="1707" y="2056"/>
                      </a:cubicBezTo>
                      <a:cubicBezTo>
                        <a:pt x="1707" y="2057"/>
                        <a:pt x="1707" y="2057"/>
                        <a:pt x="1708" y="2058"/>
                      </a:cubicBezTo>
                      <a:cubicBezTo>
                        <a:pt x="1708" y="2058"/>
                        <a:pt x="1708" y="2058"/>
                        <a:pt x="1708" y="2058"/>
                      </a:cubicBezTo>
                      <a:cubicBezTo>
                        <a:pt x="1709" y="2063"/>
                        <a:pt x="1709" y="2066"/>
                        <a:pt x="1707" y="2068"/>
                      </a:cubicBezTo>
                      <a:cubicBezTo>
                        <a:pt x="1706" y="2069"/>
                        <a:pt x="1706" y="2069"/>
                        <a:pt x="1706" y="2069"/>
                      </a:cubicBezTo>
                      <a:cubicBezTo>
                        <a:pt x="1705" y="2071"/>
                        <a:pt x="1702" y="2072"/>
                        <a:pt x="1699" y="2073"/>
                      </a:cubicBezTo>
                      <a:cubicBezTo>
                        <a:pt x="1696" y="2074"/>
                        <a:pt x="1692" y="2075"/>
                        <a:pt x="1688" y="2075"/>
                      </a:cubicBezTo>
                      <a:cubicBezTo>
                        <a:pt x="1684" y="2075"/>
                        <a:pt x="1684" y="2075"/>
                        <a:pt x="1684" y="2075"/>
                      </a:cubicBezTo>
                      <a:cubicBezTo>
                        <a:pt x="1684" y="2075"/>
                        <a:pt x="1684" y="2075"/>
                        <a:pt x="1684" y="2075"/>
                      </a:cubicBezTo>
                      <a:cubicBezTo>
                        <a:pt x="1666" y="2075"/>
                        <a:pt x="1648" y="2075"/>
                        <a:pt x="1629" y="2075"/>
                      </a:cubicBezTo>
                      <a:cubicBezTo>
                        <a:pt x="1627" y="2075"/>
                        <a:pt x="1625" y="2075"/>
                        <a:pt x="1623" y="2075"/>
                      </a:cubicBezTo>
                      <a:cubicBezTo>
                        <a:pt x="1623" y="2075"/>
                        <a:pt x="1623" y="2075"/>
                        <a:pt x="1623" y="2075"/>
                      </a:cubicBezTo>
                      <a:cubicBezTo>
                        <a:pt x="1610" y="2073"/>
                        <a:pt x="1597" y="2068"/>
                        <a:pt x="1589" y="2059"/>
                      </a:cubicBezTo>
                      <a:cubicBezTo>
                        <a:pt x="1588" y="2057"/>
                        <a:pt x="1587" y="2056"/>
                        <a:pt x="1586" y="2055"/>
                      </a:cubicBezTo>
                      <a:cubicBezTo>
                        <a:pt x="1586" y="2054"/>
                        <a:pt x="1586" y="2054"/>
                        <a:pt x="1586" y="2054"/>
                      </a:cubicBezTo>
                      <a:cubicBezTo>
                        <a:pt x="1586" y="2054"/>
                        <a:pt x="1586" y="2054"/>
                        <a:pt x="1586" y="2054"/>
                      </a:cubicBezTo>
                      <a:cubicBezTo>
                        <a:pt x="1582" y="2047"/>
                        <a:pt x="1578" y="2041"/>
                        <a:pt x="1574" y="2034"/>
                      </a:cubicBezTo>
                      <a:cubicBezTo>
                        <a:pt x="1571" y="2029"/>
                        <a:pt x="1566" y="2021"/>
                        <a:pt x="1564" y="2015"/>
                      </a:cubicBezTo>
                      <a:cubicBezTo>
                        <a:pt x="1564" y="2015"/>
                        <a:pt x="1564" y="2015"/>
                        <a:pt x="1564" y="2014"/>
                      </a:cubicBezTo>
                      <a:cubicBezTo>
                        <a:pt x="1564" y="2014"/>
                        <a:pt x="1564" y="2013"/>
                        <a:pt x="1564" y="2013"/>
                      </a:cubicBezTo>
                      <a:cubicBezTo>
                        <a:pt x="1564" y="2006"/>
                        <a:pt x="1568" y="2003"/>
                        <a:pt x="1574" y="2002"/>
                      </a:cubicBezTo>
                      <a:cubicBezTo>
                        <a:pt x="1574" y="2001"/>
                        <a:pt x="1574" y="2001"/>
                        <a:pt x="1574" y="2001"/>
                      </a:cubicBezTo>
                      <a:cubicBezTo>
                        <a:pt x="1574" y="2001"/>
                        <a:pt x="1575" y="2001"/>
                        <a:pt x="1575" y="2001"/>
                      </a:cubicBezTo>
                      <a:cubicBezTo>
                        <a:pt x="1575" y="2001"/>
                        <a:pt x="1576" y="2001"/>
                        <a:pt x="1576" y="2001"/>
                      </a:cubicBezTo>
                      <a:cubicBezTo>
                        <a:pt x="1579" y="2000"/>
                        <a:pt x="1581" y="2000"/>
                        <a:pt x="1585" y="2000"/>
                      </a:cubicBezTo>
                      <a:cubicBezTo>
                        <a:pt x="1621" y="2000"/>
                        <a:pt x="1621" y="2000"/>
                        <a:pt x="1621" y="2000"/>
                      </a:cubicBezTo>
                      <a:cubicBezTo>
                        <a:pt x="1627" y="2000"/>
                        <a:pt x="1633" y="2000"/>
                        <a:pt x="1639" y="2000"/>
                      </a:cubicBezTo>
                      <a:cubicBezTo>
                        <a:pt x="1639" y="2000"/>
                        <a:pt x="1639" y="2000"/>
                        <a:pt x="1639" y="2000"/>
                      </a:cubicBezTo>
                      <a:cubicBezTo>
                        <a:pt x="1639" y="2000"/>
                        <a:pt x="1640" y="2000"/>
                        <a:pt x="1640" y="2000"/>
                      </a:cubicBezTo>
                      <a:close/>
                      <a:moveTo>
                        <a:pt x="1617" y="1924"/>
                      </a:moveTo>
                      <a:cubicBezTo>
                        <a:pt x="1621" y="1930"/>
                        <a:pt x="1625" y="1937"/>
                        <a:pt x="1629" y="1943"/>
                      </a:cubicBezTo>
                      <a:cubicBezTo>
                        <a:pt x="1631" y="1946"/>
                        <a:pt x="1635" y="1950"/>
                        <a:pt x="1637" y="1955"/>
                      </a:cubicBezTo>
                      <a:cubicBezTo>
                        <a:pt x="1638" y="1956"/>
                        <a:pt x="1639" y="1958"/>
                        <a:pt x="1639" y="1960"/>
                      </a:cubicBezTo>
                      <a:cubicBezTo>
                        <a:pt x="1639" y="1961"/>
                        <a:pt x="1638" y="1962"/>
                        <a:pt x="1638" y="1963"/>
                      </a:cubicBezTo>
                      <a:cubicBezTo>
                        <a:pt x="1637" y="1964"/>
                        <a:pt x="1637" y="1964"/>
                        <a:pt x="1636" y="1965"/>
                      </a:cubicBezTo>
                      <a:cubicBezTo>
                        <a:pt x="1636" y="1965"/>
                        <a:pt x="1636" y="1965"/>
                        <a:pt x="1636" y="1965"/>
                      </a:cubicBezTo>
                      <a:cubicBezTo>
                        <a:pt x="1636" y="1965"/>
                        <a:pt x="1636" y="1965"/>
                        <a:pt x="1636" y="1965"/>
                      </a:cubicBezTo>
                      <a:cubicBezTo>
                        <a:pt x="1636" y="1966"/>
                        <a:pt x="1635" y="1966"/>
                        <a:pt x="1635" y="1966"/>
                      </a:cubicBezTo>
                      <a:cubicBezTo>
                        <a:pt x="1635" y="1966"/>
                        <a:pt x="1634" y="1967"/>
                        <a:pt x="1634" y="1967"/>
                      </a:cubicBezTo>
                      <a:cubicBezTo>
                        <a:pt x="1634" y="1967"/>
                        <a:pt x="1633" y="1967"/>
                        <a:pt x="1632" y="1968"/>
                      </a:cubicBezTo>
                      <a:cubicBezTo>
                        <a:pt x="1632" y="1968"/>
                        <a:pt x="1631" y="1968"/>
                        <a:pt x="1630" y="1969"/>
                      </a:cubicBezTo>
                      <a:cubicBezTo>
                        <a:pt x="1630" y="1969"/>
                        <a:pt x="1630" y="1969"/>
                        <a:pt x="1630" y="1969"/>
                      </a:cubicBezTo>
                      <a:cubicBezTo>
                        <a:pt x="1630" y="1969"/>
                        <a:pt x="1630" y="1969"/>
                        <a:pt x="1629" y="1969"/>
                      </a:cubicBezTo>
                      <a:cubicBezTo>
                        <a:pt x="1620" y="1972"/>
                        <a:pt x="1607" y="1970"/>
                        <a:pt x="1598" y="1970"/>
                      </a:cubicBezTo>
                      <a:cubicBezTo>
                        <a:pt x="1588" y="1970"/>
                        <a:pt x="1578" y="1970"/>
                        <a:pt x="1567" y="1970"/>
                      </a:cubicBezTo>
                      <a:cubicBezTo>
                        <a:pt x="1558" y="1970"/>
                        <a:pt x="1547" y="1968"/>
                        <a:pt x="1539" y="1962"/>
                      </a:cubicBezTo>
                      <a:cubicBezTo>
                        <a:pt x="1538" y="1962"/>
                        <a:pt x="1536" y="1961"/>
                        <a:pt x="1535" y="1960"/>
                      </a:cubicBezTo>
                      <a:cubicBezTo>
                        <a:pt x="1533" y="1958"/>
                        <a:pt x="1531" y="1956"/>
                        <a:pt x="1530" y="1954"/>
                      </a:cubicBezTo>
                      <a:cubicBezTo>
                        <a:pt x="1529" y="1952"/>
                        <a:pt x="1529" y="1952"/>
                        <a:pt x="1529" y="1952"/>
                      </a:cubicBezTo>
                      <a:cubicBezTo>
                        <a:pt x="1529" y="1952"/>
                        <a:pt x="1529" y="1952"/>
                        <a:pt x="1529" y="1952"/>
                      </a:cubicBezTo>
                      <a:cubicBezTo>
                        <a:pt x="1524" y="1944"/>
                        <a:pt x="1520" y="1936"/>
                        <a:pt x="1515" y="1928"/>
                      </a:cubicBezTo>
                      <a:cubicBezTo>
                        <a:pt x="1513" y="1925"/>
                        <a:pt x="1513" y="1925"/>
                        <a:pt x="1513" y="1925"/>
                      </a:cubicBezTo>
                      <a:cubicBezTo>
                        <a:pt x="1512" y="1923"/>
                        <a:pt x="1512" y="1921"/>
                        <a:pt x="1512" y="1919"/>
                      </a:cubicBezTo>
                      <a:cubicBezTo>
                        <a:pt x="1512" y="1917"/>
                        <a:pt x="1513" y="1915"/>
                        <a:pt x="1515" y="1914"/>
                      </a:cubicBezTo>
                      <a:cubicBezTo>
                        <a:pt x="1517" y="1913"/>
                        <a:pt x="1519" y="1912"/>
                        <a:pt x="1522" y="1911"/>
                      </a:cubicBezTo>
                      <a:cubicBezTo>
                        <a:pt x="1524" y="1910"/>
                        <a:pt x="1528" y="1910"/>
                        <a:pt x="1531" y="1910"/>
                      </a:cubicBezTo>
                      <a:cubicBezTo>
                        <a:pt x="1532" y="1910"/>
                        <a:pt x="1532" y="1910"/>
                        <a:pt x="1532" y="1910"/>
                      </a:cubicBezTo>
                      <a:cubicBezTo>
                        <a:pt x="1540" y="1909"/>
                        <a:pt x="1548" y="1910"/>
                        <a:pt x="1553" y="1910"/>
                      </a:cubicBezTo>
                      <a:cubicBezTo>
                        <a:pt x="1573" y="1910"/>
                        <a:pt x="1604" y="1906"/>
                        <a:pt x="1617" y="1924"/>
                      </a:cubicBezTo>
                      <a:close/>
                      <a:moveTo>
                        <a:pt x="366" y="1441"/>
                      </a:moveTo>
                      <a:cubicBezTo>
                        <a:pt x="372" y="1443"/>
                        <a:pt x="377" y="1446"/>
                        <a:pt x="382" y="1448"/>
                      </a:cubicBezTo>
                      <a:cubicBezTo>
                        <a:pt x="392" y="1453"/>
                        <a:pt x="403" y="1458"/>
                        <a:pt x="413" y="1462"/>
                      </a:cubicBezTo>
                      <a:cubicBezTo>
                        <a:pt x="418" y="1464"/>
                        <a:pt x="422" y="1466"/>
                        <a:pt x="426" y="1468"/>
                      </a:cubicBezTo>
                      <a:cubicBezTo>
                        <a:pt x="430" y="1469"/>
                        <a:pt x="433" y="1470"/>
                        <a:pt x="437" y="1472"/>
                      </a:cubicBezTo>
                      <a:cubicBezTo>
                        <a:pt x="458" y="1479"/>
                        <a:pt x="479" y="1486"/>
                        <a:pt x="502" y="1492"/>
                      </a:cubicBezTo>
                      <a:cubicBezTo>
                        <a:pt x="527" y="1499"/>
                        <a:pt x="552" y="1505"/>
                        <a:pt x="578" y="1510"/>
                      </a:cubicBezTo>
                      <a:cubicBezTo>
                        <a:pt x="683" y="1532"/>
                        <a:pt x="786" y="1541"/>
                        <a:pt x="819" y="1542"/>
                      </a:cubicBezTo>
                      <a:cubicBezTo>
                        <a:pt x="819" y="1610"/>
                        <a:pt x="819" y="1610"/>
                        <a:pt x="819" y="1610"/>
                      </a:cubicBezTo>
                      <a:cubicBezTo>
                        <a:pt x="857" y="1570"/>
                        <a:pt x="857" y="1570"/>
                        <a:pt x="857" y="1570"/>
                      </a:cubicBezTo>
                      <a:cubicBezTo>
                        <a:pt x="906" y="1518"/>
                        <a:pt x="906" y="1518"/>
                        <a:pt x="906" y="1518"/>
                      </a:cubicBezTo>
                      <a:cubicBezTo>
                        <a:pt x="1019" y="1399"/>
                        <a:pt x="1019" y="1399"/>
                        <a:pt x="1019" y="1399"/>
                      </a:cubicBezTo>
                      <a:cubicBezTo>
                        <a:pt x="933" y="1308"/>
                        <a:pt x="933" y="1308"/>
                        <a:pt x="933" y="1308"/>
                      </a:cubicBezTo>
                      <a:cubicBezTo>
                        <a:pt x="819" y="1188"/>
                        <a:pt x="819" y="1188"/>
                        <a:pt x="819" y="1188"/>
                      </a:cubicBezTo>
                      <a:cubicBezTo>
                        <a:pt x="819" y="1271"/>
                        <a:pt x="819" y="1271"/>
                        <a:pt x="819" y="1271"/>
                      </a:cubicBezTo>
                      <a:cubicBezTo>
                        <a:pt x="740" y="1279"/>
                        <a:pt x="653" y="1266"/>
                        <a:pt x="578" y="1249"/>
                      </a:cubicBezTo>
                      <a:cubicBezTo>
                        <a:pt x="550" y="1242"/>
                        <a:pt x="525" y="1235"/>
                        <a:pt x="502" y="1229"/>
                      </a:cubicBezTo>
                      <a:cubicBezTo>
                        <a:pt x="471" y="1219"/>
                        <a:pt x="445" y="1211"/>
                        <a:pt x="426" y="1204"/>
                      </a:cubicBezTo>
                      <a:cubicBezTo>
                        <a:pt x="422" y="1202"/>
                        <a:pt x="418" y="1201"/>
                        <a:pt x="415" y="1199"/>
                      </a:cubicBezTo>
                      <a:cubicBezTo>
                        <a:pt x="414" y="1199"/>
                        <a:pt x="414" y="1199"/>
                        <a:pt x="413" y="1199"/>
                      </a:cubicBezTo>
                      <a:cubicBezTo>
                        <a:pt x="413" y="1199"/>
                        <a:pt x="413" y="1199"/>
                        <a:pt x="413" y="1199"/>
                      </a:cubicBezTo>
                      <a:cubicBezTo>
                        <a:pt x="354" y="1175"/>
                        <a:pt x="300" y="1147"/>
                        <a:pt x="253" y="1115"/>
                      </a:cubicBezTo>
                      <a:cubicBezTo>
                        <a:pt x="189" y="1073"/>
                        <a:pt x="142" y="1028"/>
                        <a:pt x="110" y="981"/>
                      </a:cubicBezTo>
                      <a:cubicBezTo>
                        <a:pt x="94" y="963"/>
                        <a:pt x="80" y="944"/>
                        <a:pt x="68" y="925"/>
                      </a:cubicBezTo>
                      <a:cubicBezTo>
                        <a:pt x="33" y="870"/>
                        <a:pt x="13" y="811"/>
                        <a:pt x="11" y="751"/>
                      </a:cubicBezTo>
                      <a:cubicBezTo>
                        <a:pt x="7" y="768"/>
                        <a:pt x="4" y="785"/>
                        <a:pt x="3" y="802"/>
                      </a:cubicBezTo>
                      <a:cubicBezTo>
                        <a:pt x="0" y="834"/>
                        <a:pt x="4" y="864"/>
                        <a:pt x="7" y="893"/>
                      </a:cubicBezTo>
                      <a:cubicBezTo>
                        <a:pt x="8" y="898"/>
                        <a:pt x="9" y="904"/>
                        <a:pt x="9" y="909"/>
                      </a:cubicBezTo>
                      <a:cubicBezTo>
                        <a:pt x="22" y="1021"/>
                        <a:pt x="22" y="1021"/>
                        <a:pt x="22" y="1021"/>
                      </a:cubicBezTo>
                      <a:cubicBezTo>
                        <a:pt x="23" y="1025"/>
                        <a:pt x="23" y="1029"/>
                        <a:pt x="24" y="1033"/>
                      </a:cubicBezTo>
                      <a:cubicBezTo>
                        <a:pt x="25" y="1048"/>
                        <a:pt x="27" y="1064"/>
                        <a:pt x="30" y="1080"/>
                      </a:cubicBezTo>
                      <a:cubicBezTo>
                        <a:pt x="34" y="1101"/>
                        <a:pt x="40" y="1121"/>
                        <a:pt x="47" y="1140"/>
                      </a:cubicBezTo>
                      <a:cubicBezTo>
                        <a:pt x="61" y="1175"/>
                        <a:pt x="80" y="1208"/>
                        <a:pt x="103" y="1239"/>
                      </a:cubicBezTo>
                      <a:cubicBezTo>
                        <a:pt x="146" y="1295"/>
                        <a:pt x="202" y="1344"/>
                        <a:pt x="275" y="1390"/>
                      </a:cubicBezTo>
                      <a:cubicBezTo>
                        <a:pt x="304" y="1409"/>
                        <a:pt x="335" y="1426"/>
                        <a:pt x="366" y="1441"/>
                      </a:cubicBezTo>
                      <a:close/>
                      <a:moveTo>
                        <a:pt x="64" y="773"/>
                      </a:moveTo>
                      <a:cubicBezTo>
                        <a:pt x="67" y="798"/>
                        <a:pt x="74" y="823"/>
                        <a:pt x="84" y="848"/>
                      </a:cubicBezTo>
                      <a:cubicBezTo>
                        <a:pt x="107" y="785"/>
                        <a:pt x="165" y="713"/>
                        <a:pt x="209" y="677"/>
                      </a:cubicBezTo>
                      <a:cubicBezTo>
                        <a:pt x="272" y="628"/>
                        <a:pt x="353" y="583"/>
                        <a:pt x="451" y="545"/>
                      </a:cubicBezTo>
                      <a:cubicBezTo>
                        <a:pt x="515" y="521"/>
                        <a:pt x="582" y="501"/>
                        <a:pt x="652" y="486"/>
                      </a:cubicBezTo>
                      <a:cubicBezTo>
                        <a:pt x="652" y="314"/>
                        <a:pt x="652" y="314"/>
                        <a:pt x="652" y="314"/>
                      </a:cubicBezTo>
                      <a:cubicBezTo>
                        <a:pt x="640" y="317"/>
                        <a:pt x="627" y="320"/>
                        <a:pt x="615" y="323"/>
                      </a:cubicBezTo>
                      <a:cubicBezTo>
                        <a:pt x="544" y="340"/>
                        <a:pt x="476" y="361"/>
                        <a:pt x="413" y="386"/>
                      </a:cubicBezTo>
                      <a:cubicBezTo>
                        <a:pt x="345" y="413"/>
                        <a:pt x="288" y="442"/>
                        <a:pt x="238" y="474"/>
                      </a:cubicBezTo>
                      <a:cubicBezTo>
                        <a:pt x="204" y="496"/>
                        <a:pt x="178" y="516"/>
                        <a:pt x="153" y="537"/>
                      </a:cubicBezTo>
                      <a:cubicBezTo>
                        <a:pt x="142" y="547"/>
                        <a:pt x="131" y="556"/>
                        <a:pt x="122" y="566"/>
                      </a:cubicBezTo>
                      <a:cubicBezTo>
                        <a:pt x="81" y="622"/>
                        <a:pt x="60" y="684"/>
                        <a:pt x="62" y="747"/>
                      </a:cubicBezTo>
                      <a:cubicBezTo>
                        <a:pt x="62" y="756"/>
                        <a:pt x="63" y="764"/>
                        <a:pt x="64" y="773"/>
                      </a:cubicBezTo>
                      <a:close/>
                      <a:moveTo>
                        <a:pt x="1928" y="693"/>
                      </a:moveTo>
                      <a:cubicBezTo>
                        <a:pt x="1966" y="727"/>
                        <a:pt x="2007" y="795"/>
                        <a:pt x="2021" y="856"/>
                      </a:cubicBezTo>
                      <a:cubicBezTo>
                        <a:pt x="2034" y="828"/>
                        <a:pt x="2042" y="798"/>
                        <a:pt x="2045" y="768"/>
                      </a:cubicBezTo>
                      <a:cubicBezTo>
                        <a:pt x="2046" y="761"/>
                        <a:pt x="2047" y="754"/>
                        <a:pt x="2047" y="747"/>
                      </a:cubicBezTo>
                      <a:cubicBezTo>
                        <a:pt x="2049" y="670"/>
                        <a:pt x="2018" y="595"/>
                        <a:pt x="1958" y="530"/>
                      </a:cubicBezTo>
                      <a:cubicBezTo>
                        <a:pt x="1924" y="501"/>
                        <a:pt x="1884" y="473"/>
                        <a:pt x="1839" y="447"/>
                      </a:cubicBezTo>
                      <a:cubicBezTo>
                        <a:pt x="1782" y="415"/>
                        <a:pt x="1718" y="387"/>
                        <a:pt x="1639" y="359"/>
                      </a:cubicBezTo>
                      <a:cubicBezTo>
                        <a:pt x="1584" y="340"/>
                        <a:pt x="1524" y="324"/>
                        <a:pt x="1457" y="310"/>
                      </a:cubicBezTo>
                      <a:cubicBezTo>
                        <a:pt x="1457" y="482"/>
                        <a:pt x="1457" y="482"/>
                        <a:pt x="1457" y="482"/>
                      </a:cubicBezTo>
                      <a:cubicBezTo>
                        <a:pt x="1542" y="500"/>
                        <a:pt x="1625" y="525"/>
                        <a:pt x="1700" y="556"/>
                      </a:cubicBezTo>
                      <a:cubicBezTo>
                        <a:pt x="1795" y="595"/>
                        <a:pt x="1871" y="642"/>
                        <a:pt x="1928" y="693"/>
                      </a:cubicBezTo>
                      <a:close/>
                      <a:moveTo>
                        <a:pt x="1054" y="814"/>
                      </a:moveTo>
                      <a:cubicBezTo>
                        <a:pt x="1186" y="814"/>
                        <a:pt x="1408" y="789"/>
                        <a:pt x="1408" y="696"/>
                      </a:cubicBezTo>
                      <a:cubicBezTo>
                        <a:pt x="1408" y="118"/>
                        <a:pt x="1408" y="118"/>
                        <a:pt x="1408" y="118"/>
                      </a:cubicBezTo>
                      <a:cubicBezTo>
                        <a:pt x="1408" y="25"/>
                        <a:pt x="1186" y="0"/>
                        <a:pt x="1054" y="0"/>
                      </a:cubicBezTo>
                      <a:cubicBezTo>
                        <a:pt x="923" y="0"/>
                        <a:pt x="701" y="25"/>
                        <a:pt x="701" y="118"/>
                      </a:cubicBezTo>
                      <a:cubicBezTo>
                        <a:pt x="701" y="696"/>
                        <a:pt x="701" y="696"/>
                        <a:pt x="701" y="696"/>
                      </a:cubicBezTo>
                      <a:cubicBezTo>
                        <a:pt x="701" y="789"/>
                        <a:pt x="923" y="814"/>
                        <a:pt x="1054" y="814"/>
                      </a:cubicBezTo>
                      <a:close/>
                      <a:moveTo>
                        <a:pt x="1054" y="35"/>
                      </a:moveTo>
                      <a:cubicBezTo>
                        <a:pt x="1219" y="35"/>
                        <a:pt x="1352" y="71"/>
                        <a:pt x="1352" y="116"/>
                      </a:cubicBezTo>
                      <a:cubicBezTo>
                        <a:pt x="1352" y="161"/>
                        <a:pt x="1219" y="197"/>
                        <a:pt x="1054" y="197"/>
                      </a:cubicBezTo>
                      <a:cubicBezTo>
                        <a:pt x="890" y="197"/>
                        <a:pt x="757" y="161"/>
                        <a:pt x="757" y="116"/>
                      </a:cubicBezTo>
                      <a:cubicBezTo>
                        <a:pt x="757" y="71"/>
                        <a:pt x="890" y="35"/>
                        <a:pt x="1054" y="3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lIns="186521" tIns="149217" rIns="186521" bIns="149217"/>
                <a:lstStyle/>
                <a:p>
                  <a:pPr defTabSz="932180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20493" name="Group 27"/>
              <p:cNvGrpSpPr/>
              <p:nvPr/>
            </p:nvGrpSpPr>
            <p:grpSpPr bwMode="auto">
              <a:xfrm>
                <a:off x="6011212" y="2638554"/>
                <a:ext cx="1883357" cy="1699637"/>
                <a:chOff x="7219616" y="3501181"/>
                <a:chExt cx="1846596" cy="1666462"/>
              </a:xfrm>
            </p:grpSpPr>
            <p:sp>
              <p:nvSpPr>
                <p:cNvPr id="15" name="Rectangle 19"/>
                <p:cNvSpPr/>
                <p:nvPr/>
              </p:nvSpPr>
              <p:spPr bwMode="auto">
                <a:xfrm>
                  <a:off x="7220050" y="3501770"/>
                  <a:ext cx="1847085" cy="1665873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eaLnBrk="1" hangingPunct="1"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6" name="Freeform 110"/>
                <p:cNvSpPr>
                  <a:spLocks noEditPoints="1"/>
                </p:cNvSpPr>
                <p:nvPr/>
              </p:nvSpPr>
              <p:spPr bwMode="black">
                <a:xfrm>
                  <a:off x="7868645" y="3721334"/>
                  <a:ext cx="644566" cy="650638"/>
                </a:xfrm>
                <a:custGeom>
                  <a:avLst/>
                  <a:gdLst>
                    <a:gd name="T0" fmla="*/ 9 w 70"/>
                    <a:gd name="T1" fmla="*/ 68 h 70"/>
                    <a:gd name="T2" fmla="*/ 10 w 70"/>
                    <a:gd name="T3" fmla="*/ 66 h 70"/>
                    <a:gd name="T4" fmla="*/ 4 w 70"/>
                    <a:gd name="T5" fmla="*/ 60 h 70"/>
                    <a:gd name="T6" fmla="*/ 2 w 70"/>
                    <a:gd name="T7" fmla="*/ 61 h 70"/>
                    <a:gd name="T8" fmla="*/ 0 w 70"/>
                    <a:gd name="T9" fmla="*/ 68 h 70"/>
                    <a:gd name="T10" fmla="*/ 2 w 70"/>
                    <a:gd name="T11" fmla="*/ 70 h 70"/>
                    <a:gd name="T12" fmla="*/ 9 w 70"/>
                    <a:gd name="T13" fmla="*/ 68 h 70"/>
                    <a:gd name="T14" fmla="*/ 64 w 70"/>
                    <a:gd name="T15" fmla="*/ 6 h 70"/>
                    <a:gd name="T16" fmla="*/ 52 w 70"/>
                    <a:gd name="T17" fmla="*/ 4 h 70"/>
                    <a:gd name="T18" fmla="*/ 49 w 70"/>
                    <a:gd name="T19" fmla="*/ 7 h 70"/>
                    <a:gd name="T20" fmla="*/ 49 w 70"/>
                    <a:gd name="T21" fmla="*/ 11 h 70"/>
                    <a:gd name="T22" fmla="*/ 60 w 70"/>
                    <a:gd name="T23" fmla="*/ 21 h 70"/>
                    <a:gd name="T24" fmla="*/ 63 w 70"/>
                    <a:gd name="T25" fmla="*/ 21 h 70"/>
                    <a:gd name="T26" fmla="*/ 66 w 70"/>
                    <a:gd name="T27" fmla="*/ 18 h 70"/>
                    <a:gd name="T28" fmla="*/ 64 w 70"/>
                    <a:gd name="T29" fmla="*/ 6 h 70"/>
                    <a:gd name="T30" fmla="*/ 22 w 70"/>
                    <a:gd name="T31" fmla="*/ 62 h 70"/>
                    <a:gd name="T32" fmla="*/ 19 w 70"/>
                    <a:gd name="T33" fmla="*/ 62 h 70"/>
                    <a:gd name="T34" fmla="*/ 8 w 70"/>
                    <a:gd name="T35" fmla="*/ 51 h 70"/>
                    <a:gd name="T36" fmla="*/ 8 w 70"/>
                    <a:gd name="T37" fmla="*/ 48 h 70"/>
                    <a:gd name="T38" fmla="*/ 42 w 70"/>
                    <a:gd name="T39" fmla="*/ 14 h 70"/>
                    <a:gd name="T40" fmla="*/ 45 w 70"/>
                    <a:gd name="T41" fmla="*/ 14 h 70"/>
                    <a:gd name="T42" fmla="*/ 56 w 70"/>
                    <a:gd name="T43" fmla="*/ 25 h 70"/>
                    <a:gd name="T44" fmla="*/ 56 w 70"/>
                    <a:gd name="T45" fmla="*/ 28 h 70"/>
                    <a:gd name="T46" fmla="*/ 22 w 70"/>
                    <a:gd name="T47" fmla="*/ 62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0" h="70">
                      <a:moveTo>
                        <a:pt x="9" y="68"/>
                      </a:moveTo>
                      <a:cubicBezTo>
                        <a:pt x="10" y="67"/>
                        <a:pt x="11" y="67"/>
                        <a:pt x="10" y="66"/>
                      </a:cubicBezTo>
                      <a:cubicBezTo>
                        <a:pt x="4" y="60"/>
                        <a:pt x="4" y="60"/>
                        <a:pt x="4" y="60"/>
                      </a:cubicBezTo>
                      <a:cubicBezTo>
                        <a:pt x="4" y="59"/>
                        <a:pt x="3" y="60"/>
                        <a:pt x="2" y="61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0" y="69"/>
                        <a:pt x="1" y="70"/>
                        <a:pt x="2" y="70"/>
                      </a:cubicBezTo>
                      <a:lnTo>
                        <a:pt x="9" y="68"/>
                      </a:lnTo>
                      <a:close/>
                      <a:moveTo>
                        <a:pt x="64" y="6"/>
                      </a:moveTo>
                      <a:cubicBezTo>
                        <a:pt x="58" y="0"/>
                        <a:pt x="52" y="4"/>
                        <a:pt x="52" y="4"/>
                      </a:cubicBezTo>
                      <a:cubicBezTo>
                        <a:pt x="51" y="5"/>
                        <a:pt x="50" y="6"/>
                        <a:pt x="49" y="7"/>
                      </a:cubicBezTo>
                      <a:cubicBezTo>
                        <a:pt x="48" y="8"/>
                        <a:pt x="48" y="10"/>
                        <a:pt x="49" y="11"/>
                      </a:cubicBezTo>
                      <a:cubicBezTo>
                        <a:pt x="60" y="21"/>
                        <a:pt x="60" y="21"/>
                        <a:pt x="60" y="21"/>
                      </a:cubicBezTo>
                      <a:cubicBezTo>
                        <a:pt x="60" y="22"/>
                        <a:pt x="62" y="22"/>
                        <a:pt x="63" y="21"/>
                      </a:cubicBezTo>
                      <a:cubicBezTo>
                        <a:pt x="64" y="20"/>
                        <a:pt x="65" y="19"/>
                        <a:pt x="66" y="18"/>
                      </a:cubicBezTo>
                      <a:cubicBezTo>
                        <a:pt x="66" y="18"/>
                        <a:pt x="70" y="12"/>
                        <a:pt x="64" y="6"/>
                      </a:cubicBezTo>
                      <a:moveTo>
                        <a:pt x="22" y="62"/>
                      </a:moveTo>
                      <a:cubicBezTo>
                        <a:pt x="21" y="63"/>
                        <a:pt x="20" y="63"/>
                        <a:pt x="19" y="62"/>
                      </a:cubicBezTo>
                      <a:cubicBezTo>
                        <a:pt x="8" y="51"/>
                        <a:pt x="8" y="51"/>
                        <a:pt x="8" y="51"/>
                      </a:cubicBezTo>
                      <a:cubicBezTo>
                        <a:pt x="7" y="51"/>
                        <a:pt x="7" y="49"/>
                        <a:pt x="8" y="48"/>
                      </a:cubicBezTo>
                      <a:cubicBezTo>
                        <a:pt x="42" y="14"/>
                        <a:pt x="42" y="14"/>
                        <a:pt x="42" y="14"/>
                      </a:cubicBezTo>
                      <a:cubicBezTo>
                        <a:pt x="43" y="13"/>
                        <a:pt x="44" y="13"/>
                        <a:pt x="45" y="14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6"/>
                        <a:pt x="57" y="27"/>
                        <a:pt x="56" y="28"/>
                      </a:cubicBezTo>
                      <a:lnTo>
                        <a:pt x="22" y="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lIns="93260" tIns="46630" rIns="93260" bIns="46630"/>
                <a:lstStyle/>
                <a:p>
                  <a:pPr defTabSz="932180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20494" name="Group 26"/>
              <p:cNvGrpSpPr/>
              <p:nvPr/>
            </p:nvGrpSpPr>
            <p:grpSpPr bwMode="auto">
              <a:xfrm>
                <a:off x="6011212" y="843558"/>
                <a:ext cx="1883357" cy="1699637"/>
                <a:chOff x="7219616" y="1741218"/>
                <a:chExt cx="1846596" cy="1666462"/>
              </a:xfrm>
            </p:grpSpPr>
            <p:sp>
              <p:nvSpPr>
                <p:cNvPr id="18" name="Rectangle 7"/>
                <p:cNvSpPr/>
                <p:nvPr/>
              </p:nvSpPr>
              <p:spPr bwMode="auto">
                <a:xfrm>
                  <a:off x="7220050" y="1741217"/>
                  <a:ext cx="1847085" cy="1665873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eaLnBrk="1" hangingPunct="1">
                    <a:defRPr/>
                  </a:pPr>
                  <a:r>
                    <a:rPr lang="zh-CN" altLang="en-US" sz="1600" spc="300" dirty="0">
                      <a:solidFill>
                        <a:prstClr val="white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添加文本</a:t>
                  </a:r>
                  <a:endParaRPr 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pic>
              <p:nvPicPr>
                <p:cNvPr id="20509" name="Picture 3" descr="C:\Users\chrisw\Desktop\Kinect Hand.png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0200" t="39359" r="23215" b="-2658"/>
                <a:stretch>
                  <a:fillRect/>
                </a:stretch>
              </p:blipFill>
              <p:spPr bwMode="black">
                <a:xfrm>
                  <a:off x="7745369" y="1946266"/>
                  <a:ext cx="794184" cy="7119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20" name="Rectangle 22"/>
              <p:cNvSpPr/>
              <p:nvPr/>
            </p:nvSpPr>
            <p:spPr bwMode="auto">
              <a:xfrm>
                <a:off x="2054888" y="843558"/>
                <a:ext cx="1883357" cy="169963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149161" rIns="186452" bIns="149161" anchor="b"/>
              <a:lstStyle/>
              <a:p>
                <a:pPr algn="ctr" defTabSz="698500" eaLnBrk="1" hangingPunct="1">
                  <a:defRPr/>
                </a:pPr>
                <a:endParaRPr lang="en-US" sz="1100" dirty="0">
                  <a:gradFill>
                    <a:gsLst>
                      <a:gs pos="5000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Rectangle 32"/>
              <p:cNvSpPr/>
              <p:nvPr/>
            </p:nvSpPr>
            <p:spPr bwMode="auto">
              <a:xfrm>
                <a:off x="2054888" y="2638554"/>
                <a:ext cx="1883357" cy="169963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46612" rIns="186452" bIns="149161" anchor="b"/>
              <a:lstStyle/>
              <a:p>
                <a:pPr algn="ctr" defTabSz="698500" eaLnBrk="1" hangingPunct="1">
                  <a:defRPr/>
                </a:pPr>
                <a:endParaRPr lang="en-US" sz="1100" dirty="0">
                  <a:gradFill>
                    <a:gsLst>
                      <a:gs pos="5000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eaLnBrk="1" hangingPunct="1"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2" name="Group 3"/>
              <p:cNvGrpSpPr/>
              <p:nvPr/>
            </p:nvGrpSpPr>
            <p:grpSpPr>
              <a:xfrm>
                <a:off x="35496" y="2638554"/>
                <a:ext cx="1883357" cy="1699637"/>
                <a:chOff x="1560167" y="3488912"/>
                <a:chExt cx="1846596" cy="1666462"/>
              </a:xfrm>
              <a:solidFill>
                <a:schemeClr val="accent1"/>
              </a:solidFill>
            </p:grpSpPr>
            <p:sp>
              <p:nvSpPr>
                <p:cNvPr id="23" name="Rectangle 38"/>
                <p:cNvSpPr/>
                <p:nvPr/>
              </p:nvSpPr>
              <p:spPr bwMode="auto">
                <a:xfrm>
                  <a:off x="1560167" y="3488912"/>
                  <a:ext cx="1846596" cy="1666462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186521" tIns="149217" rIns="186521" bIns="149217" anchor="b"/>
                <a:lstStyle/>
                <a:p>
                  <a:pPr algn="ctr" defTabSz="698500" eaLnBrk="1" hangingPunct="1">
                    <a:defRPr/>
                  </a:pPr>
                  <a:endParaRPr lang="en-US" sz="1100" dirty="0">
                    <a:gradFill>
                      <a:gsLst>
                        <a:gs pos="5000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24" name="Picture 2" descr="C:\Users\chrisw\Desktop\Cloud Services 3.png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black">
                <a:xfrm>
                  <a:off x="1977263" y="3662304"/>
                  <a:ext cx="962257" cy="659839"/>
                </a:xfrm>
                <a:prstGeom prst="rect">
                  <a:avLst/>
                </a:prstGeom>
                <a:grpFill/>
                <a:ln>
                  <a:noFill/>
                  <a:headEnd type="none" w="med" len="med"/>
                  <a:tailEnd type="none" w="med" len="med"/>
                </a:ln>
                <a:effectLst/>
              </p:spPr>
            </p:pic>
          </p:grpSp>
          <p:sp>
            <p:nvSpPr>
              <p:cNvPr id="25" name="TextBox 24"/>
              <p:cNvSpPr txBox="1"/>
              <p:nvPr/>
            </p:nvSpPr>
            <p:spPr>
              <a:xfrm>
                <a:off x="35496" y="3313017"/>
                <a:ext cx="1883857" cy="1025174"/>
              </a:xfrm>
              <a:prstGeom prst="rect">
                <a:avLst/>
              </a:prstGeom>
              <a:noFill/>
            </p:spPr>
            <p:txBody>
              <a:bodyPr lIns="186452" tIns="149161" rIns="186452" bIns="149161" anchor="b"/>
              <a:lstStyle/>
              <a:p>
                <a:pPr eaLnBrk="1" hangingPunct="1">
                  <a:lnSpc>
                    <a:spcPct val="80000"/>
                  </a:lnSpc>
                  <a:buSzPct val="80000"/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20499" name="Picture 42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96625" y="2809701"/>
                <a:ext cx="828323" cy="8283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0500" name="Group 45"/>
              <p:cNvGrpSpPr>
                <a:grpSpLocks noChangeAspect="1"/>
              </p:cNvGrpSpPr>
              <p:nvPr/>
            </p:nvGrpSpPr>
            <p:grpSpPr bwMode="auto">
              <a:xfrm>
                <a:off x="2617413" y="1039682"/>
                <a:ext cx="656836" cy="739091"/>
                <a:chOff x="1752600" y="4267200"/>
                <a:chExt cx="1157286" cy="1302545"/>
              </a:xfrm>
            </p:grpSpPr>
            <p:sp>
              <p:nvSpPr>
                <p:cNvPr id="20501" name="Freeform 219"/>
                <p:cNvSpPr/>
                <p:nvPr/>
              </p:nvSpPr>
              <p:spPr bwMode="black">
                <a:xfrm>
                  <a:off x="2573475" y="4995891"/>
                  <a:ext cx="330824" cy="573854"/>
                </a:xfrm>
                <a:custGeom>
                  <a:avLst/>
                  <a:gdLst>
                    <a:gd name="T0" fmla="*/ 139469178 w 351"/>
                    <a:gd name="T1" fmla="*/ 1776215 h 609"/>
                    <a:gd name="T2" fmla="*/ 137692530 w 351"/>
                    <a:gd name="T3" fmla="*/ 92342437 h 609"/>
                    <a:gd name="T4" fmla="*/ 159901094 w 351"/>
                    <a:gd name="T5" fmla="*/ 87903314 h 609"/>
                    <a:gd name="T6" fmla="*/ 205207017 w 351"/>
                    <a:gd name="T7" fmla="*/ 107436965 h 609"/>
                    <a:gd name="T8" fmla="*/ 223862286 w 351"/>
                    <a:gd name="T9" fmla="*/ 154495820 h 609"/>
                    <a:gd name="T10" fmla="*/ 222973491 w 351"/>
                    <a:gd name="T11" fmla="*/ 188236362 h 609"/>
                    <a:gd name="T12" fmla="*/ 222973491 w 351"/>
                    <a:gd name="T13" fmla="*/ 188236362 h 609"/>
                    <a:gd name="T14" fmla="*/ 219420196 w 351"/>
                    <a:gd name="T15" fmla="*/ 343620760 h 609"/>
                    <a:gd name="T16" fmla="*/ 219420196 w 351"/>
                    <a:gd name="T17" fmla="*/ 343620760 h 609"/>
                    <a:gd name="T18" fmla="*/ 218532344 w 351"/>
                    <a:gd name="T19" fmla="*/ 388904342 h 609"/>
                    <a:gd name="T20" fmla="*/ 198100427 w 351"/>
                    <a:gd name="T21" fmla="*/ 434186982 h 609"/>
                    <a:gd name="T22" fmla="*/ 151906652 w 351"/>
                    <a:gd name="T23" fmla="*/ 452832997 h 609"/>
                    <a:gd name="T24" fmla="*/ 106600729 w 351"/>
                    <a:gd name="T25" fmla="*/ 432411710 h 609"/>
                    <a:gd name="T26" fmla="*/ 88834255 w 351"/>
                    <a:gd name="T27" fmla="*/ 386240491 h 609"/>
                    <a:gd name="T28" fmla="*/ 89722108 w 351"/>
                    <a:gd name="T29" fmla="*/ 350723734 h 609"/>
                    <a:gd name="T30" fmla="*/ 3553295 w 351"/>
                    <a:gd name="T31" fmla="*/ 276139676 h 609"/>
                    <a:gd name="T32" fmla="*/ 888795 w 351"/>
                    <a:gd name="T33" fmla="*/ 384464277 h 609"/>
                    <a:gd name="T34" fmla="*/ 43528333 w 351"/>
                    <a:gd name="T35" fmla="*/ 492788877 h 609"/>
                    <a:gd name="T36" fmla="*/ 150130005 w 351"/>
                    <a:gd name="T37" fmla="*/ 539848675 h 609"/>
                    <a:gd name="T38" fmla="*/ 259395234 w 351"/>
                    <a:gd name="T39" fmla="*/ 498116579 h 609"/>
                    <a:gd name="T40" fmla="*/ 259395234 w 351"/>
                    <a:gd name="T41" fmla="*/ 498116579 h 609"/>
                    <a:gd name="T42" fmla="*/ 306477804 w 351"/>
                    <a:gd name="T43" fmla="*/ 391567251 h 609"/>
                    <a:gd name="T44" fmla="*/ 310918951 w 351"/>
                    <a:gd name="T45" fmla="*/ 156272034 h 609"/>
                    <a:gd name="T46" fmla="*/ 269167266 w 351"/>
                    <a:gd name="T47" fmla="*/ 47058855 h 609"/>
                    <a:gd name="T48" fmla="*/ 162566537 w 351"/>
                    <a:gd name="T49" fmla="*/ 0 h 609"/>
                    <a:gd name="T50" fmla="*/ 139469178 w 351"/>
                    <a:gd name="T51" fmla="*/ 1776215 h 60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351" h="609">
                      <a:moveTo>
                        <a:pt x="157" y="2"/>
                      </a:moveTo>
                      <a:cubicBezTo>
                        <a:pt x="155" y="104"/>
                        <a:pt x="155" y="104"/>
                        <a:pt x="155" y="104"/>
                      </a:cubicBezTo>
                      <a:cubicBezTo>
                        <a:pt x="163" y="101"/>
                        <a:pt x="171" y="99"/>
                        <a:pt x="180" y="99"/>
                      </a:cubicBezTo>
                      <a:cubicBezTo>
                        <a:pt x="201" y="99"/>
                        <a:pt x="218" y="108"/>
                        <a:pt x="231" y="121"/>
                      </a:cubicBezTo>
                      <a:cubicBezTo>
                        <a:pt x="244" y="135"/>
                        <a:pt x="252" y="153"/>
                        <a:pt x="252" y="174"/>
                      </a:cubicBezTo>
                      <a:cubicBezTo>
                        <a:pt x="251" y="212"/>
                        <a:pt x="251" y="212"/>
                        <a:pt x="251" y="212"/>
                      </a:cubicBezTo>
                      <a:cubicBezTo>
                        <a:pt x="251" y="212"/>
                        <a:pt x="251" y="212"/>
                        <a:pt x="251" y="212"/>
                      </a:cubicBezTo>
                      <a:cubicBezTo>
                        <a:pt x="247" y="387"/>
                        <a:pt x="247" y="387"/>
                        <a:pt x="247" y="387"/>
                      </a:cubicBezTo>
                      <a:cubicBezTo>
                        <a:pt x="247" y="387"/>
                        <a:pt x="247" y="387"/>
                        <a:pt x="247" y="387"/>
                      </a:cubicBezTo>
                      <a:cubicBezTo>
                        <a:pt x="246" y="438"/>
                        <a:pt x="246" y="438"/>
                        <a:pt x="246" y="438"/>
                      </a:cubicBezTo>
                      <a:cubicBezTo>
                        <a:pt x="245" y="459"/>
                        <a:pt x="237" y="476"/>
                        <a:pt x="223" y="489"/>
                      </a:cubicBezTo>
                      <a:cubicBezTo>
                        <a:pt x="210" y="502"/>
                        <a:pt x="191" y="510"/>
                        <a:pt x="171" y="510"/>
                      </a:cubicBezTo>
                      <a:cubicBezTo>
                        <a:pt x="151" y="509"/>
                        <a:pt x="133" y="501"/>
                        <a:pt x="120" y="487"/>
                      </a:cubicBezTo>
                      <a:cubicBezTo>
                        <a:pt x="107" y="474"/>
                        <a:pt x="99" y="455"/>
                        <a:pt x="100" y="435"/>
                      </a:cubicBezTo>
                      <a:cubicBezTo>
                        <a:pt x="101" y="395"/>
                        <a:pt x="101" y="395"/>
                        <a:pt x="101" y="395"/>
                      </a:cubicBezTo>
                      <a:cubicBezTo>
                        <a:pt x="42" y="375"/>
                        <a:pt x="16" y="338"/>
                        <a:pt x="4" y="311"/>
                      </a:cubicBezTo>
                      <a:cubicBezTo>
                        <a:pt x="1" y="433"/>
                        <a:pt x="1" y="433"/>
                        <a:pt x="1" y="433"/>
                      </a:cubicBezTo>
                      <a:cubicBezTo>
                        <a:pt x="0" y="480"/>
                        <a:pt x="18" y="524"/>
                        <a:pt x="49" y="555"/>
                      </a:cubicBezTo>
                      <a:cubicBezTo>
                        <a:pt x="79" y="587"/>
                        <a:pt x="122" y="607"/>
                        <a:pt x="169" y="608"/>
                      </a:cubicBezTo>
                      <a:cubicBezTo>
                        <a:pt x="216" y="609"/>
                        <a:pt x="260" y="591"/>
                        <a:pt x="292" y="561"/>
                      </a:cubicBezTo>
                      <a:cubicBezTo>
                        <a:pt x="292" y="561"/>
                        <a:pt x="292" y="561"/>
                        <a:pt x="292" y="561"/>
                      </a:cubicBezTo>
                      <a:cubicBezTo>
                        <a:pt x="323" y="530"/>
                        <a:pt x="343" y="488"/>
                        <a:pt x="345" y="441"/>
                      </a:cubicBezTo>
                      <a:cubicBezTo>
                        <a:pt x="350" y="176"/>
                        <a:pt x="350" y="176"/>
                        <a:pt x="350" y="176"/>
                      </a:cubicBezTo>
                      <a:cubicBezTo>
                        <a:pt x="351" y="128"/>
                        <a:pt x="333" y="85"/>
                        <a:pt x="303" y="53"/>
                      </a:cubicBezTo>
                      <a:cubicBezTo>
                        <a:pt x="273" y="22"/>
                        <a:pt x="230" y="1"/>
                        <a:pt x="183" y="0"/>
                      </a:cubicBezTo>
                      <a:cubicBezTo>
                        <a:pt x="174" y="0"/>
                        <a:pt x="165" y="1"/>
                        <a:pt x="157" y="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20502" name="Freeform 220"/>
                <p:cNvSpPr/>
                <p:nvPr/>
              </p:nvSpPr>
              <p:spPr bwMode="black">
                <a:xfrm>
                  <a:off x="2579062" y="4756453"/>
                  <a:ext cx="330824" cy="573854"/>
                </a:xfrm>
                <a:custGeom>
                  <a:avLst/>
                  <a:gdLst>
                    <a:gd name="T0" fmla="*/ 161677742 w 351"/>
                    <a:gd name="T1" fmla="*/ 887636 h 609"/>
                    <a:gd name="T2" fmla="*/ 53300365 w 351"/>
                    <a:gd name="T3" fmla="*/ 42619731 h 609"/>
                    <a:gd name="T4" fmla="*/ 53300365 w 351"/>
                    <a:gd name="T5" fmla="*/ 43507368 h 609"/>
                    <a:gd name="T6" fmla="*/ 6218737 w 351"/>
                    <a:gd name="T7" fmla="*/ 150056696 h 609"/>
                    <a:gd name="T8" fmla="*/ 888795 w 351"/>
                    <a:gd name="T9" fmla="*/ 384464277 h 609"/>
                    <a:gd name="T10" fmla="*/ 42640480 w 351"/>
                    <a:gd name="T11" fmla="*/ 493677456 h 609"/>
                    <a:gd name="T12" fmla="*/ 150130005 w 351"/>
                    <a:gd name="T13" fmla="*/ 540736311 h 609"/>
                    <a:gd name="T14" fmla="*/ 172338569 w 351"/>
                    <a:gd name="T15" fmla="*/ 538960096 h 609"/>
                    <a:gd name="T16" fmla="*/ 175003068 w 351"/>
                    <a:gd name="T17" fmla="*/ 448393874 h 609"/>
                    <a:gd name="T18" fmla="*/ 151906652 w 351"/>
                    <a:gd name="T19" fmla="*/ 452832997 h 609"/>
                    <a:gd name="T20" fmla="*/ 106600729 w 351"/>
                    <a:gd name="T21" fmla="*/ 433299346 h 609"/>
                    <a:gd name="T22" fmla="*/ 87945460 w 351"/>
                    <a:gd name="T23" fmla="*/ 387128128 h 609"/>
                    <a:gd name="T24" fmla="*/ 92387550 w 351"/>
                    <a:gd name="T25" fmla="*/ 201555617 h 609"/>
                    <a:gd name="T26" fmla="*/ 92387550 w 351"/>
                    <a:gd name="T27" fmla="*/ 195340279 h 609"/>
                    <a:gd name="T28" fmla="*/ 93275403 w 351"/>
                    <a:gd name="T29" fmla="*/ 151831969 h 609"/>
                    <a:gd name="T30" fmla="*/ 113707319 w 351"/>
                    <a:gd name="T31" fmla="*/ 106549328 h 609"/>
                    <a:gd name="T32" fmla="*/ 159901094 w 351"/>
                    <a:gd name="T33" fmla="*/ 87903314 h 609"/>
                    <a:gd name="T34" fmla="*/ 205207017 w 351"/>
                    <a:gd name="T35" fmla="*/ 108324601 h 609"/>
                    <a:gd name="T36" fmla="*/ 222973491 w 351"/>
                    <a:gd name="T37" fmla="*/ 154495820 h 609"/>
                    <a:gd name="T38" fmla="*/ 222085639 w 351"/>
                    <a:gd name="T39" fmla="*/ 190012577 h 609"/>
                    <a:gd name="T40" fmla="*/ 308254452 w 351"/>
                    <a:gd name="T41" fmla="*/ 265484272 h 609"/>
                    <a:gd name="T42" fmla="*/ 310918951 w 351"/>
                    <a:gd name="T43" fmla="*/ 156272034 h 609"/>
                    <a:gd name="T44" fmla="*/ 268279414 w 351"/>
                    <a:gd name="T45" fmla="*/ 47947433 h 609"/>
                    <a:gd name="T46" fmla="*/ 161677742 w 351"/>
                    <a:gd name="T47" fmla="*/ 887636 h 60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351" h="609">
                      <a:moveTo>
                        <a:pt x="182" y="1"/>
                      </a:moveTo>
                      <a:cubicBezTo>
                        <a:pt x="135" y="0"/>
                        <a:pt x="91" y="18"/>
                        <a:pt x="60" y="48"/>
                      </a:cubicBezTo>
                      <a:cubicBezTo>
                        <a:pt x="60" y="48"/>
                        <a:pt x="60" y="49"/>
                        <a:pt x="60" y="49"/>
                      </a:cubicBezTo>
                      <a:cubicBezTo>
                        <a:pt x="28" y="79"/>
                        <a:pt x="8" y="122"/>
                        <a:pt x="7" y="169"/>
                      </a:cubicBezTo>
                      <a:cubicBezTo>
                        <a:pt x="1" y="433"/>
                        <a:pt x="1" y="433"/>
                        <a:pt x="1" y="433"/>
                      </a:cubicBezTo>
                      <a:cubicBezTo>
                        <a:pt x="0" y="481"/>
                        <a:pt x="18" y="524"/>
                        <a:pt x="48" y="556"/>
                      </a:cubicBezTo>
                      <a:cubicBezTo>
                        <a:pt x="79" y="588"/>
                        <a:pt x="121" y="608"/>
                        <a:pt x="169" y="609"/>
                      </a:cubicBezTo>
                      <a:cubicBezTo>
                        <a:pt x="177" y="609"/>
                        <a:pt x="186" y="608"/>
                        <a:pt x="194" y="607"/>
                      </a:cubicBezTo>
                      <a:cubicBezTo>
                        <a:pt x="197" y="505"/>
                        <a:pt x="197" y="505"/>
                        <a:pt x="197" y="505"/>
                      </a:cubicBezTo>
                      <a:cubicBezTo>
                        <a:pt x="189" y="508"/>
                        <a:pt x="180" y="510"/>
                        <a:pt x="171" y="510"/>
                      </a:cubicBezTo>
                      <a:cubicBezTo>
                        <a:pt x="151" y="510"/>
                        <a:pt x="133" y="501"/>
                        <a:pt x="120" y="488"/>
                      </a:cubicBezTo>
                      <a:cubicBezTo>
                        <a:pt x="107" y="474"/>
                        <a:pt x="99" y="456"/>
                        <a:pt x="99" y="436"/>
                      </a:cubicBezTo>
                      <a:cubicBezTo>
                        <a:pt x="104" y="227"/>
                        <a:pt x="104" y="227"/>
                        <a:pt x="104" y="227"/>
                      </a:cubicBezTo>
                      <a:cubicBezTo>
                        <a:pt x="104" y="220"/>
                        <a:pt x="104" y="220"/>
                        <a:pt x="104" y="220"/>
                      </a:cubicBezTo>
                      <a:cubicBezTo>
                        <a:pt x="105" y="171"/>
                        <a:pt x="105" y="171"/>
                        <a:pt x="105" y="171"/>
                      </a:cubicBezTo>
                      <a:cubicBezTo>
                        <a:pt x="106" y="151"/>
                        <a:pt x="114" y="133"/>
                        <a:pt x="128" y="120"/>
                      </a:cubicBezTo>
                      <a:cubicBezTo>
                        <a:pt x="142" y="107"/>
                        <a:pt x="160" y="99"/>
                        <a:pt x="180" y="99"/>
                      </a:cubicBezTo>
                      <a:cubicBezTo>
                        <a:pt x="200" y="100"/>
                        <a:pt x="218" y="108"/>
                        <a:pt x="231" y="122"/>
                      </a:cubicBezTo>
                      <a:cubicBezTo>
                        <a:pt x="244" y="136"/>
                        <a:pt x="252" y="154"/>
                        <a:pt x="251" y="174"/>
                      </a:cubicBezTo>
                      <a:cubicBezTo>
                        <a:pt x="250" y="214"/>
                        <a:pt x="250" y="214"/>
                        <a:pt x="250" y="214"/>
                      </a:cubicBezTo>
                      <a:cubicBezTo>
                        <a:pt x="309" y="234"/>
                        <a:pt x="335" y="271"/>
                        <a:pt x="347" y="299"/>
                      </a:cubicBezTo>
                      <a:cubicBezTo>
                        <a:pt x="350" y="176"/>
                        <a:pt x="350" y="176"/>
                        <a:pt x="350" y="176"/>
                      </a:cubicBezTo>
                      <a:cubicBezTo>
                        <a:pt x="351" y="129"/>
                        <a:pt x="333" y="85"/>
                        <a:pt x="302" y="54"/>
                      </a:cubicBezTo>
                      <a:cubicBezTo>
                        <a:pt x="272" y="22"/>
                        <a:pt x="229" y="2"/>
                        <a:pt x="182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20503" name="Freeform 221"/>
                <p:cNvSpPr/>
                <p:nvPr/>
              </p:nvSpPr>
              <p:spPr bwMode="black">
                <a:xfrm>
                  <a:off x="1752600" y="4467929"/>
                  <a:ext cx="670029" cy="926627"/>
                </a:xfrm>
                <a:custGeom>
                  <a:avLst/>
                  <a:gdLst>
                    <a:gd name="T0" fmla="*/ 602112938 w 711"/>
                    <a:gd name="T1" fmla="*/ 813062875 h 983"/>
                    <a:gd name="T2" fmla="*/ 136763191 w 711"/>
                    <a:gd name="T3" fmla="*/ 670887375 h 983"/>
                    <a:gd name="T4" fmla="*/ 61277026 w 711"/>
                    <a:gd name="T5" fmla="*/ 499388795 h 983"/>
                    <a:gd name="T6" fmla="*/ 61277026 w 711"/>
                    <a:gd name="T7" fmla="*/ 30211999 h 983"/>
                    <a:gd name="T8" fmla="*/ 30194654 w 711"/>
                    <a:gd name="T9" fmla="*/ 0 h 983"/>
                    <a:gd name="T10" fmla="*/ 0 w 711"/>
                    <a:gd name="T11" fmla="*/ 30211999 h 983"/>
                    <a:gd name="T12" fmla="*/ 0 w 711"/>
                    <a:gd name="T13" fmla="*/ 499388795 h 983"/>
                    <a:gd name="T14" fmla="*/ 0 w 711"/>
                    <a:gd name="T15" fmla="*/ 499388795 h 983"/>
                    <a:gd name="T16" fmla="*/ 95912154 w 711"/>
                    <a:gd name="T17" fmla="*/ 715317395 h 983"/>
                    <a:gd name="T18" fmla="*/ 600336560 w 711"/>
                    <a:gd name="T19" fmla="*/ 873486874 h 983"/>
                    <a:gd name="T20" fmla="*/ 601224278 w 711"/>
                    <a:gd name="T21" fmla="*/ 873486874 h 983"/>
                    <a:gd name="T22" fmla="*/ 631418932 w 711"/>
                    <a:gd name="T23" fmla="*/ 844162853 h 983"/>
                    <a:gd name="T24" fmla="*/ 602112938 w 711"/>
                    <a:gd name="T25" fmla="*/ 813062875 h 98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711" h="983">
                      <a:moveTo>
                        <a:pt x="678" y="915"/>
                      </a:moveTo>
                      <a:cubicBezTo>
                        <a:pt x="470" y="911"/>
                        <a:pt x="285" y="874"/>
                        <a:pt x="154" y="755"/>
                      </a:cubicBezTo>
                      <a:cubicBezTo>
                        <a:pt x="110" y="712"/>
                        <a:pt x="69" y="647"/>
                        <a:pt x="69" y="562"/>
                      </a:cubicBezTo>
                      <a:cubicBezTo>
                        <a:pt x="69" y="34"/>
                        <a:pt x="69" y="34"/>
                        <a:pt x="69" y="34"/>
                      </a:cubicBezTo>
                      <a:cubicBezTo>
                        <a:pt x="69" y="15"/>
                        <a:pt x="53" y="0"/>
                        <a:pt x="34" y="0"/>
                      </a:cubicBezTo>
                      <a:cubicBezTo>
                        <a:pt x="16" y="0"/>
                        <a:pt x="0" y="15"/>
                        <a:pt x="0" y="34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1" y="670"/>
                        <a:pt x="53" y="753"/>
                        <a:pt x="108" y="805"/>
                      </a:cubicBezTo>
                      <a:cubicBezTo>
                        <a:pt x="259" y="942"/>
                        <a:pt x="462" y="980"/>
                        <a:pt x="676" y="983"/>
                      </a:cubicBezTo>
                      <a:cubicBezTo>
                        <a:pt x="677" y="983"/>
                        <a:pt x="677" y="983"/>
                        <a:pt x="677" y="983"/>
                      </a:cubicBezTo>
                      <a:cubicBezTo>
                        <a:pt x="695" y="983"/>
                        <a:pt x="711" y="969"/>
                        <a:pt x="711" y="950"/>
                      </a:cubicBezTo>
                      <a:cubicBezTo>
                        <a:pt x="711" y="931"/>
                        <a:pt x="697" y="915"/>
                        <a:pt x="678" y="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20504" name="Freeform 222"/>
                <p:cNvSpPr/>
                <p:nvPr/>
              </p:nvSpPr>
              <p:spPr bwMode="black">
                <a:xfrm>
                  <a:off x="1752600" y="4467929"/>
                  <a:ext cx="670029" cy="926627"/>
                </a:xfrm>
                <a:custGeom>
                  <a:avLst/>
                  <a:gdLst>
                    <a:gd name="T0" fmla="*/ 602112938 w 711"/>
                    <a:gd name="T1" fmla="*/ 813062875 h 983"/>
                    <a:gd name="T2" fmla="*/ 136763191 w 711"/>
                    <a:gd name="T3" fmla="*/ 670887375 h 983"/>
                    <a:gd name="T4" fmla="*/ 61277026 w 711"/>
                    <a:gd name="T5" fmla="*/ 499388795 h 983"/>
                    <a:gd name="T6" fmla="*/ 61277026 w 711"/>
                    <a:gd name="T7" fmla="*/ 30211999 h 983"/>
                    <a:gd name="T8" fmla="*/ 30194654 w 711"/>
                    <a:gd name="T9" fmla="*/ 0 h 983"/>
                    <a:gd name="T10" fmla="*/ 0 w 711"/>
                    <a:gd name="T11" fmla="*/ 30211999 h 983"/>
                    <a:gd name="T12" fmla="*/ 0 w 711"/>
                    <a:gd name="T13" fmla="*/ 499388795 h 983"/>
                    <a:gd name="T14" fmla="*/ 0 w 711"/>
                    <a:gd name="T15" fmla="*/ 499388795 h 983"/>
                    <a:gd name="T16" fmla="*/ 95912154 w 711"/>
                    <a:gd name="T17" fmla="*/ 715317395 h 983"/>
                    <a:gd name="T18" fmla="*/ 600336560 w 711"/>
                    <a:gd name="T19" fmla="*/ 873486874 h 983"/>
                    <a:gd name="T20" fmla="*/ 601224278 w 711"/>
                    <a:gd name="T21" fmla="*/ 873486874 h 983"/>
                    <a:gd name="T22" fmla="*/ 631418932 w 711"/>
                    <a:gd name="T23" fmla="*/ 844162853 h 983"/>
                    <a:gd name="T24" fmla="*/ 602112938 w 711"/>
                    <a:gd name="T25" fmla="*/ 813062875 h 98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711" h="983">
                      <a:moveTo>
                        <a:pt x="678" y="915"/>
                      </a:moveTo>
                      <a:cubicBezTo>
                        <a:pt x="470" y="911"/>
                        <a:pt x="285" y="874"/>
                        <a:pt x="154" y="755"/>
                      </a:cubicBezTo>
                      <a:cubicBezTo>
                        <a:pt x="110" y="712"/>
                        <a:pt x="69" y="647"/>
                        <a:pt x="69" y="562"/>
                      </a:cubicBezTo>
                      <a:cubicBezTo>
                        <a:pt x="69" y="34"/>
                        <a:pt x="69" y="34"/>
                        <a:pt x="69" y="34"/>
                      </a:cubicBezTo>
                      <a:cubicBezTo>
                        <a:pt x="69" y="15"/>
                        <a:pt x="53" y="0"/>
                        <a:pt x="34" y="0"/>
                      </a:cubicBezTo>
                      <a:cubicBezTo>
                        <a:pt x="16" y="0"/>
                        <a:pt x="0" y="15"/>
                        <a:pt x="0" y="34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1" y="670"/>
                        <a:pt x="53" y="753"/>
                        <a:pt x="108" y="805"/>
                      </a:cubicBezTo>
                      <a:cubicBezTo>
                        <a:pt x="259" y="942"/>
                        <a:pt x="462" y="980"/>
                        <a:pt x="676" y="983"/>
                      </a:cubicBezTo>
                      <a:cubicBezTo>
                        <a:pt x="677" y="983"/>
                        <a:pt x="677" y="983"/>
                        <a:pt x="677" y="983"/>
                      </a:cubicBezTo>
                      <a:cubicBezTo>
                        <a:pt x="695" y="983"/>
                        <a:pt x="711" y="969"/>
                        <a:pt x="711" y="950"/>
                      </a:cubicBezTo>
                      <a:cubicBezTo>
                        <a:pt x="711" y="931"/>
                        <a:pt x="697" y="915"/>
                        <a:pt x="678" y="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20505" name="Freeform 223"/>
                <p:cNvSpPr/>
                <p:nvPr/>
              </p:nvSpPr>
              <p:spPr bwMode="black">
                <a:xfrm>
                  <a:off x="1977672" y="4663072"/>
                  <a:ext cx="606178" cy="195940"/>
                </a:xfrm>
                <a:custGeom>
                  <a:avLst/>
                  <a:gdLst>
                    <a:gd name="T0" fmla="*/ 571464646 w 643"/>
                    <a:gd name="T1" fmla="*/ 117137265 h 208"/>
                    <a:gd name="T2" fmla="*/ 389271862 w 643"/>
                    <a:gd name="T3" fmla="*/ 133110143 h 208"/>
                    <a:gd name="T4" fmla="*/ 0 w 643"/>
                    <a:gd name="T5" fmla="*/ 0 h 208"/>
                    <a:gd name="T6" fmla="*/ 0 w 643"/>
                    <a:gd name="T7" fmla="*/ 91402242 h 208"/>
                    <a:gd name="T8" fmla="*/ 34661503 w 643"/>
                    <a:gd name="T9" fmla="*/ 115362501 h 208"/>
                    <a:gd name="T10" fmla="*/ 389271862 w 643"/>
                    <a:gd name="T11" fmla="*/ 184579248 h 208"/>
                    <a:gd name="T12" fmla="*/ 538581140 w 643"/>
                    <a:gd name="T13" fmla="*/ 174818045 h 208"/>
                    <a:gd name="T14" fmla="*/ 571464646 w 643"/>
                    <a:gd name="T15" fmla="*/ 117137265 h 20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643" h="208">
                      <a:moveTo>
                        <a:pt x="643" y="132"/>
                      </a:moveTo>
                      <a:cubicBezTo>
                        <a:pt x="582" y="143"/>
                        <a:pt x="512" y="150"/>
                        <a:pt x="438" y="150"/>
                      </a:cubicBezTo>
                      <a:cubicBezTo>
                        <a:pt x="196" y="150"/>
                        <a:pt x="0" y="82"/>
                        <a:pt x="0" y="0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12" y="113"/>
                        <a:pt x="25" y="121"/>
                        <a:pt x="39" y="130"/>
                      </a:cubicBezTo>
                      <a:cubicBezTo>
                        <a:pt x="130" y="180"/>
                        <a:pt x="273" y="208"/>
                        <a:pt x="438" y="208"/>
                      </a:cubicBezTo>
                      <a:cubicBezTo>
                        <a:pt x="497" y="208"/>
                        <a:pt x="554" y="204"/>
                        <a:pt x="606" y="197"/>
                      </a:cubicBezTo>
                      <a:cubicBezTo>
                        <a:pt x="615" y="174"/>
                        <a:pt x="628" y="152"/>
                        <a:pt x="643" y="1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20506" name="Freeform 224"/>
                <p:cNvSpPr/>
                <p:nvPr/>
              </p:nvSpPr>
              <p:spPr bwMode="black">
                <a:xfrm>
                  <a:off x="1976076" y="4835467"/>
                  <a:ext cx="555896" cy="196340"/>
                </a:xfrm>
                <a:custGeom>
                  <a:avLst/>
                  <a:gdLst>
                    <a:gd name="T0" fmla="*/ 523763327 w 590"/>
                    <a:gd name="T1" fmla="*/ 124743864 h 208"/>
                    <a:gd name="T2" fmla="*/ 388827581 w 590"/>
                    <a:gd name="T3" fmla="*/ 133653735 h 208"/>
                    <a:gd name="T4" fmla="*/ 0 w 590"/>
                    <a:gd name="T5" fmla="*/ 0 h 208"/>
                    <a:gd name="T6" fmla="*/ 0 w 590"/>
                    <a:gd name="T7" fmla="*/ 91775735 h 208"/>
                    <a:gd name="T8" fmla="*/ 34621957 w 590"/>
                    <a:gd name="T9" fmla="*/ 114942911 h 208"/>
                    <a:gd name="T10" fmla="*/ 388827581 w 590"/>
                    <a:gd name="T11" fmla="*/ 185333633 h 208"/>
                    <a:gd name="T12" fmla="*/ 522875778 w 590"/>
                    <a:gd name="T13" fmla="*/ 177314843 h 208"/>
                    <a:gd name="T14" fmla="*/ 523763327 w 590"/>
                    <a:gd name="T15" fmla="*/ 124743864 h 20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90" h="208">
                      <a:moveTo>
                        <a:pt x="590" y="140"/>
                      </a:moveTo>
                      <a:cubicBezTo>
                        <a:pt x="543" y="146"/>
                        <a:pt x="491" y="150"/>
                        <a:pt x="438" y="150"/>
                      </a:cubicBezTo>
                      <a:cubicBezTo>
                        <a:pt x="196" y="150"/>
                        <a:pt x="0" y="82"/>
                        <a:pt x="0" y="0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12" y="113"/>
                        <a:pt x="25" y="121"/>
                        <a:pt x="39" y="129"/>
                      </a:cubicBezTo>
                      <a:cubicBezTo>
                        <a:pt x="129" y="180"/>
                        <a:pt x="273" y="208"/>
                        <a:pt x="438" y="208"/>
                      </a:cubicBezTo>
                      <a:cubicBezTo>
                        <a:pt x="491" y="208"/>
                        <a:pt x="541" y="205"/>
                        <a:pt x="589" y="199"/>
                      </a:cubicBezTo>
                      <a:lnTo>
                        <a:pt x="590" y="1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  <p:sp>
              <p:nvSpPr>
                <p:cNvPr id="20507" name="Freeform 225"/>
                <p:cNvSpPr>
                  <a:spLocks noEditPoints="1"/>
                </p:cNvSpPr>
                <p:nvPr/>
              </p:nvSpPr>
              <p:spPr bwMode="black">
                <a:xfrm>
                  <a:off x="1886286" y="4267200"/>
                  <a:ext cx="1011628" cy="995266"/>
                </a:xfrm>
                <a:custGeom>
                  <a:avLst/>
                  <a:gdLst>
                    <a:gd name="T0" fmla="*/ 607104078 w 1073"/>
                    <a:gd name="T1" fmla="*/ 844755580 h 1056"/>
                    <a:gd name="T2" fmla="*/ 607104078 w 1073"/>
                    <a:gd name="T3" fmla="*/ 841202405 h 1056"/>
                    <a:gd name="T4" fmla="*/ 477327197 w 1073"/>
                    <a:gd name="T5" fmla="*/ 850085342 h 1056"/>
                    <a:gd name="T6" fmla="*/ 87999380 w 1073"/>
                    <a:gd name="T7" fmla="*/ 689306529 h 1056"/>
                    <a:gd name="T8" fmla="*/ 87999380 w 1073"/>
                    <a:gd name="T9" fmla="*/ 553398998 h 1056"/>
                    <a:gd name="T10" fmla="*/ 87999380 w 1073"/>
                    <a:gd name="T11" fmla="*/ 461906155 h 1056"/>
                    <a:gd name="T12" fmla="*/ 87999380 w 1073"/>
                    <a:gd name="T13" fmla="*/ 312674689 h 1056"/>
                    <a:gd name="T14" fmla="*/ 121776253 w 1073"/>
                    <a:gd name="T15" fmla="*/ 336658149 h 1056"/>
                    <a:gd name="T16" fmla="*/ 477327197 w 1073"/>
                    <a:gd name="T17" fmla="*/ 406832885 h 1056"/>
                    <a:gd name="T18" fmla="*/ 766212515 w 1073"/>
                    <a:gd name="T19" fmla="*/ 365083550 h 1056"/>
                    <a:gd name="T20" fmla="*/ 863989709 w 1073"/>
                    <a:gd name="T21" fmla="*/ 315340042 h 1056"/>
                    <a:gd name="T22" fmla="*/ 866655956 w 1073"/>
                    <a:gd name="T23" fmla="*/ 312674689 h 1056"/>
                    <a:gd name="T24" fmla="*/ 866655956 w 1073"/>
                    <a:gd name="T25" fmla="*/ 408609472 h 1056"/>
                    <a:gd name="T26" fmla="*/ 948432834 w 1073"/>
                    <a:gd name="T27" fmla="*/ 437922695 h 1056"/>
                    <a:gd name="T28" fmla="*/ 953766272 w 1073"/>
                    <a:gd name="T29" fmla="*/ 438810517 h 1056"/>
                    <a:gd name="T30" fmla="*/ 953766272 w 1073"/>
                    <a:gd name="T31" fmla="*/ 221181846 h 1056"/>
                    <a:gd name="T32" fmla="*/ 890655959 w 1073"/>
                    <a:gd name="T33" fmla="*/ 101263603 h 1056"/>
                    <a:gd name="T34" fmla="*/ 477327197 w 1073"/>
                    <a:gd name="T35" fmla="*/ 0 h 1056"/>
                    <a:gd name="T36" fmla="*/ 173331568 w 1073"/>
                    <a:gd name="T37" fmla="*/ 43525923 h 1056"/>
                    <a:gd name="T38" fmla="*/ 63110314 w 1073"/>
                    <a:gd name="T39" fmla="*/ 101263603 h 1056"/>
                    <a:gd name="T40" fmla="*/ 0 w 1073"/>
                    <a:gd name="T41" fmla="*/ 221181846 h 1056"/>
                    <a:gd name="T42" fmla="*/ 0 w 1073"/>
                    <a:gd name="T43" fmla="*/ 689306529 h 1056"/>
                    <a:gd name="T44" fmla="*/ 56887812 w 1073"/>
                    <a:gd name="T45" fmla="*/ 814553592 h 1056"/>
                    <a:gd name="T46" fmla="*/ 477327197 w 1073"/>
                    <a:gd name="T47" fmla="*/ 938025010 h 1056"/>
                    <a:gd name="T48" fmla="*/ 605325951 w 1073"/>
                    <a:gd name="T49" fmla="*/ 930030838 h 1056"/>
                    <a:gd name="T50" fmla="*/ 607104078 w 1073"/>
                    <a:gd name="T51" fmla="*/ 844755580 h 1056"/>
                    <a:gd name="T52" fmla="*/ 477327197 w 1073"/>
                    <a:gd name="T53" fmla="*/ 87939668 h 1056"/>
                    <a:gd name="T54" fmla="*/ 866655956 w 1073"/>
                    <a:gd name="T55" fmla="*/ 221181846 h 1056"/>
                    <a:gd name="T56" fmla="*/ 477327197 w 1073"/>
                    <a:gd name="T57" fmla="*/ 354424024 h 1056"/>
                    <a:gd name="T58" fmla="*/ 87999380 w 1073"/>
                    <a:gd name="T59" fmla="*/ 221181846 h 1056"/>
                    <a:gd name="T60" fmla="*/ 477327197 w 1073"/>
                    <a:gd name="T61" fmla="*/ 87939668 h 105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073" h="1056">
                      <a:moveTo>
                        <a:pt x="683" y="951"/>
                      </a:moveTo>
                      <a:cubicBezTo>
                        <a:pt x="683" y="947"/>
                        <a:pt x="683" y="947"/>
                        <a:pt x="683" y="947"/>
                      </a:cubicBezTo>
                      <a:cubicBezTo>
                        <a:pt x="638" y="954"/>
                        <a:pt x="587" y="957"/>
                        <a:pt x="537" y="957"/>
                      </a:cubicBezTo>
                      <a:cubicBezTo>
                        <a:pt x="295" y="957"/>
                        <a:pt x="99" y="876"/>
                        <a:pt x="99" y="776"/>
                      </a:cubicBezTo>
                      <a:cubicBezTo>
                        <a:pt x="99" y="623"/>
                        <a:pt x="99" y="623"/>
                        <a:pt x="99" y="623"/>
                      </a:cubicBezTo>
                      <a:cubicBezTo>
                        <a:pt x="99" y="520"/>
                        <a:pt x="99" y="520"/>
                        <a:pt x="99" y="520"/>
                      </a:cubicBezTo>
                      <a:cubicBezTo>
                        <a:pt x="99" y="352"/>
                        <a:pt x="99" y="352"/>
                        <a:pt x="99" y="352"/>
                      </a:cubicBezTo>
                      <a:cubicBezTo>
                        <a:pt x="110" y="362"/>
                        <a:pt x="123" y="371"/>
                        <a:pt x="137" y="379"/>
                      </a:cubicBezTo>
                      <a:cubicBezTo>
                        <a:pt x="228" y="429"/>
                        <a:pt x="371" y="457"/>
                        <a:pt x="537" y="458"/>
                      </a:cubicBezTo>
                      <a:cubicBezTo>
                        <a:pt x="662" y="458"/>
                        <a:pt x="776" y="441"/>
                        <a:pt x="862" y="411"/>
                      </a:cubicBezTo>
                      <a:cubicBezTo>
                        <a:pt x="906" y="396"/>
                        <a:pt x="942" y="378"/>
                        <a:pt x="972" y="355"/>
                      </a:cubicBezTo>
                      <a:cubicBezTo>
                        <a:pt x="973" y="354"/>
                        <a:pt x="974" y="353"/>
                        <a:pt x="975" y="352"/>
                      </a:cubicBezTo>
                      <a:cubicBezTo>
                        <a:pt x="975" y="460"/>
                        <a:pt x="975" y="460"/>
                        <a:pt x="975" y="460"/>
                      </a:cubicBezTo>
                      <a:cubicBezTo>
                        <a:pt x="1008" y="465"/>
                        <a:pt x="1039" y="476"/>
                        <a:pt x="1067" y="493"/>
                      </a:cubicBezTo>
                      <a:cubicBezTo>
                        <a:pt x="1069" y="493"/>
                        <a:pt x="1071" y="493"/>
                        <a:pt x="1073" y="494"/>
                      </a:cubicBezTo>
                      <a:cubicBezTo>
                        <a:pt x="1073" y="249"/>
                        <a:pt x="1073" y="249"/>
                        <a:pt x="1073" y="249"/>
                      </a:cubicBezTo>
                      <a:cubicBezTo>
                        <a:pt x="1073" y="187"/>
                        <a:pt x="1037" y="141"/>
                        <a:pt x="1002" y="114"/>
                      </a:cubicBezTo>
                      <a:cubicBezTo>
                        <a:pt x="896" y="33"/>
                        <a:pt x="733" y="3"/>
                        <a:pt x="537" y="0"/>
                      </a:cubicBezTo>
                      <a:cubicBezTo>
                        <a:pt x="406" y="0"/>
                        <a:pt x="288" y="18"/>
                        <a:pt x="195" y="49"/>
                      </a:cubicBezTo>
                      <a:cubicBezTo>
                        <a:pt x="148" y="66"/>
                        <a:pt x="107" y="85"/>
                        <a:pt x="71" y="114"/>
                      </a:cubicBezTo>
                      <a:cubicBezTo>
                        <a:pt x="36" y="141"/>
                        <a:pt x="0" y="187"/>
                        <a:pt x="0" y="249"/>
                      </a:cubicBezTo>
                      <a:cubicBezTo>
                        <a:pt x="0" y="776"/>
                        <a:pt x="0" y="776"/>
                        <a:pt x="0" y="776"/>
                      </a:cubicBezTo>
                      <a:cubicBezTo>
                        <a:pt x="0" y="835"/>
                        <a:pt x="29" y="884"/>
                        <a:pt x="64" y="917"/>
                      </a:cubicBezTo>
                      <a:cubicBezTo>
                        <a:pt x="169" y="1014"/>
                        <a:pt x="338" y="1053"/>
                        <a:pt x="537" y="1056"/>
                      </a:cubicBezTo>
                      <a:cubicBezTo>
                        <a:pt x="586" y="1056"/>
                        <a:pt x="636" y="1053"/>
                        <a:pt x="681" y="1047"/>
                      </a:cubicBezTo>
                      <a:lnTo>
                        <a:pt x="683" y="951"/>
                      </a:lnTo>
                      <a:close/>
                      <a:moveTo>
                        <a:pt x="537" y="99"/>
                      </a:moveTo>
                      <a:cubicBezTo>
                        <a:pt x="778" y="99"/>
                        <a:pt x="975" y="166"/>
                        <a:pt x="975" y="249"/>
                      </a:cubicBezTo>
                      <a:cubicBezTo>
                        <a:pt x="975" y="332"/>
                        <a:pt x="778" y="399"/>
                        <a:pt x="537" y="399"/>
                      </a:cubicBezTo>
                      <a:cubicBezTo>
                        <a:pt x="295" y="399"/>
                        <a:pt x="99" y="332"/>
                        <a:pt x="99" y="249"/>
                      </a:cubicBezTo>
                      <a:cubicBezTo>
                        <a:pt x="99" y="166"/>
                        <a:pt x="295" y="99"/>
                        <a:pt x="537" y="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60" tIns="46630" rIns="93260" bIns="46630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20488" name="Freeform 13"/>
            <p:cNvSpPr>
              <a:spLocks noEditPoints="1"/>
            </p:cNvSpPr>
            <p:nvPr/>
          </p:nvSpPr>
          <p:spPr bwMode="auto">
            <a:xfrm>
              <a:off x="4284661" y="3153093"/>
              <a:ext cx="579586" cy="632054"/>
            </a:xfrm>
            <a:custGeom>
              <a:avLst/>
              <a:gdLst>
                <a:gd name="T0" fmla="*/ 232632602 w 228"/>
                <a:gd name="T1" fmla="*/ 1604386582 h 249"/>
                <a:gd name="T2" fmla="*/ 0 w 228"/>
                <a:gd name="T3" fmla="*/ 1604386582 h 249"/>
                <a:gd name="T4" fmla="*/ 0 w 228"/>
                <a:gd name="T5" fmla="*/ 1398199906 h 249"/>
                <a:gd name="T6" fmla="*/ 232632602 w 228"/>
                <a:gd name="T7" fmla="*/ 1398199906 h 249"/>
                <a:gd name="T8" fmla="*/ 232632602 w 228"/>
                <a:gd name="T9" fmla="*/ 1604386582 h 249"/>
                <a:gd name="T10" fmla="*/ 542807709 w 228"/>
                <a:gd name="T11" fmla="*/ 1346653237 h 249"/>
                <a:gd name="T12" fmla="*/ 310175108 w 228"/>
                <a:gd name="T13" fmla="*/ 1346653237 h 249"/>
                <a:gd name="T14" fmla="*/ 310175108 w 228"/>
                <a:gd name="T15" fmla="*/ 1604386582 h 249"/>
                <a:gd name="T16" fmla="*/ 542807709 w 228"/>
                <a:gd name="T17" fmla="*/ 1604386582 h 249"/>
                <a:gd name="T18" fmla="*/ 542807709 w 228"/>
                <a:gd name="T19" fmla="*/ 1346653237 h 249"/>
                <a:gd name="T20" fmla="*/ 852982817 w 228"/>
                <a:gd name="T21" fmla="*/ 1269334503 h 249"/>
                <a:gd name="T22" fmla="*/ 620350215 w 228"/>
                <a:gd name="T23" fmla="*/ 1269334503 h 249"/>
                <a:gd name="T24" fmla="*/ 620350215 w 228"/>
                <a:gd name="T25" fmla="*/ 1604386582 h 249"/>
                <a:gd name="T26" fmla="*/ 852982817 w 228"/>
                <a:gd name="T27" fmla="*/ 1604386582 h 249"/>
                <a:gd name="T28" fmla="*/ 852982817 w 228"/>
                <a:gd name="T29" fmla="*/ 1269334503 h 249"/>
                <a:gd name="T30" fmla="*/ 1163157925 w 228"/>
                <a:gd name="T31" fmla="*/ 985829093 h 249"/>
                <a:gd name="T32" fmla="*/ 930525323 w 228"/>
                <a:gd name="T33" fmla="*/ 985829093 h 249"/>
                <a:gd name="T34" fmla="*/ 930525323 w 228"/>
                <a:gd name="T35" fmla="*/ 1604386582 h 249"/>
                <a:gd name="T36" fmla="*/ 1163157925 w 228"/>
                <a:gd name="T37" fmla="*/ 1604386582 h 249"/>
                <a:gd name="T38" fmla="*/ 1163157925 w 228"/>
                <a:gd name="T39" fmla="*/ 985829093 h 249"/>
                <a:gd name="T40" fmla="*/ 1473333032 w 228"/>
                <a:gd name="T41" fmla="*/ 367269065 h 249"/>
                <a:gd name="T42" fmla="*/ 1240700431 w 228"/>
                <a:gd name="T43" fmla="*/ 367269065 h 249"/>
                <a:gd name="T44" fmla="*/ 1240700431 w 228"/>
                <a:gd name="T45" fmla="*/ 1604386582 h 249"/>
                <a:gd name="T46" fmla="*/ 1473333032 w 228"/>
                <a:gd name="T47" fmla="*/ 1604386582 h 249"/>
                <a:gd name="T48" fmla="*/ 1473333032 w 228"/>
                <a:gd name="T49" fmla="*/ 367269065 h 249"/>
                <a:gd name="T50" fmla="*/ 1079151001 w 228"/>
                <a:gd name="T51" fmla="*/ 0 h 249"/>
                <a:gd name="T52" fmla="*/ 936987198 w 228"/>
                <a:gd name="T53" fmla="*/ 186856992 h 249"/>
                <a:gd name="T54" fmla="*/ 1001608495 w 228"/>
                <a:gd name="T55" fmla="*/ 193299374 h 249"/>
                <a:gd name="T56" fmla="*/ 756052143 w 228"/>
                <a:gd name="T57" fmla="*/ 844073849 h 249"/>
                <a:gd name="T58" fmla="*/ 0 w 228"/>
                <a:gd name="T59" fmla="*/ 1262889583 h 249"/>
                <a:gd name="T60" fmla="*/ 0 w 228"/>
                <a:gd name="T61" fmla="*/ 1365982921 h 249"/>
                <a:gd name="T62" fmla="*/ 840059066 w 228"/>
                <a:gd name="T63" fmla="*/ 908507820 h 249"/>
                <a:gd name="T64" fmla="*/ 1105001045 w 228"/>
                <a:gd name="T65" fmla="*/ 212629058 h 249"/>
                <a:gd name="T66" fmla="*/ 1169619800 w 228"/>
                <a:gd name="T67" fmla="*/ 219073978 h 249"/>
                <a:gd name="T68" fmla="*/ 1079151001 w 228"/>
                <a:gd name="T69" fmla="*/ 0 h 24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28" h="249">
                  <a:moveTo>
                    <a:pt x="36" y="249"/>
                  </a:moveTo>
                  <a:cubicBezTo>
                    <a:pt x="0" y="249"/>
                    <a:pt x="0" y="249"/>
                    <a:pt x="0" y="249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36" y="217"/>
                    <a:pt x="36" y="217"/>
                    <a:pt x="36" y="217"/>
                  </a:cubicBezTo>
                  <a:lnTo>
                    <a:pt x="36" y="249"/>
                  </a:lnTo>
                  <a:close/>
                  <a:moveTo>
                    <a:pt x="84" y="209"/>
                  </a:moveTo>
                  <a:cubicBezTo>
                    <a:pt x="48" y="209"/>
                    <a:pt x="48" y="209"/>
                    <a:pt x="48" y="209"/>
                  </a:cubicBezTo>
                  <a:cubicBezTo>
                    <a:pt x="48" y="249"/>
                    <a:pt x="48" y="249"/>
                    <a:pt x="48" y="249"/>
                  </a:cubicBezTo>
                  <a:cubicBezTo>
                    <a:pt x="84" y="249"/>
                    <a:pt x="84" y="249"/>
                    <a:pt x="84" y="249"/>
                  </a:cubicBezTo>
                  <a:lnTo>
                    <a:pt x="84" y="209"/>
                  </a:lnTo>
                  <a:close/>
                  <a:moveTo>
                    <a:pt x="132" y="197"/>
                  </a:moveTo>
                  <a:cubicBezTo>
                    <a:pt x="96" y="197"/>
                    <a:pt x="96" y="197"/>
                    <a:pt x="96" y="197"/>
                  </a:cubicBezTo>
                  <a:cubicBezTo>
                    <a:pt x="96" y="249"/>
                    <a:pt x="96" y="249"/>
                    <a:pt x="96" y="249"/>
                  </a:cubicBezTo>
                  <a:cubicBezTo>
                    <a:pt x="132" y="249"/>
                    <a:pt x="132" y="249"/>
                    <a:pt x="132" y="249"/>
                  </a:cubicBezTo>
                  <a:lnTo>
                    <a:pt x="132" y="197"/>
                  </a:lnTo>
                  <a:close/>
                  <a:moveTo>
                    <a:pt x="180" y="153"/>
                  </a:moveTo>
                  <a:cubicBezTo>
                    <a:pt x="144" y="153"/>
                    <a:pt x="144" y="153"/>
                    <a:pt x="144" y="153"/>
                  </a:cubicBezTo>
                  <a:cubicBezTo>
                    <a:pt x="144" y="249"/>
                    <a:pt x="144" y="249"/>
                    <a:pt x="144" y="249"/>
                  </a:cubicBezTo>
                  <a:cubicBezTo>
                    <a:pt x="180" y="249"/>
                    <a:pt x="180" y="249"/>
                    <a:pt x="180" y="249"/>
                  </a:cubicBezTo>
                  <a:lnTo>
                    <a:pt x="180" y="153"/>
                  </a:lnTo>
                  <a:close/>
                  <a:moveTo>
                    <a:pt x="228" y="57"/>
                  </a:moveTo>
                  <a:cubicBezTo>
                    <a:pt x="192" y="57"/>
                    <a:pt x="192" y="57"/>
                    <a:pt x="192" y="57"/>
                  </a:cubicBezTo>
                  <a:cubicBezTo>
                    <a:pt x="192" y="249"/>
                    <a:pt x="192" y="249"/>
                    <a:pt x="192" y="249"/>
                  </a:cubicBezTo>
                  <a:cubicBezTo>
                    <a:pt x="228" y="249"/>
                    <a:pt x="228" y="249"/>
                    <a:pt x="228" y="249"/>
                  </a:cubicBezTo>
                  <a:lnTo>
                    <a:pt x="228" y="57"/>
                  </a:lnTo>
                  <a:close/>
                  <a:moveTo>
                    <a:pt x="167" y="0"/>
                  </a:moveTo>
                  <a:cubicBezTo>
                    <a:pt x="145" y="29"/>
                    <a:pt x="145" y="29"/>
                    <a:pt x="145" y="29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0" y="58"/>
                    <a:pt x="139" y="104"/>
                    <a:pt x="117" y="131"/>
                  </a:cubicBezTo>
                  <a:cubicBezTo>
                    <a:pt x="83" y="174"/>
                    <a:pt x="20" y="191"/>
                    <a:pt x="0" y="196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17" y="209"/>
                    <a:pt x="90" y="191"/>
                    <a:pt x="130" y="141"/>
                  </a:cubicBezTo>
                  <a:cubicBezTo>
                    <a:pt x="152" y="112"/>
                    <a:pt x="164" y="67"/>
                    <a:pt x="171" y="33"/>
                  </a:cubicBezTo>
                  <a:cubicBezTo>
                    <a:pt x="181" y="34"/>
                    <a:pt x="181" y="34"/>
                    <a:pt x="181" y="34"/>
                  </a:cubicBez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40" name="TextBox 39"/>
          <p:cNvSpPr txBox="1"/>
          <p:nvPr/>
        </p:nvSpPr>
        <p:spPr bwMode="auto">
          <a:xfrm>
            <a:off x="5426075" y="1008063"/>
            <a:ext cx="2081213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分布说明</a:t>
            </a:r>
            <a:endParaRPr lang="zh-CN" altLang="en-US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组合 53"/>
          <p:cNvGrpSpPr/>
          <p:nvPr/>
        </p:nvGrpSpPr>
        <p:grpSpPr bwMode="auto">
          <a:xfrm>
            <a:off x="652463" y="911225"/>
            <a:ext cx="7826375" cy="3173413"/>
            <a:chOff x="652801" y="911873"/>
            <a:chExt cx="7826681" cy="3172045"/>
          </a:xfrm>
        </p:grpSpPr>
        <p:grpSp>
          <p:nvGrpSpPr>
            <p:cNvPr id="21507" name="组合 46"/>
            <p:cNvGrpSpPr/>
            <p:nvPr/>
          </p:nvGrpSpPr>
          <p:grpSpPr bwMode="auto">
            <a:xfrm>
              <a:off x="2609467" y="1985563"/>
              <a:ext cx="1926568" cy="993386"/>
              <a:chOff x="2609467" y="1985563"/>
              <a:chExt cx="1926568" cy="993386"/>
            </a:xfrm>
          </p:grpSpPr>
          <p:pic>
            <p:nvPicPr>
              <p:cNvPr id="21543" name="Picture 48"/>
              <p:cNvPicPr>
                <a:picLocks noChangeAspect="1" noChangeArrowheads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844" b="33594"/>
              <a:stretch>
                <a:fillRect/>
              </a:stretch>
            </p:blipFill>
            <p:spPr bwMode="auto">
              <a:xfrm>
                <a:off x="2609467" y="198556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Rectangle 5"/>
              <p:cNvSpPr/>
              <p:nvPr/>
            </p:nvSpPr>
            <p:spPr bwMode="auto">
              <a:xfrm>
                <a:off x="2608677" y="2438390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08" name="组合 51"/>
            <p:cNvGrpSpPr/>
            <p:nvPr/>
          </p:nvGrpSpPr>
          <p:grpSpPr bwMode="auto">
            <a:xfrm>
              <a:off x="4566131" y="3060429"/>
              <a:ext cx="1926568" cy="1023489"/>
              <a:chOff x="4566131" y="3060429"/>
              <a:chExt cx="1926568" cy="1023489"/>
            </a:xfrm>
          </p:grpSpPr>
          <p:pic>
            <p:nvPicPr>
              <p:cNvPr id="21541" name="Picture 4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7188" b="29688"/>
              <a:stretch>
                <a:fillRect/>
              </a:stretch>
            </p:blipFill>
            <p:spPr bwMode="auto">
              <a:xfrm>
                <a:off x="4566131" y="3060429"/>
                <a:ext cx="1926568" cy="10234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" name="Rectangle 8"/>
              <p:cNvSpPr/>
              <p:nvPr/>
            </p:nvSpPr>
            <p:spPr bwMode="auto">
              <a:xfrm>
                <a:off x="4566141" y="3542813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09" name="组合 50"/>
            <p:cNvGrpSpPr/>
            <p:nvPr/>
          </p:nvGrpSpPr>
          <p:grpSpPr bwMode="auto">
            <a:xfrm>
              <a:off x="2609466" y="3060429"/>
              <a:ext cx="1926571" cy="1023489"/>
              <a:chOff x="2609466" y="3060429"/>
              <a:chExt cx="1926571" cy="1023489"/>
            </a:xfrm>
          </p:grpSpPr>
          <p:pic>
            <p:nvPicPr>
              <p:cNvPr id="21539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6559" b="20309"/>
              <a:stretch>
                <a:fillRect/>
              </a:stretch>
            </p:blipFill>
            <p:spPr bwMode="auto">
              <a:xfrm>
                <a:off x="2609469" y="3060429"/>
                <a:ext cx="1926568" cy="10234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4" name="Rectangle 11"/>
              <p:cNvSpPr/>
              <p:nvPr/>
            </p:nvSpPr>
            <p:spPr bwMode="auto">
              <a:xfrm>
                <a:off x="2608677" y="3542813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10" name="组合 42"/>
            <p:cNvGrpSpPr/>
            <p:nvPr/>
          </p:nvGrpSpPr>
          <p:grpSpPr bwMode="auto">
            <a:xfrm>
              <a:off x="4566131" y="911873"/>
              <a:ext cx="1926568" cy="993386"/>
              <a:chOff x="4566131" y="911873"/>
              <a:chExt cx="1926568" cy="993386"/>
            </a:xfrm>
          </p:grpSpPr>
          <p:pic>
            <p:nvPicPr>
              <p:cNvPr id="21537" name="Picture 3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3846" b="14590"/>
              <a:stretch>
                <a:fillRect/>
              </a:stretch>
            </p:blipFill>
            <p:spPr bwMode="auto">
              <a:xfrm>
                <a:off x="4566131" y="91187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ectangle 14"/>
              <p:cNvSpPr/>
              <p:nvPr/>
            </p:nvSpPr>
            <p:spPr bwMode="auto">
              <a:xfrm>
                <a:off x="4566141" y="1364116"/>
                <a:ext cx="1927300" cy="541104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11" name="组合 47"/>
            <p:cNvGrpSpPr/>
            <p:nvPr/>
          </p:nvGrpSpPr>
          <p:grpSpPr bwMode="auto">
            <a:xfrm>
              <a:off x="4566131" y="1985563"/>
              <a:ext cx="1926568" cy="993386"/>
              <a:chOff x="4566131" y="1985563"/>
              <a:chExt cx="1926568" cy="993386"/>
            </a:xfrm>
          </p:grpSpPr>
          <p:pic>
            <p:nvPicPr>
              <p:cNvPr id="21535" name="Picture 32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094" b="27344"/>
              <a:stretch>
                <a:fillRect/>
              </a:stretch>
            </p:blipFill>
            <p:spPr bwMode="auto">
              <a:xfrm>
                <a:off x="4566131" y="198556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ectangle 17"/>
              <p:cNvSpPr/>
              <p:nvPr/>
            </p:nvSpPr>
            <p:spPr bwMode="auto">
              <a:xfrm>
                <a:off x="4566141" y="2438390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12" name="组合 45"/>
            <p:cNvGrpSpPr/>
            <p:nvPr/>
          </p:nvGrpSpPr>
          <p:grpSpPr bwMode="auto">
            <a:xfrm>
              <a:off x="652801" y="1985563"/>
              <a:ext cx="1926569" cy="993386"/>
              <a:chOff x="652801" y="1985563"/>
              <a:chExt cx="1926569" cy="993386"/>
            </a:xfrm>
          </p:grpSpPr>
          <p:pic>
            <p:nvPicPr>
              <p:cNvPr id="21533" name="Picture 18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615" b="23822"/>
              <a:stretch>
                <a:fillRect/>
              </a:stretch>
            </p:blipFill>
            <p:spPr bwMode="auto">
              <a:xfrm>
                <a:off x="652802" y="198556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ectangle 23"/>
              <p:cNvSpPr/>
              <p:nvPr/>
            </p:nvSpPr>
            <p:spPr bwMode="auto">
              <a:xfrm>
                <a:off x="652801" y="2438390"/>
                <a:ext cx="1927300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13" name="组合 41"/>
            <p:cNvGrpSpPr/>
            <p:nvPr/>
          </p:nvGrpSpPr>
          <p:grpSpPr bwMode="auto">
            <a:xfrm>
              <a:off x="2609466" y="911873"/>
              <a:ext cx="1926568" cy="993386"/>
              <a:chOff x="2609466" y="911873"/>
              <a:chExt cx="1926568" cy="993386"/>
            </a:xfrm>
          </p:grpSpPr>
          <p:pic>
            <p:nvPicPr>
              <p:cNvPr id="21531" name="Picture 16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462" b="29976"/>
              <a:stretch>
                <a:fillRect/>
              </a:stretch>
            </p:blipFill>
            <p:spPr bwMode="auto">
              <a:xfrm>
                <a:off x="2609466" y="911873"/>
                <a:ext cx="1926568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ectangle 26"/>
              <p:cNvSpPr/>
              <p:nvPr/>
            </p:nvSpPr>
            <p:spPr bwMode="auto">
              <a:xfrm>
                <a:off x="2608677" y="1364116"/>
                <a:ext cx="1927300" cy="541104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1514" name="组合 49"/>
            <p:cNvGrpSpPr/>
            <p:nvPr/>
          </p:nvGrpSpPr>
          <p:grpSpPr bwMode="auto">
            <a:xfrm>
              <a:off x="652801" y="3060429"/>
              <a:ext cx="1926568" cy="1023489"/>
              <a:chOff x="652801" y="3060429"/>
              <a:chExt cx="1926568" cy="1023489"/>
            </a:xfrm>
          </p:grpSpPr>
          <p:sp>
            <p:nvSpPr>
              <p:cNvPr id="23" name="Rectangle 28"/>
              <p:cNvSpPr/>
              <p:nvPr/>
            </p:nvSpPr>
            <p:spPr bwMode="auto">
              <a:xfrm>
                <a:off x="652801" y="3060421"/>
                <a:ext cx="1927300" cy="102349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46612" rIns="186452" bIns="149161" anchor="b"/>
              <a:lstStyle>
                <a:lvl1pPr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en-US" altLang="zh-CN" sz="1100" smtClean="0">
                  <a:cs typeface="Segoe UI" panose="020B0502040204020203" pitchFamily="34" charset="0"/>
                </a:endParaRPr>
              </a:p>
            </p:txBody>
          </p:sp>
          <p:pic>
            <p:nvPicPr>
              <p:cNvPr id="21530" name="Picture 5" descr="\\MAGNUM\Projects\Microsoft\Cloud Power FY12\Design\Icons\PNGs\Stop_watch.png"/>
              <p:cNvPicPr>
                <a:picLocks noChangeAspect="1" noChangeArrowheads="1"/>
              </p:cNvPicPr>
              <p:nvPr/>
            </p:nvPicPr>
            <p:blipFill>
              <a:blip r:embed="rId8">
                <a:lum bright="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64634" y="3230435"/>
                <a:ext cx="502903" cy="6834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1515" name="组合 43"/>
            <p:cNvGrpSpPr/>
            <p:nvPr/>
          </p:nvGrpSpPr>
          <p:grpSpPr bwMode="auto">
            <a:xfrm>
              <a:off x="652801" y="911873"/>
              <a:ext cx="1926568" cy="993386"/>
              <a:chOff x="652801" y="911873"/>
              <a:chExt cx="1926568" cy="993386"/>
            </a:xfrm>
          </p:grpSpPr>
          <p:sp>
            <p:nvSpPr>
              <p:cNvPr id="21" name="Rectangle 34"/>
              <p:cNvSpPr/>
              <p:nvPr/>
            </p:nvSpPr>
            <p:spPr bwMode="auto">
              <a:xfrm>
                <a:off x="652801" y="911873"/>
                <a:ext cx="1927300" cy="99334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52" tIns="149161" rIns="186452" bIns="149161" anchor="b"/>
              <a:lstStyle>
                <a:lvl1pPr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en-US" altLang="zh-CN" sz="1100" smtClean="0">
                  <a:cs typeface="Segoe UI" panose="020B0502040204020203" pitchFamily="34" charset="0"/>
                </a:endParaRPr>
              </a:p>
            </p:txBody>
          </p:sp>
          <p:pic>
            <p:nvPicPr>
              <p:cNvPr id="21528" name="Picture 2" descr="\\MAGNUM\Projects\Microsoft\Cloud Power FY12\Design\Icons\PNGs\Cloud_on_your_terms.png"/>
              <p:cNvPicPr>
                <a:picLocks noChangeAspect="1" noChangeArrowheads="1"/>
              </p:cNvPicPr>
              <p:nvPr/>
            </p:nvPicPr>
            <p:blipFill>
              <a:blip r:embed="rId9">
                <a:lum bright="10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7801" y="1106034"/>
                <a:ext cx="1036569" cy="6050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1516" name="组合 44"/>
            <p:cNvGrpSpPr/>
            <p:nvPr/>
          </p:nvGrpSpPr>
          <p:grpSpPr bwMode="auto">
            <a:xfrm>
              <a:off x="6522796" y="911873"/>
              <a:ext cx="1956686" cy="993386"/>
              <a:chOff x="6522796" y="911873"/>
              <a:chExt cx="1956686" cy="993386"/>
            </a:xfrm>
          </p:grpSpPr>
          <p:sp>
            <p:nvSpPr>
              <p:cNvPr id="17" name="Rectangle 37"/>
              <p:cNvSpPr/>
              <p:nvPr/>
            </p:nvSpPr>
            <p:spPr bwMode="auto">
              <a:xfrm>
                <a:off x="6522017" y="911873"/>
                <a:ext cx="1957465" cy="99334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521" tIns="149217" rIns="186521" bIns="149217" anchor="b"/>
              <a:lstStyle>
                <a:lvl1pPr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defRPr/>
                </a:pPr>
                <a:endParaRPr lang="en-US" altLang="zh-CN" sz="1600" smtClean="0">
                  <a:cs typeface="Segoe UI" panose="020B0502040204020203" pitchFamily="34" charset="0"/>
                </a:endParaRPr>
              </a:p>
            </p:txBody>
          </p:sp>
          <p:grpSp>
            <p:nvGrpSpPr>
              <p:cNvPr id="21524" name="Group 38"/>
              <p:cNvGrpSpPr/>
              <p:nvPr/>
            </p:nvGrpSpPr>
            <p:grpSpPr bwMode="auto">
              <a:xfrm>
                <a:off x="6522797" y="979840"/>
                <a:ext cx="963006" cy="857463"/>
                <a:chOff x="-2511045" y="4550160"/>
                <a:chExt cx="1557674" cy="1386956"/>
              </a:xfrm>
            </p:grpSpPr>
            <p:pic>
              <p:nvPicPr>
                <p:cNvPr id="21525" name="Picture 2" descr="\\MAGNUM\Projects\Microsoft\Cloud Power FY12\Design\ICONS_PNG\Devices.png"/>
                <p:cNvPicPr>
                  <a:picLocks noChangeAspect="1" noChangeArrowheads="1"/>
                </p:cNvPicPr>
                <p:nvPr/>
              </p:nvPicPr>
              <p:blipFill>
                <a:blip r:embed="rId10">
                  <a:lum bright="10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824395" y="4550160"/>
                  <a:ext cx="871024" cy="13869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526" name="Picture 2" descr="\\MAGNUM\Projects\Microsoft\Cloud Power FY12\Design\ICONS_PNG\Devices.png"/>
                <p:cNvPicPr>
                  <a:picLocks noChangeAspect="1" noChangeArrowheads="1"/>
                </p:cNvPicPr>
                <p:nvPr/>
              </p:nvPicPr>
              <p:blipFill>
                <a:blip r:embed="rId11">
                  <a:lum bright="10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2511045" y="4601778"/>
                  <a:ext cx="997339" cy="12009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21517" name="组合 52"/>
            <p:cNvGrpSpPr/>
            <p:nvPr/>
          </p:nvGrpSpPr>
          <p:grpSpPr bwMode="auto">
            <a:xfrm>
              <a:off x="6522796" y="3060429"/>
              <a:ext cx="1956670" cy="1023489"/>
              <a:chOff x="6522796" y="3060429"/>
              <a:chExt cx="1956670" cy="1023489"/>
            </a:xfrm>
          </p:grpSpPr>
          <p:sp>
            <p:nvSpPr>
              <p:cNvPr id="15" name="Rectangle 31"/>
              <p:cNvSpPr/>
              <p:nvPr/>
            </p:nvSpPr>
            <p:spPr bwMode="auto">
              <a:xfrm>
                <a:off x="6522017" y="3060421"/>
                <a:ext cx="1957464" cy="1023497"/>
              </a:xfrm>
              <a:prstGeom prst="rect">
                <a:avLst/>
              </a:prstGeom>
              <a:solidFill>
                <a:srgbClr val="C7636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522" name="Freeform 13"/>
              <p:cNvSpPr>
                <a:spLocks noEditPoints="1"/>
              </p:cNvSpPr>
              <p:nvPr/>
            </p:nvSpPr>
            <p:spPr bwMode="auto">
              <a:xfrm>
                <a:off x="7211338" y="3256147"/>
                <a:ext cx="579586" cy="632054"/>
              </a:xfrm>
              <a:custGeom>
                <a:avLst/>
                <a:gdLst>
                  <a:gd name="T0" fmla="*/ 232632602 w 228"/>
                  <a:gd name="T1" fmla="*/ 1604386582 h 249"/>
                  <a:gd name="T2" fmla="*/ 0 w 228"/>
                  <a:gd name="T3" fmla="*/ 1604386582 h 249"/>
                  <a:gd name="T4" fmla="*/ 0 w 228"/>
                  <a:gd name="T5" fmla="*/ 1398199906 h 249"/>
                  <a:gd name="T6" fmla="*/ 232632602 w 228"/>
                  <a:gd name="T7" fmla="*/ 1398199906 h 249"/>
                  <a:gd name="T8" fmla="*/ 232632602 w 228"/>
                  <a:gd name="T9" fmla="*/ 1604386582 h 249"/>
                  <a:gd name="T10" fmla="*/ 542807709 w 228"/>
                  <a:gd name="T11" fmla="*/ 1346653237 h 249"/>
                  <a:gd name="T12" fmla="*/ 310175108 w 228"/>
                  <a:gd name="T13" fmla="*/ 1346653237 h 249"/>
                  <a:gd name="T14" fmla="*/ 310175108 w 228"/>
                  <a:gd name="T15" fmla="*/ 1604386582 h 249"/>
                  <a:gd name="T16" fmla="*/ 542807709 w 228"/>
                  <a:gd name="T17" fmla="*/ 1604386582 h 249"/>
                  <a:gd name="T18" fmla="*/ 542807709 w 228"/>
                  <a:gd name="T19" fmla="*/ 1346653237 h 249"/>
                  <a:gd name="T20" fmla="*/ 852982817 w 228"/>
                  <a:gd name="T21" fmla="*/ 1269334503 h 249"/>
                  <a:gd name="T22" fmla="*/ 620350215 w 228"/>
                  <a:gd name="T23" fmla="*/ 1269334503 h 249"/>
                  <a:gd name="T24" fmla="*/ 620350215 w 228"/>
                  <a:gd name="T25" fmla="*/ 1604386582 h 249"/>
                  <a:gd name="T26" fmla="*/ 852982817 w 228"/>
                  <a:gd name="T27" fmla="*/ 1604386582 h 249"/>
                  <a:gd name="T28" fmla="*/ 852982817 w 228"/>
                  <a:gd name="T29" fmla="*/ 1269334503 h 249"/>
                  <a:gd name="T30" fmla="*/ 1163157925 w 228"/>
                  <a:gd name="T31" fmla="*/ 985829093 h 249"/>
                  <a:gd name="T32" fmla="*/ 930525323 w 228"/>
                  <a:gd name="T33" fmla="*/ 985829093 h 249"/>
                  <a:gd name="T34" fmla="*/ 930525323 w 228"/>
                  <a:gd name="T35" fmla="*/ 1604386582 h 249"/>
                  <a:gd name="T36" fmla="*/ 1163157925 w 228"/>
                  <a:gd name="T37" fmla="*/ 1604386582 h 249"/>
                  <a:gd name="T38" fmla="*/ 1163157925 w 228"/>
                  <a:gd name="T39" fmla="*/ 985829093 h 249"/>
                  <a:gd name="T40" fmla="*/ 1473333032 w 228"/>
                  <a:gd name="T41" fmla="*/ 367269065 h 249"/>
                  <a:gd name="T42" fmla="*/ 1240700431 w 228"/>
                  <a:gd name="T43" fmla="*/ 367269065 h 249"/>
                  <a:gd name="T44" fmla="*/ 1240700431 w 228"/>
                  <a:gd name="T45" fmla="*/ 1604386582 h 249"/>
                  <a:gd name="T46" fmla="*/ 1473333032 w 228"/>
                  <a:gd name="T47" fmla="*/ 1604386582 h 249"/>
                  <a:gd name="T48" fmla="*/ 1473333032 w 228"/>
                  <a:gd name="T49" fmla="*/ 367269065 h 249"/>
                  <a:gd name="T50" fmla="*/ 1079151001 w 228"/>
                  <a:gd name="T51" fmla="*/ 0 h 249"/>
                  <a:gd name="T52" fmla="*/ 936987198 w 228"/>
                  <a:gd name="T53" fmla="*/ 186856992 h 249"/>
                  <a:gd name="T54" fmla="*/ 1001608495 w 228"/>
                  <a:gd name="T55" fmla="*/ 193299374 h 249"/>
                  <a:gd name="T56" fmla="*/ 756052143 w 228"/>
                  <a:gd name="T57" fmla="*/ 844073849 h 249"/>
                  <a:gd name="T58" fmla="*/ 0 w 228"/>
                  <a:gd name="T59" fmla="*/ 1262889583 h 249"/>
                  <a:gd name="T60" fmla="*/ 0 w 228"/>
                  <a:gd name="T61" fmla="*/ 1365982921 h 249"/>
                  <a:gd name="T62" fmla="*/ 840059066 w 228"/>
                  <a:gd name="T63" fmla="*/ 908507820 h 249"/>
                  <a:gd name="T64" fmla="*/ 1105001045 w 228"/>
                  <a:gd name="T65" fmla="*/ 212629058 h 249"/>
                  <a:gd name="T66" fmla="*/ 1169619800 w 228"/>
                  <a:gd name="T67" fmla="*/ 219073978 h 249"/>
                  <a:gd name="T68" fmla="*/ 1079151001 w 228"/>
                  <a:gd name="T69" fmla="*/ 0 h 24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8" h="249">
                    <a:moveTo>
                      <a:pt x="36" y="249"/>
                    </a:moveTo>
                    <a:cubicBezTo>
                      <a:pt x="0" y="249"/>
                      <a:pt x="0" y="249"/>
                      <a:pt x="0" y="249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36" y="217"/>
                      <a:pt x="36" y="217"/>
                      <a:pt x="36" y="217"/>
                    </a:cubicBezTo>
                    <a:lnTo>
                      <a:pt x="36" y="249"/>
                    </a:lnTo>
                    <a:close/>
                    <a:moveTo>
                      <a:pt x="84" y="209"/>
                    </a:moveTo>
                    <a:cubicBezTo>
                      <a:pt x="48" y="209"/>
                      <a:pt x="48" y="209"/>
                      <a:pt x="48" y="209"/>
                    </a:cubicBezTo>
                    <a:cubicBezTo>
                      <a:pt x="48" y="249"/>
                      <a:pt x="48" y="249"/>
                      <a:pt x="48" y="249"/>
                    </a:cubicBezTo>
                    <a:cubicBezTo>
                      <a:pt x="84" y="249"/>
                      <a:pt x="84" y="249"/>
                      <a:pt x="84" y="249"/>
                    </a:cubicBezTo>
                    <a:lnTo>
                      <a:pt x="84" y="209"/>
                    </a:lnTo>
                    <a:close/>
                    <a:moveTo>
                      <a:pt x="132" y="197"/>
                    </a:moveTo>
                    <a:cubicBezTo>
                      <a:pt x="96" y="197"/>
                      <a:pt x="96" y="197"/>
                      <a:pt x="96" y="197"/>
                    </a:cubicBezTo>
                    <a:cubicBezTo>
                      <a:pt x="96" y="249"/>
                      <a:pt x="96" y="249"/>
                      <a:pt x="96" y="249"/>
                    </a:cubicBezTo>
                    <a:cubicBezTo>
                      <a:pt x="132" y="249"/>
                      <a:pt x="132" y="249"/>
                      <a:pt x="132" y="249"/>
                    </a:cubicBezTo>
                    <a:lnTo>
                      <a:pt x="132" y="197"/>
                    </a:lnTo>
                    <a:close/>
                    <a:moveTo>
                      <a:pt x="180" y="153"/>
                    </a:moveTo>
                    <a:cubicBezTo>
                      <a:pt x="144" y="153"/>
                      <a:pt x="144" y="153"/>
                      <a:pt x="144" y="153"/>
                    </a:cubicBezTo>
                    <a:cubicBezTo>
                      <a:pt x="144" y="249"/>
                      <a:pt x="144" y="249"/>
                      <a:pt x="144" y="249"/>
                    </a:cubicBezTo>
                    <a:cubicBezTo>
                      <a:pt x="180" y="249"/>
                      <a:pt x="180" y="249"/>
                      <a:pt x="180" y="249"/>
                    </a:cubicBezTo>
                    <a:lnTo>
                      <a:pt x="180" y="153"/>
                    </a:lnTo>
                    <a:close/>
                    <a:moveTo>
                      <a:pt x="228" y="57"/>
                    </a:moveTo>
                    <a:cubicBezTo>
                      <a:pt x="192" y="57"/>
                      <a:pt x="192" y="57"/>
                      <a:pt x="192" y="57"/>
                    </a:cubicBezTo>
                    <a:cubicBezTo>
                      <a:pt x="192" y="249"/>
                      <a:pt x="192" y="249"/>
                      <a:pt x="192" y="249"/>
                    </a:cubicBezTo>
                    <a:cubicBezTo>
                      <a:pt x="228" y="249"/>
                      <a:pt x="228" y="249"/>
                      <a:pt x="228" y="249"/>
                    </a:cubicBezTo>
                    <a:lnTo>
                      <a:pt x="228" y="57"/>
                    </a:lnTo>
                    <a:close/>
                    <a:moveTo>
                      <a:pt x="167" y="0"/>
                    </a:moveTo>
                    <a:cubicBezTo>
                      <a:pt x="145" y="29"/>
                      <a:pt x="145" y="29"/>
                      <a:pt x="145" y="29"/>
                    </a:cubicBezTo>
                    <a:cubicBezTo>
                      <a:pt x="155" y="30"/>
                      <a:pt x="155" y="30"/>
                      <a:pt x="155" y="30"/>
                    </a:cubicBezTo>
                    <a:cubicBezTo>
                      <a:pt x="150" y="58"/>
                      <a:pt x="139" y="104"/>
                      <a:pt x="117" y="131"/>
                    </a:cubicBezTo>
                    <a:cubicBezTo>
                      <a:pt x="83" y="174"/>
                      <a:pt x="20" y="191"/>
                      <a:pt x="0" y="196"/>
                    </a:cubicBezTo>
                    <a:cubicBezTo>
                      <a:pt x="0" y="212"/>
                      <a:pt x="0" y="212"/>
                      <a:pt x="0" y="212"/>
                    </a:cubicBezTo>
                    <a:cubicBezTo>
                      <a:pt x="17" y="209"/>
                      <a:pt x="90" y="191"/>
                      <a:pt x="130" y="141"/>
                    </a:cubicBezTo>
                    <a:cubicBezTo>
                      <a:pt x="152" y="112"/>
                      <a:pt x="164" y="67"/>
                      <a:pt x="171" y="33"/>
                    </a:cubicBezTo>
                    <a:cubicBezTo>
                      <a:pt x="181" y="34"/>
                      <a:pt x="181" y="34"/>
                      <a:pt x="181" y="34"/>
                    </a:cubicBezTo>
                    <a:lnTo>
                      <a:pt x="16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1518" name="组合 48"/>
            <p:cNvGrpSpPr/>
            <p:nvPr/>
          </p:nvGrpSpPr>
          <p:grpSpPr bwMode="auto">
            <a:xfrm>
              <a:off x="6522796" y="1985563"/>
              <a:ext cx="1956686" cy="993386"/>
              <a:chOff x="6522796" y="1985563"/>
              <a:chExt cx="1956686" cy="993386"/>
            </a:xfrm>
          </p:grpSpPr>
          <p:pic>
            <p:nvPicPr>
              <p:cNvPr id="21519" name="Picture 30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0769" b="18462"/>
              <a:stretch>
                <a:fillRect/>
              </a:stretch>
            </p:blipFill>
            <p:spPr bwMode="auto">
              <a:xfrm>
                <a:off x="6522796" y="1985563"/>
                <a:ext cx="1956686" cy="993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1" name="Rectangle 17"/>
              <p:cNvSpPr/>
              <p:nvPr/>
            </p:nvSpPr>
            <p:spPr bwMode="auto">
              <a:xfrm>
                <a:off x="6536306" y="2438390"/>
                <a:ext cx="1928888" cy="541105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alpha val="9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146304" tIns="91440" rIns="146304" bIns="91440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765"/>
                  </a:spcAft>
                  <a:defRPr/>
                </a:pPr>
                <a:r>
                  <a:rPr lang="zh-CN" altLang="en-US" sz="16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6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组合 1"/>
          <p:cNvGrpSpPr/>
          <p:nvPr/>
        </p:nvGrpSpPr>
        <p:grpSpPr bwMode="auto">
          <a:xfrm>
            <a:off x="5251450" y="1863725"/>
            <a:ext cx="3246438" cy="885825"/>
            <a:chOff x="5405876" y="2141875"/>
            <a:chExt cx="3246260" cy="886233"/>
          </a:xfrm>
        </p:grpSpPr>
        <p:sp>
          <p:nvSpPr>
            <p:cNvPr id="3" name="Rectangle 22"/>
            <p:cNvSpPr/>
            <p:nvPr/>
          </p:nvSpPr>
          <p:spPr bwMode="auto">
            <a:xfrm>
              <a:off x="5405876" y="2141875"/>
              <a:ext cx="3246260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3623" name="矩形 8"/>
            <p:cNvSpPr>
              <a:spLocks noChangeArrowheads="1"/>
            </p:cNvSpPr>
            <p:nvPr/>
          </p:nvSpPr>
          <p:spPr bwMode="auto">
            <a:xfrm>
              <a:off x="5422355" y="2367435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55" name="组合 4"/>
          <p:cNvGrpSpPr/>
          <p:nvPr/>
        </p:nvGrpSpPr>
        <p:grpSpPr bwMode="auto">
          <a:xfrm>
            <a:off x="5251450" y="2789238"/>
            <a:ext cx="3246438" cy="885825"/>
            <a:chOff x="5405876" y="3066412"/>
            <a:chExt cx="3246259" cy="886233"/>
          </a:xfrm>
        </p:grpSpPr>
        <p:sp>
          <p:nvSpPr>
            <p:cNvPr id="6" name="Rectangle 7"/>
            <p:cNvSpPr/>
            <p:nvPr/>
          </p:nvSpPr>
          <p:spPr bwMode="auto">
            <a:xfrm>
              <a:off x="5405876" y="3066412"/>
              <a:ext cx="3246259" cy="88623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5980" tIns="0" rIns="116386" bIns="139713" anchor="b"/>
            <a:lstStyle/>
            <a:p>
              <a:pPr defTabSz="6978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3621" name="矩形 8"/>
            <p:cNvSpPr>
              <a:spLocks noChangeArrowheads="1"/>
            </p:cNvSpPr>
            <p:nvPr/>
          </p:nvSpPr>
          <p:spPr bwMode="auto">
            <a:xfrm>
              <a:off x="5422355" y="3297736"/>
              <a:ext cx="2948287" cy="497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56" name="组合 7"/>
          <p:cNvGrpSpPr/>
          <p:nvPr/>
        </p:nvGrpSpPr>
        <p:grpSpPr bwMode="auto">
          <a:xfrm>
            <a:off x="6892925" y="925513"/>
            <a:ext cx="1609725" cy="900112"/>
            <a:chOff x="7047359" y="1203599"/>
            <a:chExt cx="1609337" cy="899973"/>
          </a:xfrm>
        </p:grpSpPr>
        <p:sp>
          <p:nvSpPr>
            <p:cNvPr id="9" name="Rectangle 6"/>
            <p:cNvSpPr/>
            <p:nvPr/>
          </p:nvSpPr>
          <p:spPr bwMode="auto">
            <a:xfrm>
              <a:off x="7047359" y="1203599"/>
              <a:ext cx="1609337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3619" name="矩形 91"/>
            <p:cNvSpPr>
              <a:spLocks noChangeArrowheads="1"/>
            </p:cNvSpPr>
            <p:nvPr/>
          </p:nvSpPr>
          <p:spPr bwMode="auto">
            <a:xfrm>
              <a:off x="7226771" y="1334016"/>
              <a:ext cx="1250511" cy="723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尽心；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意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557" name="组合 10"/>
          <p:cNvGrpSpPr/>
          <p:nvPr/>
        </p:nvGrpSpPr>
        <p:grpSpPr bwMode="auto">
          <a:xfrm>
            <a:off x="5251450" y="925513"/>
            <a:ext cx="1609725" cy="900112"/>
            <a:chOff x="5405876" y="1203599"/>
            <a:chExt cx="1609342" cy="899973"/>
          </a:xfrm>
        </p:grpSpPr>
        <p:sp>
          <p:nvSpPr>
            <p:cNvPr id="12" name="Rectangle 4"/>
            <p:cNvSpPr/>
            <p:nvPr/>
          </p:nvSpPr>
          <p:spPr bwMode="auto">
            <a:xfrm>
              <a:off x="5405876" y="1203599"/>
              <a:ext cx="1609342" cy="899973"/>
            </a:xfrm>
            <a:prstGeom prst="rect">
              <a:avLst/>
            </a:prstGeom>
            <a:solidFill>
              <a:srgbClr val="2B7EA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16162" tIns="0" rIns="116573" bIns="139927" anchor="b"/>
            <a:lstStyle/>
            <a:p>
              <a:pPr marL="0" lvl="1" defTabSz="69913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dirty="0">
                <a:solidFill>
                  <a:srgbClr val="EFEFEF"/>
                </a:solidFill>
              </a:endParaRPr>
            </a:p>
          </p:txBody>
        </p:sp>
        <p:sp>
          <p:nvSpPr>
            <p:cNvPr id="23614" name="矩形 8"/>
            <p:cNvSpPr>
              <a:spLocks noChangeArrowheads="1"/>
            </p:cNvSpPr>
            <p:nvPr/>
          </p:nvSpPr>
          <p:spPr bwMode="auto">
            <a:xfrm>
              <a:off x="5442943" y="1576278"/>
              <a:ext cx="1509435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615" name="矩形 8"/>
            <p:cNvSpPr>
              <a:spLocks noChangeArrowheads="1"/>
            </p:cNvSpPr>
            <p:nvPr/>
          </p:nvSpPr>
          <p:spPr bwMode="auto">
            <a:xfrm>
              <a:off x="5442943" y="1264782"/>
              <a:ext cx="1509435" cy="308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616" name="矩形 8"/>
            <p:cNvSpPr>
              <a:spLocks noChangeArrowheads="1"/>
            </p:cNvSpPr>
            <p:nvPr/>
          </p:nvSpPr>
          <p:spPr bwMode="auto">
            <a:xfrm>
              <a:off x="5442943" y="1758025"/>
              <a:ext cx="1509435" cy="297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ts val="1800"/>
                </a:lnSpc>
                <a:spcBef>
                  <a:spcPct val="0"/>
                </a:spcBef>
                <a:buClr>
                  <a:srgbClr val="0070C0"/>
                </a:buClr>
                <a:buFontTx/>
                <a:buNone/>
              </a:pPr>
              <a:r>
                <a:rPr lang="zh-CN" altLang="en-US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绝平庸、专做精品 ！</a:t>
              </a:r>
              <a:endParaRPr lang="en-US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5526497" y="1587715"/>
              <a:ext cx="1255414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558" name="组合 16"/>
          <p:cNvGrpSpPr/>
          <p:nvPr/>
        </p:nvGrpSpPr>
        <p:grpSpPr bwMode="auto">
          <a:xfrm>
            <a:off x="601663" y="925513"/>
            <a:ext cx="3255962" cy="852487"/>
            <a:chOff x="756172" y="1203599"/>
            <a:chExt cx="3254914" cy="851943"/>
          </a:xfrm>
        </p:grpSpPr>
        <p:sp>
          <p:nvSpPr>
            <p:cNvPr id="18" name="Rectangle 29"/>
            <p:cNvSpPr/>
            <p:nvPr/>
          </p:nvSpPr>
          <p:spPr bwMode="auto">
            <a:xfrm>
              <a:off x="756172" y="1203599"/>
              <a:ext cx="3254914" cy="851943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609" name="矩形 71"/>
            <p:cNvSpPr>
              <a:spLocks noChangeArrowheads="1"/>
            </p:cNvSpPr>
            <p:nvPr/>
          </p:nvSpPr>
          <p:spPr bwMode="auto">
            <a:xfrm>
              <a:off x="1676574" y="139366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3610" name="组合 64"/>
            <p:cNvGrpSpPr/>
            <p:nvPr/>
          </p:nvGrpSpPr>
          <p:grpSpPr bwMode="auto">
            <a:xfrm>
              <a:off x="1002156" y="1439986"/>
              <a:ext cx="420552" cy="420418"/>
              <a:chOff x="-2919063" y="-730633"/>
              <a:chExt cx="2125666" cy="2124988"/>
            </a:xfrm>
          </p:grpSpPr>
          <p:sp>
            <p:nvSpPr>
              <p:cNvPr id="21" name="Freeform 6"/>
              <p:cNvSpPr/>
              <p:nvPr/>
            </p:nvSpPr>
            <p:spPr bwMode="auto">
              <a:xfrm>
                <a:off x="-2919068" y="-730638"/>
                <a:ext cx="2125671" cy="2124998"/>
              </a:xfrm>
              <a:custGeom>
                <a:avLst/>
                <a:gdLst>
                  <a:gd name="T0" fmla="*/ 566 w 566"/>
                  <a:gd name="T1" fmla="*/ 283 h 566"/>
                  <a:gd name="T2" fmla="*/ 373 w 566"/>
                  <a:gd name="T3" fmla="*/ 551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59 w 566"/>
                  <a:gd name="T11" fmla="*/ 22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8"/>
                      <a:pt x="485" y="514"/>
                      <a:pt x="373" y="551"/>
                    </a:cubicBezTo>
                    <a:cubicBezTo>
                      <a:pt x="345" y="561"/>
                      <a:pt x="314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19" y="0"/>
                      <a:pt x="532" y="96"/>
                      <a:pt x="559" y="224"/>
                    </a:cubicBezTo>
                    <a:cubicBezTo>
                      <a:pt x="564" y="243"/>
                      <a:pt x="566" y="263"/>
                      <a:pt x="566" y="283"/>
                    </a:cubicBezTo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612" name="Freeform 9"/>
              <p:cNvSpPr/>
              <p:nvPr/>
            </p:nvSpPr>
            <p:spPr bwMode="auto">
              <a:xfrm>
                <a:off x="-2605088" y="-166688"/>
                <a:ext cx="1439863" cy="1219200"/>
              </a:xfrm>
              <a:custGeom>
                <a:avLst/>
                <a:gdLst>
                  <a:gd name="T0" fmla="*/ 2147483646 w 384"/>
                  <a:gd name="T1" fmla="*/ 2147483646 h 325"/>
                  <a:gd name="T2" fmla="*/ 2147483646 w 384"/>
                  <a:gd name="T3" fmla="*/ 2147483646 h 325"/>
                  <a:gd name="T4" fmla="*/ 2147483646 w 384"/>
                  <a:gd name="T5" fmla="*/ 2147483646 h 325"/>
                  <a:gd name="T6" fmla="*/ 2147483646 w 384"/>
                  <a:gd name="T7" fmla="*/ 2147483646 h 325"/>
                  <a:gd name="T8" fmla="*/ 2147483646 w 384"/>
                  <a:gd name="T9" fmla="*/ 2147483646 h 325"/>
                  <a:gd name="T10" fmla="*/ 2147483646 w 384"/>
                  <a:gd name="T11" fmla="*/ 2147483646 h 325"/>
                  <a:gd name="T12" fmla="*/ 2147483646 w 384"/>
                  <a:gd name="T13" fmla="*/ 2147483646 h 325"/>
                  <a:gd name="T14" fmla="*/ 2147483646 w 384"/>
                  <a:gd name="T15" fmla="*/ 2147483646 h 325"/>
                  <a:gd name="T16" fmla="*/ 2147483646 w 384"/>
                  <a:gd name="T17" fmla="*/ 2147483646 h 325"/>
                  <a:gd name="T18" fmla="*/ 2147483646 w 384"/>
                  <a:gd name="T19" fmla="*/ 2147483646 h 325"/>
                  <a:gd name="T20" fmla="*/ 2147483646 w 384"/>
                  <a:gd name="T21" fmla="*/ 2147483646 h 325"/>
                  <a:gd name="T22" fmla="*/ 2147483646 w 384"/>
                  <a:gd name="T23" fmla="*/ 2147483646 h 325"/>
                  <a:gd name="T24" fmla="*/ 2147483646 w 384"/>
                  <a:gd name="T25" fmla="*/ 2147483646 h 325"/>
                  <a:gd name="T26" fmla="*/ 2147483646 w 384"/>
                  <a:gd name="T27" fmla="*/ 2147483646 h 325"/>
                  <a:gd name="T28" fmla="*/ 2147483646 w 384"/>
                  <a:gd name="T29" fmla="*/ 2147483646 h 325"/>
                  <a:gd name="T30" fmla="*/ 2147483646 w 384"/>
                  <a:gd name="T31" fmla="*/ 2147483646 h 325"/>
                  <a:gd name="T32" fmla="*/ 2147483646 w 384"/>
                  <a:gd name="T33" fmla="*/ 2147483646 h 325"/>
                  <a:gd name="T34" fmla="*/ 2147483646 w 384"/>
                  <a:gd name="T35" fmla="*/ 2147483646 h 325"/>
                  <a:gd name="T36" fmla="*/ 2147483646 w 384"/>
                  <a:gd name="T37" fmla="*/ 2147483646 h 325"/>
                  <a:gd name="T38" fmla="*/ 2147483646 w 384"/>
                  <a:gd name="T39" fmla="*/ 2147483646 h 325"/>
                  <a:gd name="T40" fmla="*/ 2147483646 w 384"/>
                  <a:gd name="T41" fmla="*/ 2147483646 h 325"/>
                  <a:gd name="T42" fmla="*/ 2147483646 w 384"/>
                  <a:gd name="T43" fmla="*/ 2147483646 h 325"/>
                  <a:gd name="T44" fmla="*/ 2147483646 w 384"/>
                  <a:gd name="T45" fmla="*/ 2147483646 h 325"/>
                  <a:gd name="T46" fmla="*/ 2147483646 w 384"/>
                  <a:gd name="T47" fmla="*/ 2147483646 h 325"/>
                  <a:gd name="T48" fmla="*/ 2147483646 w 384"/>
                  <a:gd name="T49" fmla="*/ 0 h 325"/>
                  <a:gd name="T50" fmla="*/ 2147483646 w 384"/>
                  <a:gd name="T51" fmla="*/ 2147483646 h 325"/>
                  <a:gd name="T52" fmla="*/ 2147483646 w 384"/>
                  <a:gd name="T53" fmla="*/ 2147483646 h 325"/>
                  <a:gd name="T54" fmla="*/ 2147483646 w 384"/>
                  <a:gd name="T55" fmla="*/ 2147483646 h 325"/>
                  <a:gd name="T56" fmla="*/ 2147483646 w 384"/>
                  <a:gd name="T57" fmla="*/ 2147483646 h 325"/>
                  <a:gd name="T58" fmla="*/ 2147483646 w 384"/>
                  <a:gd name="T59" fmla="*/ 2147483646 h 325"/>
                  <a:gd name="T60" fmla="*/ 2147483646 w 384"/>
                  <a:gd name="T61" fmla="*/ 2147483646 h 325"/>
                  <a:gd name="T62" fmla="*/ 2147483646 w 384"/>
                  <a:gd name="T63" fmla="*/ 2147483646 h 325"/>
                  <a:gd name="T64" fmla="*/ 2147483646 w 384"/>
                  <a:gd name="T65" fmla="*/ 2147483646 h 325"/>
                  <a:gd name="T66" fmla="*/ 2147483646 w 384"/>
                  <a:gd name="T67" fmla="*/ 2147483646 h 325"/>
                  <a:gd name="T68" fmla="*/ 2147483646 w 384"/>
                  <a:gd name="T69" fmla="*/ 2147483646 h 325"/>
                  <a:gd name="T70" fmla="*/ 2147483646 w 384"/>
                  <a:gd name="T71" fmla="*/ 2147483646 h 325"/>
                  <a:gd name="T72" fmla="*/ 2147483646 w 384"/>
                  <a:gd name="T73" fmla="*/ 2147483646 h 325"/>
                  <a:gd name="T74" fmla="*/ 2147483646 w 384"/>
                  <a:gd name="T75" fmla="*/ 2147483646 h 325"/>
                  <a:gd name="T76" fmla="*/ 2147483646 w 384"/>
                  <a:gd name="T77" fmla="*/ 2147483646 h 325"/>
                  <a:gd name="T78" fmla="*/ 2147483646 w 384"/>
                  <a:gd name="T79" fmla="*/ 2147483646 h 325"/>
                  <a:gd name="T80" fmla="*/ 2147483646 w 384"/>
                  <a:gd name="T81" fmla="*/ 2147483646 h 325"/>
                  <a:gd name="T82" fmla="*/ 2147483646 w 384"/>
                  <a:gd name="T83" fmla="*/ 2147483646 h 325"/>
                  <a:gd name="T84" fmla="*/ 2147483646 w 384"/>
                  <a:gd name="T85" fmla="*/ 2147483646 h 325"/>
                  <a:gd name="T86" fmla="*/ 2147483646 w 384"/>
                  <a:gd name="T87" fmla="*/ 2147483646 h 325"/>
                  <a:gd name="T88" fmla="*/ 2147483646 w 384"/>
                  <a:gd name="T89" fmla="*/ 2147483646 h 325"/>
                  <a:gd name="T90" fmla="*/ 2147483646 w 384"/>
                  <a:gd name="T91" fmla="*/ 2147483646 h 32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84" h="325">
                    <a:moveTo>
                      <a:pt x="167" y="325"/>
                    </a:moveTo>
                    <a:cubicBezTo>
                      <a:pt x="167" y="325"/>
                      <a:pt x="167" y="325"/>
                      <a:pt x="167" y="325"/>
                    </a:cubicBezTo>
                    <a:cubicBezTo>
                      <a:pt x="165" y="325"/>
                      <a:pt x="163" y="325"/>
                      <a:pt x="161" y="325"/>
                    </a:cubicBezTo>
                    <a:cubicBezTo>
                      <a:pt x="161" y="325"/>
                      <a:pt x="160" y="325"/>
                      <a:pt x="159" y="325"/>
                    </a:cubicBezTo>
                    <a:cubicBezTo>
                      <a:pt x="158" y="324"/>
                      <a:pt x="156" y="324"/>
                      <a:pt x="155" y="324"/>
                    </a:cubicBezTo>
                    <a:cubicBezTo>
                      <a:pt x="154" y="323"/>
                      <a:pt x="153" y="323"/>
                      <a:pt x="152" y="323"/>
                    </a:cubicBezTo>
                    <a:cubicBezTo>
                      <a:pt x="150" y="322"/>
                      <a:pt x="148" y="321"/>
                      <a:pt x="146" y="320"/>
                    </a:cubicBezTo>
                    <a:cubicBezTo>
                      <a:pt x="146" y="320"/>
                      <a:pt x="146" y="320"/>
                      <a:pt x="146" y="320"/>
                    </a:cubicBezTo>
                    <a:cubicBezTo>
                      <a:pt x="145" y="320"/>
                      <a:pt x="145" y="320"/>
                      <a:pt x="145" y="320"/>
                    </a:cubicBezTo>
                    <a:cubicBezTo>
                      <a:pt x="143" y="319"/>
                      <a:pt x="142" y="318"/>
                      <a:pt x="141" y="317"/>
                    </a:cubicBezTo>
                    <a:cubicBezTo>
                      <a:pt x="140" y="317"/>
                      <a:pt x="140" y="317"/>
                      <a:pt x="140" y="317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9" y="316"/>
                      <a:pt x="139" y="316"/>
                      <a:pt x="139" y="316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8" y="315"/>
                      <a:pt x="138" y="315"/>
                      <a:pt x="138" y="315"/>
                    </a:cubicBezTo>
                    <a:cubicBezTo>
                      <a:pt x="136" y="314"/>
                      <a:pt x="134" y="312"/>
                      <a:pt x="132" y="310"/>
                    </a:cubicBezTo>
                    <a:cubicBezTo>
                      <a:pt x="131" y="309"/>
                      <a:pt x="131" y="309"/>
                      <a:pt x="131" y="309"/>
                    </a:cubicBezTo>
                    <a:cubicBezTo>
                      <a:pt x="130" y="308"/>
                      <a:pt x="129" y="307"/>
                      <a:pt x="129" y="306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0" y="142"/>
                      <a:pt x="3" y="110"/>
                      <a:pt x="25" y="93"/>
                    </a:cubicBezTo>
                    <a:cubicBezTo>
                      <a:pt x="34" y="86"/>
                      <a:pt x="45" y="82"/>
                      <a:pt x="56" y="82"/>
                    </a:cubicBezTo>
                    <a:cubicBezTo>
                      <a:pt x="72" y="82"/>
                      <a:pt x="86" y="89"/>
                      <a:pt x="96" y="102"/>
                    </a:cubicBezTo>
                    <a:cubicBezTo>
                      <a:pt x="166" y="191"/>
                      <a:pt x="166" y="191"/>
                      <a:pt x="166" y="191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95" y="8"/>
                      <a:pt x="311" y="0"/>
                      <a:pt x="327" y="0"/>
                    </a:cubicBezTo>
                    <a:cubicBezTo>
                      <a:pt x="337" y="0"/>
                      <a:pt x="348" y="3"/>
                      <a:pt x="356" y="9"/>
                    </a:cubicBezTo>
                    <a:cubicBezTo>
                      <a:pt x="379" y="25"/>
                      <a:pt x="384" y="57"/>
                      <a:pt x="368" y="80"/>
                    </a:cubicBezTo>
                    <a:cubicBezTo>
                      <a:pt x="209" y="304"/>
                      <a:pt x="209" y="304"/>
                      <a:pt x="209" y="304"/>
                    </a:cubicBezTo>
                    <a:cubicBezTo>
                      <a:pt x="209" y="305"/>
                      <a:pt x="208" y="306"/>
                      <a:pt x="208" y="306"/>
                    </a:cubicBezTo>
                    <a:cubicBezTo>
                      <a:pt x="207" y="307"/>
                      <a:pt x="207" y="307"/>
                      <a:pt x="207" y="307"/>
                    </a:cubicBezTo>
                    <a:cubicBezTo>
                      <a:pt x="207" y="307"/>
                      <a:pt x="207" y="308"/>
                      <a:pt x="206" y="308"/>
                    </a:cubicBezTo>
                    <a:cubicBezTo>
                      <a:pt x="204" y="310"/>
                      <a:pt x="203" y="312"/>
                      <a:pt x="201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200" y="314"/>
                      <a:pt x="200" y="314"/>
                      <a:pt x="200" y="314"/>
                    </a:cubicBezTo>
                    <a:cubicBezTo>
                      <a:pt x="199" y="315"/>
                      <a:pt x="199" y="315"/>
                      <a:pt x="199" y="315"/>
                    </a:cubicBezTo>
                    <a:cubicBezTo>
                      <a:pt x="199" y="315"/>
                      <a:pt x="199" y="315"/>
                      <a:pt x="198" y="315"/>
                    </a:cubicBezTo>
                    <a:cubicBezTo>
                      <a:pt x="198" y="316"/>
                      <a:pt x="198" y="316"/>
                      <a:pt x="198" y="316"/>
                    </a:cubicBezTo>
                    <a:cubicBezTo>
                      <a:pt x="196" y="317"/>
                      <a:pt x="195" y="318"/>
                      <a:pt x="193" y="319"/>
                    </a:cubicBezTo>
                    <a:cubicBezTo>
                      <a:pt x="192" y="319"/>
                      <a:pt x="192" y="319"/>
                      <a:pt x="192" y="320"/>
                    </a:cubicBezTo>
                    <a:cubicBezTo>
                      <a:pt x="189" y="321"/>
                      <a:pt x="187" y="322"/>
                      <a:pt x="185" y="323"/>
                    </a:cubicBezTo>
                    <a:cubicBezTo>
                      <a:pt x="184" y="323"/>
                      <a:pt x="184" y="323"/>
                      <a:pt x="183" y="323"/>
                    </a:cubicBezTo>
                    <a:cubicBezTo>
                      <a:pt x="181" y="324"/>
                      <a:pt x="179" y="324"/>
                      <a:pt x="178" y="325"/>
                    </a:cubicBezTo>
                    <a:cubicBezTo>
                      <a:pt x="177" y="325"/>
                      <a:pt x="176" y="325"/>
                      <a:pt x="175" y="325"/>
                    </a:cubicBezTo>
                    <a:cubicBezTo>
                      <a:pt x="173" y="325"/>
                      <a:pt x="171" y="325"/>
                      <a:pt x="170" y="325"/>
                    </a:cubicBezTo>
                    <a:cubicBezTo>
                      <a:pt x="168" y="325"/>
                      <a:pt x="168" y="325"/>
                      <a:pt x="168" y="325"/>
                    </a:cubicBezTo>
                    <a:lnTo>
                      <a:pt x="167" y="32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3559" name="组合 25"/>
          <p:cNvGrpSpPr/>
          <p:nvPr/>
        </p:nvGrpSpPr>
        <p:grpSpPr bwMode="auto">
          <a:xfrm>
            <a:off x="601663" y="1863725"/>
            <a:ext cx="3255962" cy="884238"/>
            <a:chOff x="756172" y="2141908"/>
            <a:chExt cx="3254914" cy="883979"/>
          </a:xfrm>
        </p:grpSpPr>
        <p:sp>
          <p:nvSpPr>
            <p:cNvPr id="27" name="Rectangle 44"/>
            <p:cNvSpPr/>
            <p:nvPr/>
          </p:nvSpPr>
          <p:spPr bwMode="auto">
            <a:xfrm>
              <a:off x="756172" y="2141908"/>
              <a:ext cx="3254914" cy="883979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601" name="矩形 110"/>
            <p:cNvSpPr>
              <a:spLocks noChangeArrowheads="1"/>
            </p:cNvSpPr>
            <p:nvPr/>
          </p:nvSpPr>
          <p:spPr bwMode="auto">
            <a:xfrm>
              <a:off x="1676574" y="2327224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3602" name="组合 76"/>
            <p:cNvGrpSpPr/>
            <p:nvPr/>
          </p:nvGrpSpPr>
          <p:grpSpPr bwMode="auto">
            <a:xfrm>
              <a:off x="1002156" y="2406943"/>
              <a:ext cx="420551" cy="418977"/>
              <a:chOff x="8545862" y="-3026597"/>
              <a:chExt cx="2125663" cy="2117708"/>
            </a:xfrm>
          </p:grpSpPr>
          <p:sp>
            <p:nvSpPr>
              <p:cNvPr id="30" name="Freeform 14"/>
              <p:cNvSpPr/>
              <p:nvPr/>
            </p:nvSpPr>
            <p:spPr bwMode="auto">
              <a:xfrm>
                <a:off x="8545857" y="-3026597"/>
                <a:ext cx="2125673" cy="2117708"/>
              </a:xfrm>
              <a:custGeom>
                <a:avLst/>
                <a:gdLst>
                  <a:gd name="T0" fmla="*/ 566 w 566"/>
                  <a:gd name="T1" fmla="*/ 283 h 566"/>
                  <a:gd name="T2" fmla="*/ 484 w 566"/>
                  <a:gd name="T3" fmla="*/ 481 h 566"/>
                  <a:gd name="T4" fmla="*/ 478 w 566"/>
                  <a:gd name="T5" fmla="*/ 487 h 566"/>
                  <a:gd name="T6" fmla="*/ 388 w 566"/>
                  <a:gd name="T7" fmla="*/ 546 h 566"/>
                  <a:gd name="T8" fmla="*/ 283 w 566"/>
                  <a:gd name="T9" fmla="*/ 566 h 566"/>
                  <a:gd name="T10" fmla="*/ 0 w 566"/>
                  <a:gd name="T11" fmla="*/ 283 h 566"/>
                  <a:gd name="T12" fmla="*/ 283 w 566"/>
                  <a:gd name="T13" fmla="*/ 0 h 566"/>
                  <a:gd name="T14" fmla="*/ 562 w 566"/>
                  <a:gd name="T15" fmla="*/ 240 h 566"/>
                  <a:gd name="T16" fmla="*/ 566 w 566"/>
                  <a:gd name="T17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360"/>
                      <a:pt x="534" y="430"/>
                      <a:pt x="484" y="481"/>
                    </a:cubicBezTo>
                    <a:cubicBezTo>
                      <a:pt x="482" y="483"/>
                      <a:pt x="480" y="485"/>
                      <a:pt x="478" y="487"/>
                    </a:cubicBezTo>
                    <a:cubicBezTo>
                      <a:pt x="452" y="512"/>
                      <a:pt x="422" y="532"/>
                      <a:pt x="388" y="546"/>
                    </a:cubicBezTo>
                    <a:cubicBezTo>
                      <a:pt x="355" y="559"/>
                      <a:pt x="320" y="566"/>
                      <a:pt x="283" y="566"/>
                    </a:cubicBezTo>
                    <a:cubicBezTo>
                      <a:pt x="126" y="566"/>
                      <a:pt x="0" y="439"/>
                      <a:pt x="0" y="283"/>
                    </a:cubicBezTo>
                    <a:cubicBezTo>
                      <a:pt x="0" y="127"/>
                      <a:pt x="126" y="0"/>
                      <a:pt x="283" y="0"/>
                    </a:cubicBezTo>
                    <a:cubicBezTo>
                      <a:pt x="424" y="0"/>
                      <a:pt x="542" y="104"/>
                      <a:pt x="562" y="240"/>
                    </a:cubicBezTo>
                    <a:cubicBezTo>
                      <a:pt x="564" y="254"/>
                      <a:pt x="566" y="268"/>
                      <a:pt x="566" y="283"/>
                    </a:cubicBezTo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604" name="Freeform 17"/>
              <p:cNvSpPr/>
              <p:nvPr/>
            </p:nvSpPr>
            <p:spPr bwMode="auto">
              <a:xfrm>
                <a:off x="9413875" y="-2697163"/>
                <a:ext cx="176213" cy="1016000"/>
              </a:xfrm>
              <a:custGeom>
                <a:avLst/>
                <a:gdLst>
                  <a:gd name="T0" fmla="*/ 2147483646 w 47"/>
                  <a:gd name="T1" fmla="*/ 0 h 271"/>
                  <a:gd name="T2" fmla="*/ 2147483646 w 47"/>
                  <a:gd name="T3" fmla="*/ 2147483646 h 271"/>
                  <a:gd name="T4" fmla="*/ 2147483646 w 47"/>
                  <a:gd name="T5" fmla="*/ 2147483646 h 271"/>
                  <a:gd name="T6" fmla="*/ 2147483646 w 47"/>
                  <a:gd name="T7" fmla="*/ 2147483646 h 271"/>
                  <a:gd name="T8" fmla="*/ 2147483646 w 47"/>
                  <a:gd name="T9" fmla="*/ 2147483646 h 271"/>
                  <a:gd name="T10" fmla="*/ 0 w 47"/>
                  <a:gd name="T11" fmla="*/ 2147483646 h 271"/>
                  <a:gd name="T12" fmla="*/ 2147483646 w 47"/>
                  <a:gd name="T13" fmla="*/ 2147483646 h 271"/>
                  <a:gd name="T14" fmla="*/ 2147483646 w 47"/>
                  <a:gd name="T15" fmla="*/ 2147483646 h 271"/>
                  <a:gd name="T16" fmla="*/ 2147483646 w 47"/>
                  <a:gd name="T17" fmla="*/ 2147483646 h 271"/>
                  <a:gd name="T18" fmla="*/ 2147483646 w 47"/>
                  <a:gd name="T19" fmla="*/ 2147483646 h 271"/>
                  <a:gd name="T20" fmla="*/ 2147483646 w 47"/>
                  <a:gd name="T21" fmla="*/ 2147483646 h 271"/>
                  <a:gd name="T22" fmla="*/ 2147483646 w 47"/>
                  <a:gd name="T23" fmla="*/ 2147483646 h 271"/>
                  <a:gd name="T24" fmla="*/ 2147483646 w 47"/>
                  <a:gd name="T25" fmla="*/ 2147483646 h 271"/>
                  <a:gd name="T26" fmla="*/ 2147483646 w 47"/>
                  <a:gd name="T27" fmla="*/ 2147483646 h 271"/>
                  <a:gd name="T28" fmla="*/ 2147483646 w 47"/>
                  <a:gd name="T29" fmla="*/ 2147483646 h 271"/>
                  <a:gd name="T30" fmla="*/ 2147483646 w 47"/>
                  <a:gd name="T31" fmla="*/ 2147483646 h 271"/>
                  <a:gd name="T32" fmla="*/ 2147483646 w 47"/>
                  <a:gd name="T33" fmla="*/ 2147483646 h 271"/>
                  <a:gd name="T34" fmla="*/ 2147483646 w 47"/>
                  <a:gd name="T35" fmla="*/ 0 h 27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7" h="271">
                    <a:moveTo>
                      <a:pt x="43" y="0"/>
                    </a:moveTo>
                    <a:cubicBezTo>
                      <a:pt x="7" y="0"/>
                      <a:pt x="1" y="41"/>
                      <a:pt x="1" y="47"/>
                    </a:cubicBezTo>
                    <a:cubicBezTo>
                      <a:pt x="1" y="54"/>
                      <a:pt x="1" y="65"/>
                      <a:pt x="2" y="80"/>
                    </a:cubicBezTo>
                    <a:cubicBezTo>
                      <a:pt x="2" y="95"/>
                      <a:pt x="2" y="106"/>
                      <a:pt x="2" y="113"/>
                    </a:cubicBezTo>
                    <a:cubicBezTo>
                      <a:pt x="2" y="120"/>
                      <a:pt x="2" y="130"/>
                      <a:pt x="1" y="143"/>
                    </a:cubicBezTo>
                    <a:cubicBezTo>
                      <a:pt x="1" y="157"/>
                      <a:pt x="0" y="167"/>
                      <a:pt x="0" y="174"/>
                    </a:cubicBezTo>
                    <a:cubicBezTo>
                      <a:pt x="0" y="181"/>
                      <a:pt x="8" y="211"/>
                      <a:pt x="23" y="263"/>
                    </a:cubicBezTo>
                    <a:cubicBezTo>
                      <a:pt x="24" y="266"/>
                      <a:pt x="26" y="268"/>
                      <a:pt x="30" y="269"/>
                    </a:cubicBezTo>
                    <a:cubicBezTo>
                      <a:pt x="31" y="270"/>
                      <a:pt x="32" y="270"/>
                      <a:pt x="33" y="270"/>
                    </a:cubicBezTo>
                    <a:cubicBezTo>
                      <a:pt x="33" y="270"/>
                      <a:pt x="34" y="270"/>
                      <a:pt x="34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5" y="270"/>
                      <a:pt x="35" y="270"/>
                      <a:pt x="35" y="270"/>
                    </a:cubicBezTo>
                    <a:cubicBezTo>
                      <a:pt x="36" y="271"/>
                      <a:pt x="36" y="271"/>
                      <a:pt x="36" y="271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9" y="271"/>
                      <a:pt x="42" y="271"/>
                      <a:pt x="46" y="271"/>
                    </a:cubicBezTo>
                    <a:cubicBezTo>
                      <a:pt x="47" y="271"/>
                      <a:pt x="47" y="271"/>
                      <a:pt x="47" y="27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5" y="0"/>
                      <a:pt x="44" y="0"/>
                      <a:pt x="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605" name="Freeform 18"/>
              <p:cNvSpPr/>
              <p:nvPr/>
            </p:nvSpPr>
            <p:spPr bwMode="auto">
              <a:xfrm>
                <a:off x="9590087" y="-2693988"/>
                <a:ext cx="173038" cy="1012825"/>
              </a:xfrm>
              <a:custGeom>
                <a:avLst/>
                <a:gdLst>
                  <a:gd name="T0" fmla="*/ 2147483646 w 46"/>
                  <a:gd name="T1" fmla="*/ 2147483646 h 270"/>
                  <a:gd name="T2" fmla="*/ 2147483646 w 46"/>
                  <a:gd name="T3" fmla="*/ 2147483646 h 270"/>
                  <a:gd name="T4" fmla="*/ 2147483646 w 46"/>
                  <a:gd name="T5" fmla="*/ 2147483646 h 270"/>
                  <a:gd name="T6" fmla="*/ 2147483646 w 46"/>
                  <a:gd name="T7" fmla="*/ 2147483646 h 270"/>
                  <a:gd name="T8" fmla="*/ 2147483646 w 46"/>
                  <a:gd name="T9" fmla="*/ 2147483646 h 270"/>
                  <a:gd name="T10" fmla="*/ 2147483646 w 46"/>
                  <a:gd name="T11" fmla="*/ 2147483646 h 270"/>
                  <a:gd name="T12" fmla="*/ 2147483646 w 46"/>
                  <a:gd name="T13" fmla="*/ 2147483646 h 270"/>
                  <a:gd name="T14" fmla="*/ 2147483646 w 46"/>
                  <a:gd name="T15" fmla="*/ 2147483646 h 270"/>
                  <a:gd name="T16" fmla="*/ 2147483646 w 46"/>
                  <a:gd name="T17" fmla="*/ 2147483646 h 270"/>
                  <a:gd name="T18" fmla="*/ 2147483646 w 46"/>
                  <a:gd name="T19" fmla="*/ 2147483646 h 270"/>
                  <a:gd name="T20" fmla="*/ 2147483646 w 46"/>
                  <a:gd name="T21" fmla="*/ 2147483646 h 270"/>
                  <a:gd name="T22" fmla="*/ 2147483646 w 46"/>
                  <a:gd name="T23" fmla="*/ 2147483646 h 270"/>
                  <a:gd name="T24" fmla="*/ 2147483646 w 46"/>
                  <a:gd name="T25" fmla="*/ 2147483646 h 270"/>
                  <a:gd name="T26" fmla="*/ 2147483646 w 46"/>
                  <a:gd name="T27" fmla="*/ 2147483646 h 270"/>
                  <a:gd name="T28" fmla="*/ 2147483646 w 46"/>
                  <a:gd name="T29" fmla="*/ 2147483646 h 270"/>
                  <a:gd name="T30" fmla="*/ 2147483646 w 46"/>
                  <a:gd name="T31" fmla="*/ 2147483646 h 270"/>
                  <a:gd name="T32" fmla="*/ 0 w 46"/>
                  <a:gd name="T33" fmla="*/ 0 h 270"/>
                  <a:gd name="T34" fmla="*/ 0 w 46"/>
                  <a:gd name="T35" fmla="*/ 2147483646 h 270"/>
                  <a:gd name="T36" fmla="*/ 2147483646 w 46"/>
                  <a:gd name="T37" fmla="*/ 2147483646 h 27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6" h="270">
                    <a:moveTo>
                      <a:pt x="18" y="261"/>
                    </a:moveTo>
                    <a:cubicBezTo>
                      <a:pt x="25" y="234"/>
                      <a:pt x="31" y="208"/>
                      <a:pt x="38" y="181"/>
                    </a:cubicBezTo>
                    <a:cubicBezTo>
                      <a:pt x="42" y="159"/>
                      <a:pt x="45" y="137"/>
                      <a:pt x="46" y="115"/>
                    </a:cubicBezTo>
                    <a:cubicBezTo>
                      <a:pt x="46" y="109"/>
                      <a:pt x="46" y="102"/>
                      <a:pt x="46" y="96"/>
                    </a:cubicBezTo>
                    <a:cubicBezTo>
                      <a:pt x="46" y="83"/>
                      <a:pt x="46" y="70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5" y="55"/>
                      <a:pt x="45" y="54"/>
                      <a:pt x="45" y="52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45" y="50"/>
                      <a:pt x="45" y="49"/>
                      <a:pt x="45" y="47"/>
                    </a:cubicBezTo>
                    <a:cubicBezTo>
                      <a:pt x="44" y="45"/>
                      <a:pt x="44" y="43"/>
                      <a:pt x="44" y="42"/>
                    </a:cubicBezTo>
                    <a:cubicBezTo>
                      <a:pt x="43" y="37"/>
                      <a:pt x="42" y="33"/>
                      <a:pt x="41" y="29"/>
                    </a:cubicBezTo>
                    <a:cubicBezTo>
                      <a:pt x="40" y="28"/>
                      <a:pt x="40" y="26"/>
                      <a:pt x="39" y="25"/>
                    </a:cubicBezTo>
                    <a:cubicBezTo>
                      <a:pt x="39" y="24"/>
                      <a:pt x="39" y="23"/>
                      <a:pt x="38" y="23"/>
                    </a:cubicBezTo>
                    <a:cubicBezTo>
                      <a:pt x="38" y="22"/>
                      <a:pt x="37" y="21"/>
                      <a:pt x="37" y="20"/>
                    </a:cubicBezTo>
                    <a:cubicBezTo>
                      <a:pt x="36" y="19"/>
                      <a:pt x="36" y="18"/>
                      <a:pt x="35" y="17"/>
                    </a:cubicBezTo>
                    <a:cubicBezTo>
                      <a:pt x="33" y="14"/>
                      <a:pt x="30" y="11"/>
                      <a:pt x="28" y="9"/>
                    </a:cubicBezTo>
                    <a:cubicBezTo>
                      <a:pt x="20" y="3"/>
                      <a:pt x="10" y="0"/>
                      <a:pt x="0" y="0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11" y="270"/>
                      <a:pt x="17" y="267"/>
                      <a:pt x="18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606" name="Freeform 19"/>
              <p:cNvSpPr/>
              <p:nvPr/>
            </p:nvSpPr>
            <p:spPr bwMode="auto">
              <a:xfrm>
                <a:off x="9590087" y="-1595438"/>
                <a:ext cx="173038" cy="357188"/>
              </a:xfrm>
              <a:custGeom>
                <a:avLst/>
                <a:gdLst>
                  <a:gd name="T0" fmla="*/ 0 w 46"/>
                  <a:gd name="T1" fmla="*/ 2147483646 h 95"/>
                  <a:gd name="T2" fmla="*/ 2147483646 w 46"/>
                  <a:gd name="T3" fmla="*/ 2147483646 h 95"/>
                  <a:gd name="T4" fmla="*/ 2147483646 w 46"/>
                  <a:gd name="T5" fmla="*/ 2147483646 h 95"/>
                  <a:gd name="T6" fmla="*/ 2147483646 w 46"/>
                  <a:gd name="T7" fmla="*/ 2147483646 h 95"/>
                  <a:gd name="T8" fmla="*/ 2147483646 w 46"/>
                  <a:gd name="T9" fmla="*/ 2147483646 h 95"/>
                  <a:gd name="T10" fmla="*/ 2147483646 w 46"/>
                  <a:gd name="T11" fmla="*/ 2147483646 h 95"/>
                  <a:gd name="T12" fmla="*/ 2147483646 w 46"/>
                  <a:gd name="T13" fmla="*/ 2147483646 h 95"/>
                  <a:gd name="T14" fmla="*/ 2147483646 w 46"/>
                  <a:gd name="T15" fmla="*/ 2147483646 h 95"/>
                  <a:gd name="T16" fmla="*/ 2147483646 w 46"/>
                  <a:gd name="T17" fmla="*/ 2147483646 h 95"/>
                  <a:gd name="T18" fmla="*/ 2147483646 w 46"/>
                  <a:gd name="T19" fmla="*/ 2147483646 h 95"/>
                  <a:gd name="T20" fmla="*/ 2147483646 w 46"/>
                  <a:gd name="T21" fmla="*/ 2147483646 h 95"/>
                  <a:gd name="T22" fmla="*/ 2147483646 w 46"/>
                  <a:gd name="T23" fmla="*/ 2147483646 h 95"/>
                  <a:gd name="T24" fmla="*/ 2147483646 w 46"/>
                  <a:gd name="T25" fmla="*/ 2147483646 h 95"/>
                  <a:gd name="T26" fmla="*/ 2147483646 w 46"/>
                  <a:gd name="T27" fmla="*/ 2147483646 h 95"/>
                  <a:gd name="T28" fmla="*/ 2147483646 w 46"/>
                  <a:gd name="T29" fmla="*/ 2147483646 h 95"/>
                  <a:gd name="T30" fmla="*/ 2147483646 w 46"/>
                  <a:gd name="T31" fmla="*/ 2147483646 h 95"/>
                  <a:gd name="T32" fmla="*/ 2147483646 w 46"/>
                  <a:gd name="T33" fmla="*/ 2147483646 h 95"/>
                  <a:gd name="T34" fmla="*/ 2147483646 w 46"/>
                  <a:gd name="T35" fmla="*/ 2147483646 h 95"/>
                  <a:gd name="T36" fmla="*/ 2147483646 w 46"/>
                  <a:gd name="T37" fmla="*/ 2147483646 h 95"/>
                  <a:gd name="T38" fmla="*/ 2147483646 w 46"/>
                  <a:gd name="T39" fmla="*/ 2147483646 h 95"/>
                  <a:gd name="T40" fmla="*/ 0 w 46"/>
                  <a:gd name="T41" fmla="*/ 0 h 95"/>
                  <a:gd name="T42" fmla="*/ 0 w 46"/>
                  <a:gd name="T43" fmla="*/ 0 h 95"/>
                  <a:gd name="T44" fmla="*/ 0 w 46"/>
                  <a:gd name="T45" fmla="*/ 2147483646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6" h="95">
                    <a:moveTo>
                      <a:pt x="0" y="95"/>
                    </a:moveTo>
                    <a:cubicBezTo>
                      <a:pt x="13" y="95"/>
                      <a:pt x="23" y="91"/>
                      <a:pt x="31" y="83"/>
                    </a:cubicBezTo>
                    <a:cubicBezTo>
                      <a:pt x="32" y="83"/>
                      <a:pt x="33" y="82"/>
                      <a:pt x="33" y="82"/>
                    </a:cubicBezTo>
                    <a:cubicBezTo>
                      <a:pt x="34" y="81"/>
                      <a:pt x="34" y="81"/>
                      <a:pt x="35" y="80"/>
                    </a:cubicBezTo>
                    <a:cubicBezTo>
                      <a:pt x="35" y="79"/>
                      <a:pt x="36" y="79"/>
                      <a:pt x="36" y="78"/>
                    </a:cubicBezTo>
                    <a:cubicBezTo>
                      <a:pt x="37" y="78"/>
                      <a:pt x="37" y="77"/>
                      <a:pt x="37" y="76"/>
                    </a:cubicBezTo>
                    <a:cubicBezTo>
                      <a:pt x="39" y="75"/>
                      <a:pt x="40" y="73"/>
                      <a:pt x="41" y="71"/>
                    </a:cubicBezTo>
                    <a:cubicBezTo>
                      <a:pt x="44" y="64"/>
                      <a:pt x="46" y="56"/>
                      <a:pt x="46" y="47"/>
                    </a:cubicBezTo>
                    <a:cubicBezTo>
                      <a:pt x="46" y="41"/>
                      <a:pt x="45" y="34"/>
                      <a:pt x="43" y="29"/>
                    </a:cubicBezTo>
                    <a:cubicBezTo>
                      <a:pt x="42" y="27"/>
                      <a:pt x="42" y="26"/>
                      <a:pt x="41" y="24"/>
                    </a:cubicBezTo>
                    <a:cubicBezTo>
                      <a:pt x="41" y="24"/>
                      <a:pt x="40" y="23"/>
                      <a:pt x="40" y="23"/>
                    </a:cubicBezTo>
                    <a:cubicBezTo>
                      <a:pt x="39" y="21"/>
                      <a:pt x="38" y="20"/>
                      <a:pt x="37" y="19"/>
                    </a:cubicBezTo>
                    <a:cubicBezTo>
                      <a:pt x="36" y="17"/>
                      <a:pt x="35" y="15"/>
                      <a:pt x="33" y="13"/>
                    </a:cubicBezTo>
                    <a:cubicBezTo>
                      <a:pt x="32" y="13"/>
                      <a:pt x="32" y="12"/>
                      <a:pt x="31" y="12"/>
                    </a:cubicBezTo>
                    <a:cubicBezTo>
                      <a:pt x="31" y="11"/>
                      <a:pt x="30" y="11"/>
                      <a:pt x="30" y="11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29" y="10"/>
                      <a:pt x="28" y="9"/>
                      <a:pt x="28" y="9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8"/>
                      <a:pt x="27" y="8"/>
                      <a:pt x="26" y="8"/>
                    </a:cubicBezTo>
                    <a:cubicBezTo>
                      <a:pt x="26" y="7"/>
                      <a:pt x="25" y="7"/>
                      <a:pt x="24" y="7"/>
                    </a:cubicBezTo>
                    <a:cubicBezTo>
                      <a:pt x="17" y="2"/>
                      <a:pt x="9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607" name="Freeform 20"/>
              <p:cNvSpPr/>
              <p:nvPr/>
            </p:nvSpPr>
            <p:spPr bwMode="auto">
              <a:xfrm>
                <a:off x="9413875" y="-1595438"/>
                <a:ext cx="176213" cy="357188"/>
              </a:xfrm>
              <a:custGeom>
                <a:avLst/>
                <a:gdLst>
                  <a:gd name="T0" fmla="*/ 0 w 47"/>
                  <a:gd name="T1" fmla="*/ 2147483646 h 95"/>
                  <a:gd name="T2" fmla="*/ 2147483646 w 47"/>
                  <a:gd name="T3" fmla="*/ 2147483646 h 95"/>
                  <a:gd name="T4" fmla="*/ 2147483646 w 47"/>
                  <a:gd name="T5" fmla="*/ 2147483646 h 95"/>
                  <a:gd name="T6" fmla="*/ 2147483646 w 47"/>
                  <a:gd name="T7" fmla="*/ 2147483646 h 95"/>
                  <a:gd name="T8" fmla="*/ 2147483646 w 47"/>
                  <a:gd name="T9" fmla="*/ 2147483646 h 95"/>
                  <a:gd name="T10" fmla="*/ 2147483646 w 47"/>
                  <a:gd name="T11" fmla="*/ 2147483646 h 95"/>
                  <a:gd name="T12" fmla="*/ 2147483646 w 47"/>
                  <a:gd name="T13" fmla="*/ 2147483646 h 95"/>
                  <a:gd name="T14" fmla="*/ 2147483646 w 47"/>
                  <a:gd name="T15" fmla="*/ 2147483646 h 95"/>
                  <a:gd name="T16" fmla="*/ 2147483646 w 47"/>
                  <a:gd name="T17" fmla="*/ 2147483646 h 95"/>
                  <a:gd name="T18" fmla="*/ 2147483646 w 47"/>
                  <a:gd name="T19" fmla="*/ 2147483646 h 95"/>
                  <a:gd name="T20" fmla="*/ 2147483646 w 47"/>
                  <a:gd name="T21" fmla="*/ 2147483646 h 95"/>
                  <a:gd name="T22" fmla="*/ 2147483646 w 47"/>
                  <a:gd name="T23" fmla="*/ 2147483646 h 95"/>
                  <a:gd name="T24" fmla="*/ 2147483646 w 47"/>
                  <a:gd name="T25" fmla="*/ 2147483646 h 95"/>
                  <a:gd name="T26" fmla="*/ 2147483646 w 47"/>
                  <a:gd name="T27" fmla="*/ 0 h 95"/>
                  <a:gd name="T28" fmla="*/ 2147483646 w 47"/>
                  <a:gd name="T29" fmla="*/ 2147483646 h 95"/>
                  <a:gd name="T30" fmla="*/ 0 w 47"/>
                  <a:gd name="T31" fmla="*/ 2147483646 h 9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7" h="95">
                    <a:moveTo>
                      <a:pt x="0" y="47"/>
                    </a:moveTo>
                    <a:cubicBezTo>
                      <a:pt x="0" y="61"/>
                      <a:pt x="5" y="73"/>
                      <a:pt x="13" y="82"/>
                    </a:cubicBezTo>
                    <a:cubicBezTo>
                      <a:pt x="17" y="86"/>
                      <a:pt x="22" y="89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8" y="92"/>
                      <a:pt x="29" y="92"/>
                      <a:pt x="29" y="93"/>
                    </a:cubicBezTo>
                    <a:cubicBezTo>
                      <a:pt x="30" y="93"/>
                      <a:pt x="30" y="93"/>
                      <a:pt x="31" y="93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2" y="94"/>
                      <a:pt x="33" y="94"/>
                      <a:pt x="33" y="94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4" y="94"/>
                      <a:pt x="35" y="94"/>
                      <a:pt x="35" y="94"/>
                    </a:cubicBezTo>
                    <a:cubicBezTo>
                      <a:pt x="37" y="95"/>
                      <a:pt x="38" y="95"/>
                      <a:pt x="39" y="95"/>
                    </a:cubicBezTo>
                    <a:cubicBezTo>
                      <a:pt x="40" y="95"/>
                      <a:pt x="40" y="95"/>
                      <a:pt x="41" y="95"/>
                    </a:cubicBezTo>
                    <a:cubicBezTo>
                      <a:pt x="43" y="95"/>
                      <a:pt x="45" y="95"/>
                      <a:pt x="47" y="95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3" y="0"/>
                      <a:pt x="22" y="5"/>
                      <a:pt x="13" y="13"/>
                    </a:cubicBezTo>
                    <a:cubicBezTo>
                      <a:pt x="5" y="22"/>
                      <a:pt x="0" y="34"/>
                      <a:pt x="0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3560" name="组合 36"/>
          <p:cNvGrpSpPr/>
          <p:nvPr/>
        </p:nvGrpSpPr>
        <p:grpSpPr bwMode="auto">
          <a:xfrm>
            <a:off x="601663" y="2789238"/>
            <a:ext cx="3255962" cy="884237"/>
            <a:chOff x="756171" y="3066412"/>
            <a:chExt cx="3254914" cy="885194"/>
          </a:xfrm>
        </p:grpSpPr>
        <p:sp>
          <p:nvSpPr>
            <p:cNvPr id="38" name="Rectangle 32"/>
            <p:cNvSpPr/>
            <p:nvPr/>
          </p:nvSpPr>
          <p:spPr bwMode="auto">
            <a:xfrm>
              <a:off x="756171" y="3066412"/>
              <a:ext cx="3254914" cy="885194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92" name="矩形 114"/>
            <p:cNvSpPr>
              <a:spLocks noChangeArrowheads="1"/>
            </p:cNvSpPr>
            <p:nvPr/>
          </p:nvSpPr>
          <p:spPr bwMode="auto">
            <a:xfrm>
              <a:off x="1676574" y="3252336"/>
              <a:ext cx="2055351" cy="51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3593" name="组合 115"/>
            <p:cNvGrpSpPr/>
            <p:nvPr/>
          </p:nvGrpSpPr>
          <p:grpSpPr bwMode="auto">
            <a:xfrm>
              <a:off x="1002156" y="3303206"/>
              <a:ext cx="420552" cy="421142"/>
              <a:chOff x="6250332" y="-3032749"/>
              <a:chExt cx="2125666" cy="2128651"/>
            </a:xfrm>
          </p:grpSpPr>
          <p:sp>
            <p:nvSpPr>
              <p:cNvPr id="41" name="Freeform 21"/>
              <p:cNvSpPr/>
              <p:nvPr/>
            </p:nvSpPr>
            <p:spPr bwMode="auto">
              <a:xfrm>
                <a:off x="6250322" y="-3032754"/>
                <a:ext cx="2125671" cy="2128656"/>
              </a:xfrm>
              <a:custGeom>
                <a:avLst/>
                <a:gdLst>
                  <a:gd name="T0" fmla="*/ 566 w 566"/>
                  <a:gd name="T1" fmla="*/ 283 h 566"/>
                  <a:gd name="T2" fmla="*/ 389 w 566"/>
                  <a:gd name="T3" fmla="*/ 545 h 566"/>
                  <a:gd name="T4" fmla="*/ 283 w 566"/>
                  <a:gd name="T5" fmla="*/ 566 h 566"/>
                  <a:gd name="T6" fmla="*/ 0 w 566"/>
                  <a:gd name="T7" fmla="*/ 283 h 566"/>
                  <a:gd name="T8" fmla="*/ 283 w 566"/>
                  <a:gd name="T9" fmla="*/ 0 h 566"/>
                  <a:gd name="T10" fmla="*/ 564 w 566"/>
                  <a:gd name="T11" fmla="*/ 244 h 566"/>
                  <a:gd name="T12" fmla="*/ 566 w 566"/>
                  <a:gd name="T13" fmla="*/ 283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6" h="566">
                    <a:moveTo>
                      <a:pt x="566" y="283"/>
                    </a:moveTo>
                    <a:cubicBezTo>
                      <a:pt x="566" y="402"/>
                      <a:pt x="493" y="504"/>
                      <a:pt x="389" y="545"/>
                    </a:cubicBezTo>
                    <a:cubicBezTo>
                      <a:pt x="356" y="559"/>
                      <a:pt x="321" y="566"/>
                      <a:pt x="283" y="566"/>
                    </a:cubicBezTo>
                    <a:cubicBezTo>
                      <a:pt x="127" y="566"/>
                      <a:pt x="0" y="439"/>
                      <a:pt x="0" y="283"/>
                    </a:cubicBezTo>
                    <a:cubicBezTo>
                      <a:pt x="0" y="127"/>
                      <a:pt x="127" y="0"/>
                      <a:pt x="283" y="0"/>
                    </a:cubicBezTo>
                    <a:cubicBezTo>
                      <a:pt x="426" y="0"/>
                      <a:pt x="545" y="106"/>
                      <a:pt x="564" y="244"/>
                    </a:cubicBezTo>
                    <a:cubicBezTo>
                      <a:pt x="565" y="257"/>
                      <a:pt x="566" y="270"/>
                      <a:pt x="566" y="283"/>
                    </a:cubicBezTo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595" name="Freeform 23"/>
              <p:cNvSpPr/>
              <p:nvPr/>
            </p:nvSpPr>
            <p:spPr bwMode="auto">
              <a:xfrm>
                <a:off x="7326312" y="-2614613"/>
                <a:ext cx="438150" cy="958850"/>
              </a:xfrm>
              <a:custGeom>
                <a:avLst/>
                <a:gdLst>
                  <a:gd name="T0" fmla="*/ 2147483646 w 117"/>
                  <a:gd name="T1" fmla="*/ 2147483646 h 256"/>
                  <a:gd name="T2" fmla="*/ 2147483646 w 117"/>
                  <a:gd name="T3" fmla="*/ 0 h 256"/>
                  <a:gd name="T4" fmla="*/ 0 w 117"/>
                  <a:gd name="T5" fmla="*/ 0 h 256"/>
                  <a:gd name="T6" fmla="*/ 0 w 117"/>
                  <a:gd name="T7" fmla="*/ 2147483646 h 256"/>
                  <a:gd name="T8" fmla="*/ 2147483646 w 117"/>
                  <a:gd name="T9" fmla="*/ 2147483646 h 256"/>
                  <a:gd name="T10" fmla="*/ 0 w 117"/>
                  <a:gd name="T11" fmla="*/ 2147483646 h 256"/>
                  <a:gd name="T12" fmla="*/ 0 w 117"/>
                  <a:gd name="T13" fmla="*/ 2147483646 h 256"/>
                  <a:gd name="T14" fmla="*/ 2147483646 w 117"/>
                  <a:gd name="T15" fmla="*/ 2147483646 h 256"/>
                  <a:gd name="T16" fmla="*/ 2147483646 w 117"/>
                  <a:gd name="T17" fmla="*/ 2147483646 h 256"/>
                  <a:gd name="T18" fmla="*/ 2147483646 w 117"/>
                  <a:gd name="T19" fmla="*/ 2147483646 h 256"/>
                  <a:gd name="T20" fmla="*/ 2147483646 w 117"/>
                  <a:gd name="T21" fmla="*/ 2147483646 h 256"/>
                  <a:gd name="T22" fmla="*/ 2147483646 w 117"/>
                  <a:gd name="T23" fmla="*/ 2147483646 h 256"/>
                  <a:gd name="T24" fmla="*/ 2147483646 w 117"/>
                  <a:gd name="T25" fmla="*/ 2147483646 h 2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7" h="256">
                    <a:moveTo>
                      <a:pt x="85" y="26"/>
                    </a:moveTo>
                    <a:cubicBezTo>
                      <a:pt x="65" y="9"/>
                      <a:pt x="39" y="0"/>
                      <a:pt x="8" y="0"/>
                    </a:cubicBezTo>
                    <a:cubicBezTo>
                      <a:pt x="5" y="0"/>
                      <a:pt x="3" y="0"/>
                      <a:pt x="0" y="0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" y="103"/>
                      <a:pt x="14" y="112"/>
                      <a:pt x="14" y="126"/>
                    </a:cubicBezTo>
                    <a:cubicBezTo>
                      <a:pt x="14" y="136"/>
                      <a:pt x="9" y="149"/>
                      <a:pt x="0" y="163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4" y="255"/>
                      <a:pt x="8" y="255"/>
                      <a:pt x="13" y="255"/>
                    </a:cubicBezTo>
                    <a:cubicBezTo>
                      <a:pt x="18" y="255"/>
                      <a:pt x="21" y="254"/>
                      <a:pt x="22" y="250"/>
                    </a:cubicBezTo>
                    <a:cubicBezTo>
                      <a:pt x="23" y="246"/>
                      <a:pt x="23" y="242"/>
                      <a:pt x="24" y="238"/>
                    </a:cubicBezTo>
                    <a:cubicBezTo>
                      <a:pt x="26" y="223"/>
                      <a:pt x="40" y="208"/>
                      <a:pt x="66" y="193"/>
                    </a:cubicBezTo>
                    <a:cubicBezTo>
                      <a:pt x="100" y="174"/>
                      <a:pt x="117" y="142"/>
                      <a:pt x="117" y="100"/>
                    </a:cubicBezTo>
                    <a:cubicBezTo>
                      <a:pt x="117" y="69"/>
                      <a:pt x="107" y="44"/>
                      <a:pt x="85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96" name="Freeform 24"/>
              <p:cNvSpPr/>
              <p:nvPr/>
            </p:nvSpPr>
            <p:spPr bwMode="auto">
              <a:xfrm>
                <a:off x="7186612" y="-2003425"/>
                <a:ext cx="139700" cy="360363"/>
              </a:xfrm>
              <a:custGeom>
                <a:avLst/>
                <a:gdLst>
                  <a:gd name="T0" fmla="*/ 2147483646 w 37"/>
                  <a:gd name="T1" fmla="*/ 2147483646 h 96"/>
                  <a:gd name="T2" fmla="*/ 0 w 37"/>
                  <a:gd name="T3" fmla="*/ 2147483646 h 96"/>
                  <a:gd name="T4" fmla="*/ 2147483646 w 37"/>
                  <a:gd name="T5" fmla="*/ 2147483646 h 96"/>
                  <a:gd name="T6" fmla="*/ 2147483646 w 37"/>
                  <a:gd name="T7" fmla="*/ 2147483646 h 96"/>
                  <a:gd name="T8" fmla="*/ 2147483646 w 37"/>
                  <a:gd name="T9" fmla="*/ 2147483646 h 96"/>
                  <a:gd name="T10" fmla="*/ 2147483646 w 37"/>
                  <a:gd name="T11" fmla="*/ 0 h 96"/>
                  <a:gd name="T12" fmla="*/ 2147483646 w 37"/>
                  <a:gd name="T13" fmla="*/ 2147483646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" h="96">
                    <a:moveTo>
                      <a:pt x="25" y="17"/>
                    </a:moveTo>
                    <a:cubicBezTo>
                      <a:pt x="8" y="38"/>
                      <a:pt x="0" y="56"/>
                      <a:pt x="0" y="71"/>
                    </a:cubicBezTo>
                    <a:cubicBezTo>
                      <a:pt x="0" y="88"/>
                      <a:pt x="3" y="96"/>
                      <a:pt x="9" y="96"/>
                    </a:cubicBezTo>
                    <a:cubicBezTo>
                      <a:pt x="10" y="96"/>
                      <a:pt x="11" y="96"/>
                      <a:pt x="13" y="95"/>
                    </a:cubicBezTo>
                    <a:cubicBezTo>
                      <a:pt x="18" y="94"/>
                      <a:pt x="27" y="93"/>
                      <a:pt x="37" y="93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4" y="5"/>
                      <a:pt x="30" y="11"/>
                      <a:pt x="2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97" name="Freeform 25"/>
              <p:cNvSpPr/>
              <p:nvPr/>
            </p:nvSpPr>
            <p:spPr bwMode="auto">
              <a:xfrm>
                <a:off x="6853237" y="-2614613"/>
                <a:ext cx="473075" cy="482600"/>
              </a:xfrm>
              <a:custGeom>
                <a:avLst/>
                <a:gdLst>
                  <a:gd name="T0" fmla="*/ 2147483646 w 126"/>
                  <a:gd name="T1" fmla="*/ 2147483646 h 129"/>
                  <a:gd name="T2" fmla="*/ 2147483646 w 126"/>
                  <a:gd name="T3" fmla="*/ 2147483646 h 129"/>
                  <a:gd name="T4" fmla="*/ 2147483646 w 126"/>
                  <a:gd name="T5" fmla="*/ 2147483646 h 129"/>
                  <a:gd name="T6" fmla="*/ 2147483646 w 126"/>
                  <a:gd name="T7" fmla="*/ 2147483646 h 129"/>
                  <a:gd name="T8" fmla="*/ 2147483646 w 126"/>
                  <a:gd name="T9" fmla="*/ 2147483646 h 129"/>
                  <a:gd name="T10" fmla="*/ 2147483646 w 126"/>
                  <a:gd name="T11" fmla="*/ 0 h 129"/>
                  <a:gd name="T12" fmla="*/ 2147483646 w 126"/>
                  <a:gd name="T13" fmla="*/ 2147483646 h 1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29">
                    <a:moveTo>
                      <a:pt x="79" y="7"/>
                    </a:moveTo>
                    <a:cubicBezTo>
                      <a:pt x="53" y="13"/>
                      <a:pt x="0" y="43"/>
                      <a:pt x="6" y="86"/>
                    </a:cubicBezTo>
                    <a:cubicBezTo>
                      <a:pt x="12" y="129"/>
                      <a:pt x="38" y="115"/>
                      <a:pt x="46" y="110"/>
                    </a:cubicBezTo>
                    <a:cubicBezTo>
                      <a:pt x="69" y="96"/>
                      <a:pt x="89" y="93"/>
                      <a:pt x="104" y="93"/>
                    </a:cubicBezTo>
                    <a:cubicBezTo>
                      <a:pt x="113" y="93"/>
                      <a:pt x="121" y="94"/>
                      <a:pt x="126" y="98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1" y="1"/>
                      <a:pt x="95" y="3"/>
                      <a:pt x="7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98" name="Freeform 26"/>
              <p:cNvSpPr/>
              <p:nvPr/>
            </p:nvSpPr>
            <p:spPr bwMode="auto">
              <a:xfrm>
                <a:off x="7148512" y="-1590675"/>
                <a:ext cx="177800" cy="358775"/>
              </a:xfrm>
              <a:custGeom>
                <a:avLst/>
                <a:gdLst>
                  <a:gd name="T0" fmla="*/ 2147483646 w 47"/>
                  <a:gd name="T1" fmla="*/ 2147483646 h 96"/>
                  <a:gd name="T2" fmla="*/ 0 w 47"/>
                  <a:gd name="T3" fmla="*/ 2147483646 h 96"/>
                  <a:gd name="T4" fmla="*/ 2147483646 w 47"/>
                  <a:gd name="T5" fmla="*/ 2147483646 h 96"/>
                  <a:gd name="T6" fmla="*/ 2147483646 w 47"/>
                  <a:gd name="T7" fmla="*/ 2147483646 h 96"/>
                  <a:gd name="T8" fmla="*/ 2147483646 w 47"/>
                  <a:gd name="T9" fmla="*/ 2147483646 h 96"/>
                  <a:gd name="T10" fmla="*/ 2147483646 w 47"/>
                  <a:gd name="T11" fmla="*/ 0 h 96"/>
                  <a:gd name="T12" fmla="*/ 2147483646 w 47"/>
                  <a:gd name="T13" fmla="*/ 0 h 96"/>
                  <a:gd name="T14" fmla="*/ 2147483646 w 47"/>
                  <a:gd name="T15" fmla="*/ 2147483646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7" h="96">
                    <a:moveTo>
                      <a:pt x="14" y="14"/>
                    </a:moveTo>
                    <a:cubicBezTo>
                      <a:pt x="5" y="23"/>
                      <a:pt x="0" y="34"/>
                      <a:pt x="0" y="48"/>
                    </a:cubicBezTo>
                    <a:cubicBezTo>
                      <a:pt x="0" y="61"/>
                      <a:pt x="5" y="72"/>
                      <a:pt x="14" y="82"/>
                    </a:cubicBezTo>
                    <a:cubicBezTo>
                      <a:pt x="23" y="91"/>
                      <a:pt x="34" y="96"/>
                      <a:pt x="47" y="96"/>
                    </a:cubicBezTo>
                    <a:cubicBezTo>
                      <a:pt x="47" y="96"/>
                      <a:pt x="47" y="96"/>
                      <a:pt x="47" y="96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4" y="0"/>
                      <a:pt x="23" y="5"/>
                      <a:pt x="14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99" name="Freeform 27"/>
              <p:cNvSpPr/>
              <p:nvPr/>
            </p:nvSpPr>
            <p:spPr bwMode="auto">
              <a:xfrm>
                <a:off x="7326312" y="-1590675"/>
                <a:ext cx="179388" cy="358775"/>
              </a:xfrm>
              <a:custGeom>
                <a:avLst/>
                <a:gdLst>
                  <a:gd name="T0" fmla="*/ 2147483646 w 48"/>
                  <a:gd name="T1" fmla="*/ 2147483646 h 96"/>
                  <a:gd name="T2" fmla="*/ 2147483646 w 48"/>
                  <a:gd name="T3" fmla="*/ 2147483646 h 96"/>
                  <a:gd name="T4" fmla="*/ 2147483646 w 48"/>
                  <a:gd name="T5" fmla="*/ 2147483646 h 96"/>
                  <a:gd name="T6" fmla="*/ 0 w 48"/>
                  <a:gd name="T7" fmla="*/ 0 h 96"/>
                  <a:gd name="T8" fmla="*/ 0 w 48"/>
                  <a:gd name="T9" fmla="*/ 2147483646 h 96"/>
                  <a:gd name="T10" fmla="*/ 2147483646 w 48"/>
                  <a:gd name="T11" fmla="*/ 2147483646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96">
                    <a:moveTo>
                      <a:pt x="34" y="82"/>
                    </a:moveTo>
                    <a:cubicBezTo>
                      <a:pt x="43" y="72"/>
                      <a:pt x="48" y="61"/>
                      <a:pt x="48" y="48"/>
                    </a:cubicBezTo>
                    <a:cubicBezTo>
                      <a:pt x="48" y="34"/>
                      <a:pt x="43" y="23"/>
                      <a:pt x="34" y="14"/>
                    </a:cubicBezTo>
                    <a:cubicBezTo>
                      <a:pt x="25" y="5"/>
                      <a:pt x="14" y="0"/>
                      <a:pt x="0" y="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4" y="96"/>
                      <a:pt x="25" y="91"/>
                      <a:pt x="34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pic>
        <p:nvPicPr>
          <p:cNvPr id="23561" name="Picture 23" descr="WCOM_09_Jeff_002.jpg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925513"/>
            <a:ext cx="1265238" cy="274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562" name="组合 48"/>
          <p:cNvGrpSpPr/>
          <p:nvPr/>
        </p:nvGrpSpPr>
        <p:grpSpPr bwMode="auto">
          <a:xfrm>
            <a:off x="601663" y="3736975"/>
            <a:ext cx="2593975" cy="431800"/>
            <a:chOff x="756171" y="4015274"/>
            <a:chExt cx="2593463" cy="432003"/>
          </a:xfrm>
        </p:grpSpPr>
        <p:sp>
          <p:nvSpPr>
            <p:cNvPr id="50" name="Rectangle 47"/>
            <p:cNvSpPr/>
            <p:nvPr/>
          </p:nvSpPr>
          <p:spPr bwMode="auto">
            <a:xfrm>
              <a:off x="756171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矩形 50"/>
            <p:cNvSpPr/>
            <p:nvPr/>
          </p:nvSpPr>
          <p:spPr>
            <a:xfrm>
              <a:off x="1332319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84" name="Freeform 51"/>
            <p:cNvSpPr>
              <a:spLocks noEditPoints="1"/>
            </p:cNvSpPr>
            <p:nvPr/>
          </p:nvSpPr>
          <p:spPr bwMode="auto">
            <a:xfrm rot="10800000" flipH="1" flipV="1">
              <a:off x="2447256" y="4159811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3585" name="组合 22"/>
            <p:cNvGrpSpPr/>
            <p:nvPr/>
          </p:nvGrpSpPr>
          <p:grpSpPr bwMode="auto">
            <a:xfrm>
              <a:off x="2832210" y="4074038"/>
              <a:ext cx="315851" cy="314472"/>
              <a:chOff x="9474736" y="4289004"/>
              <a:chExt cx="2571109" cy="2559884"/>
            </a:xfrm>
          </p:grpSpPr>
          <p:sp>
            <p:nvSpPr>
              <p:cNvPr id="54" name="Freeform 12"/>
              <p:cNvSpPr/>
              <p:nvPr/>
            </p:nvSpPr>
            <p:spPr bwMode="auto">
              <a:xfrm>
                <a:off x="9474744" y="4289020"/>
                <a:ext cx="2571101" cy="2559892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587" name="Freeform 14"/>
              <p:cNvSpPr/>
              <p:nvPr/>
            </p:nvSpPr>
            <p:spPr bwMode="auto">
              <a:xfrm>
                <a:off x="10382250" y="5284787"/>
                <a:ext cx="641350" cy="685800"/>
              </a:xfrm>
              <a:custGeom>
                <a:avLst/>
                <a:gdLst>
                  <a:gd name="T0" fmla="*/ 2147483646 w 171"/>
                  <a:gd name="T1" fmla="*/ 2147483646 h 183"/>
                  <a:gd name="T2" fmla="*/ 2147483646 w 171"/>
                  <a:gd name="T3" fmla="*/ 2147483646 h 183"/>
                  <a:gd name="T4" fmla="*/ 2147483646 w 171"/>
                  <a:gd name="T5" fmla="*/ 2147483646 h 183"/>
                  <a:gd name="T6" fmla="*/ 2147483646 w 171"/>
                  <a:gd name="T7" fmla="*/ 2147483646 h 183"/>
                  <a:gd name="T8" fmla="*/ 2147483646 w 171"/>
                  <a:gd name="T9" fmla="*/ 2147483646 h 183"/>
                  <a:gd name="T10" fmla="*/ 2147483646 w 171"/>
                  <a:gd name="T11" fmla="*/ 2147483646 h 183"/>
                  <a:gd name="T12" fmla="*/ 2147483646 w 171"/>
                  <a:gd name="T13" fmla="*/ 2147483646 h 183"/>
                  <a:gd name="T14" fmla="*/ 2147483646 w 171"/>
                  <a:gd name="T15" fmla="*/ 2147483646 h 183"/>
                  <a:gd name="T16" fmla="*/ 2147483646 w 171"/>
                  <a:gd name="T17" fmla="*/ 2147483646 h 183"/>
                  <a:gd name="T18" fmla="*/ 2147483646 w 171"/>
                  <a:gd name="T19" fmla="*/ 2147483646 h 183"/>
                  <a:gd name="T20" fmla="*/ 2147483646 w 171"/>
                  <a:gd name="T21" fmla="*/ 2147483646 h 183"/>
                  <a:gd name="T22" fmla="*/ 2147483646 w 171"/>
                  <a:gd name="T23" fmla="*/ 2147483646 h 183"/>
                  <a:gd name="T24" fmla="*/ 2147483646 w 171"/>
                  <a:gd name="T25" fmla="*/ 2147483646 h 183"/>
                  <a:gd name="T26" fmla="*/ 2147483646 w 171"/>
                  <a:gd name="T27" fmla="*/ 2147483646 h 183"/>
                  <a:gd name="T28" fmla="*/ 2147483646 w 171"/>
                  <a:gd name="T29" fmla="*/ 2147483646 h 183"/>
                  <a:gd name="T30" fmla="*/ 2147483646 w 171"/>
                  <a:gd name="T31" fmla="*/ 2147483646 h 183"/>
                  <a:gd name="T32" fmla="*/ 2147483646 w 171"/>
                  <a:gd name="T33" fmla="*/ 2147483646 h 18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71" h="183">
                    <a:moveTo>
                      <a:pt x="165" y="62"/>
                    </a:moveTo>
                    <a:cubicBezTo>
                      <a:pt x="93" y="4"/>
                      <a:pt x="93" y="4"/>
                      <a:pt x="93" y="4"/>
                    </a:cubicBezTo>
                    <a:cubicBezTo>
                      <a:pt x="89" y="0"/>
                      <a:pt x="82" y="0"/>
                      <a:pt x="77" y="4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2" y="65"/>
                      <a:pt x="0" y="73"/>
                      <a:pt x="1" y="79"/>
                    </a:cubicBezTo>
                    <a:cubicBezTo>
                      <a:pt x="29" y="172"/>
                      <a:pt x="29" y="172"/>
                      <a:pt x="29" y="172"/>
                    </a:cubicBezTo>
                    <a:cubicBezTo>
                      <a:pt x="30" y="178"/>
                      <a:pt x="36" y="183"/>
                      <a:pt x="42" y="183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4" y="110"/>
                      <a:pt x="64" y="110"/>
                      <a:pt x="64" y="110"/>
                    </a:cubicBezTo>
                    <a:cubicBezTo>
                      <a:pt x="64" y="105"/>
                      <a:pt x="66" y="101"/>
                      <a:pt x="68" y="101"/>
                    </a:cubicBezTo>
                    <a:cubicBezTo>
                      <a:pt x="103" y="101"/>
                      <a:pt x="103" y="101"/>
                      <a:pt x="103" y="101"/>
                    </a:cubicBezTo>
                    <a:cubicBezTo>
                      <a:pt x="105" y="101"/>
                      <a:pt x="107" y="105"/>
                      <a:pt x="107" y="110"/>
                    </a:cubicBezTo>
                    <a:cubicBezTo>
                      <a:pt x="107" y="183"/>
                      <a:pt x="107" y="183"/>
                      <a:pt x="107" y="183"/>
                    </a:cubicBezTo>
                    <a:cubicBezTo>
                      <a:pt x="129" y="183"/>
                      <a:pt x="129" y="183"/>
                      <a:pt x="129" y="183"/>
                    </a:cubicBezTo>
                    <a:cubicBezTo>
                      <a:pt x="135" y="183"/>
                      <a:pt x="141" y="178"/>
                      <a:pt x="142" y="172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71" y="73"/>
                      <a:pt x="169" y="65"/>
                      <a:pt x="165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88" name="Freeform 15"/>
              <p:cNvSpPr/>
              <p:nvPr/>
            </p:nvSpPr>
            <p:spPr bwMode="auto">
              <a:xfrm>
                <a:off x="10310813" y="5164137"/>
                <a:ext cx="784225" cy="338138"/>
              </a:xfrm>
              <a:custGeom>
                <a:avLst/>
                <a:gdLst>
                  <a:gd name="T0" fmla="*/ 2147483646 w 209"/>
                  <a:gd name="T1" fmla="*/ 2147483646 h 90"/>
                  <a:gd name="T2" fmla="*/ 2147483646 w 209"/>
                  <a:gd name="T3" fmla="*/ 2147483646 h 90"/>
                  <a:gd name="T4" fmla="*/ 2147483646 w 209"/>
                  <a:gd name="T5" fmla="*/ 2147483646 h 90"/>
                  <a:gd name="T6" fmla="*/ 2147483646 w 209"/>
                  <a:gd name="T7" fmla="*/ 2147483646 h 90"/>
                  <a:gd name="T8" fmla="*/ 2147483646 w 209"/>
                  <a:gd name="T9" fmla="*/ 2147483646 h 90"/>
                  <a:gd name="T10" fmla="*/ 2147483646 w 209"/>
                  <a:gd name="T11" fmla="*/ 2147483646 h 90"/>
                  <a:gd name="T12" fmla="*/ 2147483646 w 209"/>
                  <a:gd name="T13" fmla="*/ 2147483646 h 90"/>
                  <a:gd name="T14" fmla="*/ 2147483646 w 209"/>
                  <a:gd name="T15" fmla="*/ 2147483646 h 90"/>
                  <a:gd name="T16" fmla="*/ 2147483646 w 209"/>
                  <a:gd name="T17" fmla="*/ 2147483646 h 90"/>
                  <a:gd name="T18" fmla="*/ 2147483646 w 209"/>
                  <a:gd name="T19" fmla="*/ 2147483646 h 90"/>
                  <a:gd name="T20" fmla="*/ 2147483646 w 209"/>
                  <a:gd name="T21" fmla="*/ 2147483646 h 90"/>
                  <a:gd name="T22" fmla="*/ 2147483646 w 209"/>
                  <a:gd name="T23" fmla="*/ 2147483646 h 90"/>
                  <a:gd name="T24" fmla="*/ 2147483646 w 209"/>
                  <a:gd name="T25" fmla="*/ 2147483646 h 90"/>
                  <a:gd name="T26" fmla="*/ 2147483646 w 209"/>
                  <a:gd name="T27" fmla="*/ 2147483646 h 90"/>
                  <a:gd name="T28" fmla="*/ 2147483646 w 209"/>
                  <a:gd name="T29" fmla="*/ 2147483646 h 90"/>
                  <a:gd name="T30" fmla="*/ 2147483646 w 209"/>
                  <a:gd name="T31" fmla="*/ 2147483646 h 90"/>
                  <a:gd name="T32" fmla="*/ 2147483646 w 209"/>
                  <a:gd name="T33" fmla="*/ 2147483646 h 90"/>
                  <a:gd name="T34" fmla="*/ 2147483646 w 209"/>
                  <a:gd name="T35" fmla="*/ 2147483646 h 90"/>
                  <a:gd name="T36" fmla="*/ 2147483646 w 209"/>
                  <a:gd name="T37" fmla="*/ 2147483646 h 90"/>
                  <a:gd name="T38" fmla="*/ 2147483646 w 209"/>
                  <a:gd name="T39" fmla="*/ 2147483646 h 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9" h="90">
                    <a:moveTo>
                      <a:pt x="205" y="74"/>
                    </a:moveTo>
                    <a:cubicBezTo>
                      <a:pt x="173" y="48"/>
                      <a:pt x="173" y="48"/>
                      <a:pt x="173" y="48"/>
                    </a:cubicBezTo>
                    <a:cubicBezTo>
                      <a:pt x="173" y="26"/>
                      <a:pt x="173" y="26"/>
                      <a:pt x="173" y="26"/>
                    </a:cubicBezTo>
                    <a:cubicBezTo>
                      <a:pt x="173" y="19"/>
                      <a:pt x="168" y="14"/>
                      <a:pt x="163" y="14"/>
                    </a:cubicBezTo>
                    <a:cubicBezTo>
                      <a:pt x="158" y="14"/>
                      <a:pt x="158" y="14"/>
                      <a:pt x="158" y="14"/>
                    </a:cubicBezTo>
                    <a:cubicBezTo>
                      <a:pt x="153" y="14"/>
                      <a:pt x="149" y="19"/>
                      <a:pt x="149" y="26"/>
                    </a:cubicBezTo>
                    <a:cubicBezTo>
                      <a:pt x="149" y="30"/>
                      <a:pt x="149" y="30"/>
                      <a:pt x="149" y="30"/>
                    </a:cubicBezTo>
                    <a:cubicBezTo>
                      <a:pt x="118" y="6"/>
                      <a:pt x="118" y="6"/>
                      <a:pt x="118" y="6"/>
                    </a:cubicBezTo>
                    <a:cubicBezTo>
                      <a:pt x="111" y="0"/>
                      <a:pt x="98" y="0"/>
                      <a:pt x="91" y="6"/>
                    </a:cubicBezTo>
                    <a:cubicBezTo>
                      <a:pt x="4" y="74"/>
                      <a:pt x="4" y="74"/>
                      <a:pt x="4" y="74"/>
                    </a:cubicBezTo>
                    <a:cubicBezTo>
                      <a:pt x="0" y="77"/>
                      <a:pt x="0" y="82"/>
                      <a:pt x="2" y="85"/>
                    </a:cubicBezTo>
                    <a:cubicBezTo>
                      <a:pt x="4" y="89"/>
                      <a:pt x="9" y="90"/>
                      <a:pt x="12" y="87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102" y="17"/>
                      <a:pt x="107" y="17"/>
                      <a:pt x="110" y="19"/>
                    </a:cubicBezTo>
                    <a:cubicBezTo>
                      <a:pt x="149" y="49"/>
                      <a:pt x="149" y="49"/>
                      <a:pt x="149" y="49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49" y="50"/>
                      <a:pt x="149" y="50"/>
                      <a:pt x="149" y="50"/>
                    </a:cubicBezTo>
                    <a:cubicBezTo>
                      <a:pt x="197" y="87"/>
                      <a:pt x="197" y="87"/>
                      <a:pt x="197" y="87"/>
                    </a:cubicBezTo>
                    <a:cubicBezTo>
                      <a:pt x="200" y="90"/>
                      <a:pt x="205" y="89"/>
                      <a:pt x="207" y="85"/>
                    </a:cubicBezTo>
                    <a:cubicBezTo>
                      <a:pt x="209" y="82"/>
                      <a:pt x="209" y="77"/>
                      <a:pt x="205" y="7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89" name="Freeform 16"/>
              <p:cNvSpPr/>
              <p:nvPr/>
            </p:nvSpPr>
            <p:spPr bwMode="auto">
              <a:xfrm>
                <a:off x="9602788" y="4867275"/>
                <a:ext cx="1376363" cy="555625"/>
              </a:xfrm>
              <a:custGeom>
                <a:avLst/>
                <a:gdLst>
                  <a:gd name="T0" fmla="*/ 2147483646 w 367"/>
                  <a:gd name="T1" fmla="*/ 2147483646 h 148"/>
                  <a:gd name="T2" fmla="*/ 2147483646 w 367"/>
                  <a:gd name="T3" fmla="*/ 0 h 148"/>
                  <a:gd name="T4" fmla="*/ 2147483646 w 367"/>
                  <a:gd name="T5" fmla="*/ 0 h 148"/>
                  <a:gd name="T6" fmla="*/ 2147483646 w 367"/>
                  <a:gd name="T7" fmla="*/ 2147483646 h 148"/>
                  <a:gd name="T8" fmla="*/ 2147483646 w 367"/>
                  <a:gd name="T9" fmla="*/ 2147483646 h 148"/>
                  <a:gd name="T10" fmla="*/ 0 w 367"/>
                  <a:gd name="T11" fmla="*/ 2147483646 h 148"/>
                  <a:gd name="T12" fmla="*/ 0 w 367"/>
                  <a:gd name="T13" fmla="*/ 2147483646 h 148"/>
                  <a:gd name="T14" fmla="*/ 2147483646 w 367"/>
                  <a:gd name="T15" fmla="*/ 2147483646 h 148"/>
                  <a:gd name="T16" fmla="*/ 2147483646 w 367"/>
                  <a:gd name="T17" fmla="*/ 2147483646 h 148"/>
                  <a:gd name="T18" fmla="*/ 2147483646 w 367"/>
                  <a:gd name="T19" fmla="*/ 2147483646 h 148"/>
                  <a:gd name="T20" fmla="*/ 2147483646 w 367"/>
                  <a:gd name="T21" fmla="*/ 2147483646 h 148"/>
                  <a:gd name="T22" fmla="*/ 2147483646 w 367"/>
                  <a:gd name="T23" fmla="*/ 2147483646 h 148"/>
                  <a:gd name="T24" fmla="*/ 2147483646 w 367"/>
                  <a:gd name="T25" fmla="*/ 2147483646 h 148"/>
                  <a:gd name="T26" fmla="*/ 2147483646 w 367"/>
                  <a:gd name="T27" fmla="*/ 2147483646 h 148"/>
                  <a:gd name="T28" fmla="*/ 2147483646 w 367"/>
                  <a:gd name="T29" fmla="*/ 2147483646 h 148"/>
                  <a:gd name="T30" fmla="*/ 2147483646 w 367"/>
                  <a:gd name="T31" fmla="*/ 2147483646 h 14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8">
                    <a:moveTo>
                      <a:pt x="352" y="1"/>
                    </a:moveTo>
                    <a:cubicBezTo>
                      <a:pt x="350" y="1"/>
                      <a:pt x="346" y="0"/>
                      <a:pt x="34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5" y="0"/>
                      <a:pt x="182" y="0"/>
                      <a:pt x="179" y="1"/>
                    </a:cubicBezTo>
                    <a:cubicBezTo>
                      <a:pt x="125" y="2"/>
                      <a:pt x="95" y="69"/>
                      <a:pt x="53" y="81"/>
                    </a:cubicBezTo>
                    <a:cubicBezTo>
                      <a:pt x="23" y="89"/>
                      <a:pt x="17" y="82"/>
                      <a:pt x="0" y="78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10" y="147"/>
                      <a:pt x="10" y="147"/>
                      <a:pt x="25" y="147"/>
                    </a:cubicBezTo>
                    <a:cubicBezTo>
                      <a:pt x="55" y="147"/>
                      <a:pt x="112" y="148"/>
                      <a:pt x="129" y="146"/>
                    </a:cubicBezTo>
                    <a:cubicBezTo>
                      <a:pt x="145" y="144"/>
                      <a:pt x="204" y="94"/>
                      <a:pt x="214" y="86"/>
                    </a:cubicBezTo>
                    <a:cubicBezTo>
                      <a:pt x="231" y="70"/>
                      <a:pt x="253" y="59"/>
                      <a:pt x="245" y="44"/>
                    </a:cubicBezTo>
                    <a:cubicBezTo>
                      <a:pt x="236" y="30"/>
                      <a:pt x="155" y="87"/>
                      <a:pt x="149" y="78"/>
                    </a:cubicBezTo>
                    <a:cubicBezTo>
                      <a:pt x="142" y="68"/>
                      <a:pt x="183" y="49"/>
                      <a:pt x="204" y="41"/>
                    </a:cubicBezTo>
                    <a:cubicBezTo>
                      <a:pt x="224" y="34"/>
                      <a:pt x="267" y="29"/>
                      <a:pt x="295" y="26"/>
                    </a:cubicBezTo>
                    <a:cubicBezTo>
                      <a:pt x="324" y="24"/>
                      <a:pt x="363" y="23"/>
                      <a:pt x="365" y="10"/>
                    </a:cubicBezTo>
                    <a:cubicBezTo>
                      <a:pt x="367" y="4"/>
                      <a:pt x="362" y="2"/>
                      <a:pt x="3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90" name="Freeform 17"/>
              <p:cNvSpPr/>
              <p:nvPr/>
            </p:nvSpPr>
            <p:spPr bwMode="auto">
              <a:xfrm>
                <a:off x="10517188" y="5695950"/>
                <a:ext cx="1376363" cy="552450"/>
              </a:xfrm>
              <a:custGeom>
                <a:avLst/>
                <a:gdLst>
                  <a:gd name="T0" fmla="*/ 2147483646 w 367"/>
                  <a:gd name="T1" fmla="*/ 2147483646 h 147"/>
                  <a:gd name="T2" fmla="*/ 2147483646 w 367"/>
                  <a:gd name="T3" fmla="*/ 2147483646 h 147"/>
                  <a:gd name="T4" fmla="*/ 2147483646 w 367"/>
                  <a:gd name="T5" fmla="*/ 2147483646 h 147"/>
                  <a:gd name="T6" fmla="*/ 2147483646 w 367"/>
                  <a:gd name="T7" fmla="*/ 2147483646 h 147"/>
                  <a:gd name="T8" fmla="*/ 2147483646 w 367"/>
                  <a:gd name="T9" fmla="*/ 2147483646 h 147"/>
                  <a:gd name="T10" fmla="*/ 2147483646 w 367"/>
                  <a:gd name="T11" fmla="*/ 2147483646 h 147"/>
                  <a:gd name="T12" fmla="*/ 2147483646 w 367"/>
                  <a:gd name="T13" fmla="*/ 2147483646 h 147"/>
                  <a:gd name="T14" fmla="*/ 2147483646 w 367"/>
                  <a:gd name="T15" fmla="*/ 2147483646 h 147"/>
                  <a:gd name="T16" fmla="*/ 2147483646 w 367"/>
                  <a:gd name="T17" fmla="*/ 2147483646 h 147"/>
                  <a:gd name="T18" fmla="*/ 2147483646 w 367"/>
                  <a:gd name="T19" fmla="*/ 2147483646 h 147"/>
                  <a:gd name="T20" fmla="*/ 2147483646 w 367"/>
                  <a:gd name="T21" fmla="*/ 2147483646 h 147"/>
                  <a:gd name="T22" fmla="*/ 2147483646 w 367"/>
                  <a:gd name="T23" fmla="*/ 2147483646 h 147"/>
                  <a:gd name="T24" fmla="*/ 2147483646 w 367"/>
                  <a:gd name="T25" fmla="*/ 2147483646 h 147"/>
                  <a:gd name="T26" fmla="*/ 2147483646 w 367"/>
                  <a:gd name="T27" fmla="*/ 2147483646 h 147"/>
                  <a:gd name="T28" fmla="*/ 2147483646 w 367"/>
                  <a:gd name="T29" fmla="*/ 2147483646 h 147"/>
                  <a:gd name="T30" fmla="*/ 2147483646 w 367"/>
                  <a:gd name="T31" fmla="*/ 2147483646 h 14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67" h="147">
                    <a:moveTo>
                      <a:pt x="15" y="147"/>
                    </a:moveTo>
                    <a:cubicBezTo>
                      <a:pt x="17" y="147"/>
                      <a:pt x="21" y="147"/>
                      <a:pt x="27" y="147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82" y="147"/>
                      <a:pt x="185" y="147"/>
                      <a:pt x="188" y="147"/>
                    </a:cubicBezTo>
                    <a:cubicBezTo>
                      <a:pt x="242" y="145"/>
                      <a:pt x="272" y="78"/>
                      <a:pt x="314" y="67"/>
                    </a:cubicBezTo>
                    <a:cubicBezTo>
                      <a:pt x="344" y="59"/>
                      <a:pt x="350" y="65"/>
                      <a:pt x="367" y="70"/>
                    </a:cubicBezTo>
                    <a:cubicBezTo>
                      <a:pt x="367" y="1"/>
                      <a:pt x="367" y="1"/>
                      <a:pt x="367" y="1"/>
                    </a:cubicBezTo>
                    <a:cubicBezTo>
                      <a:pt x="357" y="1"/>
                      <a:pt x="357" y="1"/>
                      <a:pt x="342" y="1"/>
                    </a:cubicBezTo>
                    <a:cubicBezTo>
                      <a:pt x="312" y="1"/>
                      <a:pt x="255" y="0"/>
                      <a:pt x="238" y="1"/>
                    </a:cubicBezTo>
                    <a:cubicBezTo>
                      <a:pt x="222" y="3"/>
                      <a:pt x="163" y="53"/>
                      <a:pt x="153" y="61"/>
                    </a:cubicBezTo>
                    <a:cubicBezTo>
                      <a:pt x="136" y="77"/>
                      <a:pt x="114" y="88"/>
                      <a:pt x="122" y="103"/>
                    </a:cubicBezTo>
                    <a:cubicBezTo>
                      <a:pt x="131" y="118"/>
                      <a:pt x="212" y="60"/>
                      <a:pt x="218" y="69"/>
                    </a:cubicBezTo>
                    <a:cubicBezTo>
                      <a:pt x="225" y="79"/>
                      <a:pt x="184" y="98"/>
                      <a:pt x="163" y="106"/>
                    </a:cubicBezTo>
                    <a:cubicBezTo>
                      <a:pt x="143" y="114"/>
                      <a:pt x="100" y="119"/>
                      <a:pt x="72" y="121"/>
                    </a:cubicBezTo>
                    <a:cubicBezTo>
                      <a:pt x="43" y="124"/>
                      <a:pt x="4" y="124"/>
                      <a:pt x="2" y="137"/>
                    </a:cubicBezTo>
                    <a:cubicBezTo>
                      <a:pt x="0" y="143"/>
                      <a:pt x="5" y="146"/>
                      <a:pt x="15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3563" name="组合 59"/>
          <p:cNvGrpSpPr/>
          <p:nvPr/>
        </p:nvGrpSpPr>
        <p:grpSpPr bwMode="auto">
          <a:xfrm>
            <a:off x="5908675" y="3736975"/>
            <a:ext cx="2586038" cy="431800"/>
            <a:chOff x="6063231" y="4015274"/>
            <a:chExt cx="2585259" cy="432003"/>
          </a:xfrm>
        </p:grpSpPr>
        <p:sp>
          <p:nvSpPr>
            <p:cNvPr id="61" name="Rectangle 53"/>
            <p:cNvSpPr/>
            <p:nvPr/>
          </p:nvSpPr>
          <p:spPr bwMode="auto">
            <a:xfrm>
              <a:off x="6063231" y="4015274"/>
              <a:ext cx="2585259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744064" y="4047039"/>
              <a:ext cx="1107741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77" name="Freeform 51"/>
            <p:cNvSpPr>
              <a:spLocks noEditPoints="1"/>
            </p:cNvSpPr>
            <p:nvPr/>
          </p:nvSpPr>
          <p:spPr bwMode="auto">
            <a:xfrm rot="10800000" flipH="1" flipV="1">
              <a:off x="7834132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3578" name="组合 23"/>
            <p:cNvGrpSpPr/>
            <p:nvPr/>
          </p:nvGrpSpPr>
          <p:grpSpPr bwMode="auto">
            <a:xfrm>
              <a:off x="8143816" y="4074039"/>
              <a:ext cx="315818" cy="314472"/>
              <a:chOff x="9474646" y="-2637259"/>
              <a:chExt cx="2570841" cy="2559885"/>
            </a:xfrm>
          </p:grpSpPr>
          <p:sp>
            <p:nvSpPr>
              <p:cNvPr id="65" name="Freeform 18"/>
              <p:cNvSpPr/>
              <p:nvPr/>
            </p:nvSpPr>
            <p:spPr bwMode="auto">
              <a:xfrm>
                <a:off x="9474654" y="-2637251"/>
                <a:ext cx="2570833" cy="2559893"/>
              </a:xfrm>
              <a:custGeom>
                <a:avLst/>
                <a:gdLst>
                  <a:gd name="T0" fmla="*/ 0 w 687"/>
                  <a:gd name="T1" fmla="*/ 624 h 686"/>
                  <a:gd name="T2" fmla="*/ 62 w 687"/>
                  <a:gd name="T3" fmla="*/ 686 h 686"/>
                  <a:gd name="T4" fmla="*/ 624 w 687"/>
                  <a:gd name="T5" fmla="*/ 686 h 686"/>
                  <a:gd name="T6" fmla="*/ 687 w 687"/>
                  <a:gd name="T7" fmla="*/ 624 h 686"/>
                  <a:gd name="T8" fmla="*/ 687 w 687"/>
                  <a:gd name="T9" fmla="*/ 62 h 686"/>
                  <a:gd name="T10" fmla="*/ 624 w 687"/>
                  <a:gd name="T11" fmla="*/ 0 h 686"/>
                  <a:gd name="T12" fmla="*/ 62 w 687"/>
                  <a:gd name="T13" fmla="*/ 0 h 686"/>
                  <a:gd name="T14" fmla="*/ 0 w 687"/>
                  <a:gd name="T15" fmla="*/ 62 h 686"/>
                  <a:gd name="T16" fmla="*/ 0 w 687"/>
                  <a:gd name="T17" fmla="*/ 624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6">
                    <a:moveTo>
                      <a:pt x="0" y="624"/>
                    </a:moveTo>
                    <a:cubicBezTo>
                      <a:pt x="0" y="659"/>
                      <a:pt x="28" y="686"/>
                      <a:pt x="62" y="686"/>
                    </a:cubicBezTo>
                    <a:cubicBezTo>
                      <a:pt x="624" y="686"/>
                      <a:pt x="624" y="686"/>
                      <a:pt x="624" y="686"/>
                    </a:cubicBezTo>
                    <a:cubicBezTo>
                      <a:pt x="659" y="686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580" name="Freeform 20"/>
              <p:cNvSpPr/>
              <p:nvPr/>
            </p:nvSpPr>
            <p:spPr bwMode="auto">
              <a:xfrm>
                <a:off x="10447338" y="-1431925"/>
                <a:ext cx="862013" cy="858838"/>
              </a:xfrm>
              <a:custGeom>
                <a:avLst/>
                <a:gdLst>
                  <a:gd name="T0" fmla="*/ 2147483646 w 230"/>
                  <a:gd name="T1" fmla="*/ 2147483646 h 229"/>
                  <a:gd name="T2" fmla="*/ 2147483646 w 230"/>
                  <a:gd name="T3" fmla="*/ 2147483646 h 229"/>
                  <a:gd name="T4" fmla="*/ 2147483646 w 230"/>
                  <a:gd name="T5" fmla="*/ 2147483646 h 229"/>
                  <a:gd name="T6" fmla="*/ 2147483646 w 230"/>
                  <a:gd name="T7" fmla="*/ 0 h 229"/>
                  <a:gd name="T8" fmla="*/ 2147483646 w 230"/>
                  <a:gd name="T9" fmla="*/ 0 h 229"/>
                  <a:gd name="T10" fmla="*/ 2147483646 w 230"/>
                  <a:gd name="T11" fmla="*/ 2147483646 h 229"/>
                  <a:gd name="T12" fmla="*/ 2147483646 w 230"/>
                  <a:gd name="T13" fmla="*/ 2147483646 h 229"/>
                  <a:gd name="T14" fmla="*/ 2147483646 w 230"/>
                  <a:gd name="T15" fmla="*/ 2147483646 h 229"/>
                  <a:gd name="T16" fmla="*/ 0 w 230"/>
                  <a:gd name="T17" fmla="*/ 2147483646 h 229"/>
                  <a:gd name="T18" fmla="*/ 0 w 230"/>
                  <a:gd name="T19" fmla="*/ 2147483646 h 229"/>
                  <a:gd name="T20" fmla="*/ 2147483646 w 230"/>
                  <a:gd name="T21" fmla="*/ 2147483646 h 229"/>
                  <a:gd name="T22" fmla="*/ 2147483646 w 230"/>
                  <a:gd name="T23" fmla="*/ 2147483646 h 229"/>
                  <a:gd name="T24" fmla="*/ 2147483646 w 230"/>
                  <a:gd name="T25" fmla="*/ 2147483646 h 229"/>
                  <a:gd name="T26" fmla="*/ 2147483646 w 230"/>
                  <a:gd name="T27" fmla="*/ 2147483646 h 229"/>
                  <a:gd name="T28" fmla="*/ 2147483646 w 230"/>
                  <a:gd name="T29" fmla="*/ 2147483646 h 229"/>
                  <a:gd name="T30" fmla="*/ 2147483646 w 230"/>
                  <a:gd name="T31" fmla="*/ 2147483646 h 229"/>
                  <a:gd name="T32" fmla="*/ 2147483646 w 230"/>
                  <a:gd name="T33" fmla="*/ 2147483646 h 229"/>
                  <a:gd name="T34" fmla="*/ 2147483646 w 230"/>
                  <a:gd name="T35" fmla="*/ 2147483646 h 229"/>
                  <a:gd name="T36" fmla="*/ 2147483646 w 230"/>
                  <a:gd name="T37" fmla="*/ 2147483646 h 229"/>
                  <a:gd name="T38" fmla="*/ 2147483646 w 230"/>
                  <a:gd name="T39" fmla="*/ 2147483646 h 229"/>
                  <a:gd name="T40" fmla="*/ 2147483646 w 230"/>
                  <a:gd name="T41" fmla="*/ 2147483646 h 22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30" h="229">
                    <a:moveTo>
                      <a:pt x="216" y="73"/>
                    </a:moveTo>
                    <a:cubicBezTo>
                      <a:pt x="157" y="73"/>
                      <a:pt x="157" y="73"/>
                      <a:pt x="157" y="73"/>
                    </a:cubicBezTo>
                    <a:cubicBezTo>
                      <a:pt x="157" y="13"/>
                      <a:pt x="157" y="13"/>
                      <a:pt x="157" y="13"/>
                    </a:cubicBezTo>
                    <a:cubicBezTo>
                      <a:pt x="157" y="6"/>
                      <a:pt x="150" y="0"/>
                      <a:pt x="143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79" y="0"/>
                      <a:pt x="73" y="6"/>
                      <a:pt x="73" y="13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6" y="73"/>
                      <a:pt x="0" y="79"/>
                      <a:pt x="0" y="87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50"/>
                      <a:pt x="6" y="156"/>
                      <a:pt x="14" y="156"/>
                    </a:cubicBezTo>
                    <a:cubicBezTo>
                      <a:pt x="73" y="156"/>
                      <a:pt x="73" y="156"/>
                      <a:pt x="73" y="156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3" y="223"/>
                      <a:pt x="79" y="229"/>
                      <a:pt x="87" y="229"/>
                    </a:cubicBezTo>
                    <a:cubicBezTo>
                      <a:pt x="143" y="229"/>
                      <a:pt x="143" y="229"/>
                      <a:pt x="143" y="229"/>
                    </a:cubicBezTo>
                    <a:cubicBezTo>
                      <a:pt x="150" y="229"/>
                      <a:pt x="157" y="223"/>
                      <a:pt x="157" y="215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216" y="156"/>
                      <a:pt x="216" y="156"/>
                      <a:pt x="216" y="156"/>
                    </a:cubicBezTo>
                    <a:cubicBezTo>
                      <a:pt x="223" y="156"/>
                      <a:pt x="230" y="150"/>
                      <a:pt x="230" y="142"/>
                    </a:cubicBezTo>
                    <a:cubicBezTo>
                      <a:pt x="230" y="87"/>
                      <a:pt x="230" y="87"/>
                      <a:pt x="230" y="87"/>
                    </a:cubicBezTo>
                    <a:cubicBezTo>
                      <a:pt x="230" y="79"/>
                      <a:pt x="223" y="73"/>
                      <a:pt x="216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81" name="Freeform 21"/>
              <p:cNvSpPr/>
              <p:nvPr/>
            </p:nvSpPr>
            <p:spPr bwMode="auto">
              <a:xfrm>
                <a:off x="9955213" y="-2298700"/>
                <a:ext cx="1665288" cy="1924050"/>
              </a:xfrm>
              <a:custGeom>
                <a:avLst/>
                <a:gdLst>
                  <a:gd name="T0" fmla="*/ 2147483646 w 444"/>
                  <a:gd name="T1" fmla="*/ 2147483646 h 513"/>
                  <a:gd name="T2" fmla="*/ 2147483646 w 444"/>
                  <a:gd name="T3" fmla="*/ 2147483646 h 513"/>
                  <a:gd name="T4" fmla="*/ 2147483646 w 444"/>
                  <a:gd name="T5" fmla="*/ 0 h 513"/>
                  <a:gd name="T6" fmla="*/ 2147483646 w 444"/>
                  <a:gd name="T7" fmla="*/ 2147483646 h 513"/>
                  <a:gd name="T8" fmla="*/ 2147483646 w 444"/>
                  <a:gd name="T9" fmla="*/ 2147483646 h 513"/>
                  <a:gd name="T10" fmla="*/ 2147483646 w 444"/>
                  <a:gd name="T11" fmla="*/ 2147483646 h 513"/>
                  <a:gd name="T12" fmla="*/ 2147483646 w 444"/>
                  <a:gd name="T13" fmla="*/ 2147483646 h 513"/>
                  <a:gd name="T14" fmla="*/ 2147483646 w 444"/>
                  <a:gd name="T15" fmla="*/ 2147483646 h 513"/>
                  <a:gd name="T16" fmla="*/ 2147483646 w 444"/>
                  <a:gd name="T17" fmla="*/ 2147483646 h 513"/>
                  <a:gd name="T18" fmla="*/ 2147483646 w 444"/>
                  <a:gd name="T19" fmla="*/ 2147483646 h 513"/>
                  <a:gd name="T20" fmla="*/ 2147483646 w 444"/>
                  <a:gd name="T21" fmla="*/ 2147483646 h 513"/>
                  <a:gd name="T22" fmla="*/ 2147483646 w 444"/>
                  <a:gd name="T23" fmla="*/ 2147483646 h 513"/>
                  <a:gd name="T24" fmla="*/ 2147483646 w 444"/>
                  <a:gd name="T25" fmla="*/ 2147483646 h 513"/>
                  <a:gd name="T26" fmla="*/ 2147483646 w 444"/>
                  <a:gd name="T27" fmla="*/ 2147483646 h 513"/>
                  <a:gd name="T28" fmla="*/ 2147483646 w 444"/>
                  <a:gd name="T29" fmla="*/ 2147483646 h 513"/>
                  <a:gd name="T30" fmla="*/ 2147483646 w 444"/>
                  <a:gd name="T31" fmla="*/ 2147483646 h 513"/>
                  <a:gd name="T32" fmla="*/ 2147483646 w 444"/>
                  <a:gd name="T33" fmla="*/ 2147483646 h 513"/>
                  <a:gd name="T34" fmla="*/ 2147483646 w 444"/>
                  <a:gd name="T35" fmla="*/ 2147483646 h 513"/>
                  <a:gd name="T36" fmla="*/ 2147483646 w 444"/>
                  <a:gd name="T37" fmla="*/ 2147483646 h 513"/>
                  <a:gd name="T38" fmla="*/ 2147483646 w 444"/>
                  <a:gd name="T39" fmla="*/ 2147483646 h 513"/>
                  <a:gd name="T40" fmla="*/ 2147483646 w 444"/>
                  <a:gd name="T41" fmla="*/ 2147483646 h 513"/>
                  <a:gd name="T42" fmla="*/ 2147483646 w 444"/>
                  <a:gd name="T43" fmla="*/ 2147483646 h 513"/>
                  <a:gd name="T44" fmla="*/ 2147483646 w 444"/>
                  <a:gd name="T45" fmla="*/ 2147483646 h 513"/>
                  <a:gd name="T46" fmla="*/ 2147483646 w 444"/>
                  <a:gd name="T47" fmla="*/ 2147483646 h 513"/>
                  <a:gd name="T48" fmla="*/ 2147483646 w 444"/>
                  <a:gd name="T49" fmla="*/ 2147483646 h 513"/>
                  <a:gd name="T50" fmla="*/ 2147483646 w 444"/>
                  <a:gd name="T51" fmla="*/ 2147483646 h 513"/>
                  <a:gd name="T52" fmla="*/ 2147483646 w 444"/>
                  <a:gd name="T53" fmla="*/ 2147483646 h 513"/>
                  <a:gd name="T54" fmla="*/ 2147483646 w 444"/>
                  <a:gd name="T55" fmla="*/ 2147483646 h 513"/>
                  <a:gd name="T56" fmla="*/ 2147483646 w 444"/>
                  <a:gd name="T57" fmla="*/ 2147483646 h 513"/>
                  <a:gd name="T58" fmla="*/ 2147483646 w 444"/>
                  <a:gd name="T59" fmla="*/ 2147483646 h 513"/>
                  <a:gd name="T60" fmla="*/ 2147483646 w 444"/>
                  <a:gd name="T61" fmla="*/ 2147483646 h 513"/>
                  <a:gd name="T62" fmla="*/ 2147483646 w 444"/>
                  <a:gd name="T63" fmla="*/ 2147483646 h 513"/>
                  <a:gd name="T64" fmla="*/ 2147483646 w 444"/>
                  <a:gd name="T65" fmla="*/ 2147483646 h 513"/>
                  <a:gd name="T66" fmla="*/ 0 w 444"/>
                  <a:gd name="T67" fmla="*/ 2147483646 h 513"/>
                  <a:gd name="T68" fmla="*/ 0 w 444"/>
                  <a:gd name="T69" fmla="*/ 2147483646 h 513"/>
                  <a:gd name="T70" fmla="*/ 2147483646 w 444"/>
                  <a:gd name="T71" fmla="*/ 2147483646 h 513"/>
                  <a:gd name="T72" fmla="*/ 2147483646 w 444"/>
                  <a:gd name="T73" fmla="*/ 2147483646 h 513"/>
                  <a:gd name="T74" fmla="*/ 2147483646 w 444"/>
                  <a:gd name="T75" fmla="*/ 2147483646 h 51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44" h="513">
                    <a:moveTo>
                      <a:pt x="338" y="206"/>
                    </a:moveTo>
                    <a:cubicBezTo>
                      <a:pt x="367" y="185"/>
                      <a:pt x="386" y="152"/>
                      <a:pt x="386" y="113"/>
                    </a:cubicBezTo>
                    <a:cubicBezTo>
                      <a:pt x="386" y="51"/>
                      <a:pt x="335" y="0"/>
                      <a:pt x="272" y="0"/>
                    </a:cubicBezTo>
                    <a:cubicBezTo>
                      <a:pt x="224" y="0"/>
                      <a:pt x="182" y="31"/>
                      <a:pt x="166" y="74"/>
                    </a:cubicBezTo>
                    <a:cubicBezTo>
                      <a:pt x="219" y="85"/>
                      <a:pt x="258" y="131"/>
                      <a:pt x="258" y="187"/>
                    </a:cubicBezTo>
                    <a:cubicBezTo>
                      <a:pt x="258" y="194"/>
                      <a:pt x="257" y="201"/>
                      <a:pt x="256" y="208"/>
                    </a:cubicBezTo>
                    <a:cubicBezTo>
                      <a:pt x="273" y="208"/>
                      <a:pt x="273" y="208"/>
                      <a:pt x="273" y="208"/>
                    </a:cubicBezTo>
                    <a:cubicBezTo>
                      <a:pt x="292" y="208"/>
                      <a:pt x="308" y="224"/>
                      <a:pt x="308" y="243"/>
                    </a:cubicBezTo>
                    <a:cubicBezTo>
                      <a:pt x="308" y="243"/>
                      <a:pt x="308" y="265"/>
                      <a:pt x="308" y="283"/>
                    </a:cubicBezTo>
                    <a:cubicBezTo>
                      <a:pt x="326" y="283"/>
                      <a:pt x="348" y="283"/>
                      <a:pt x="348" y="283"/>
                    </a:cubicBezTo>
                    <a:cubicBezTo>
                      <a:pt x="358" y="283"/>
                      <a:pt x="366" y="287"/>
                      <a:pt x="373" y="293"/>
                    </a:cubicBezTo>
                    <a:cubicBezTo>
                      <a:pt x="379" y="300"/>
                      <a:pt x="383" y="309"/>
                      <a:pt x="383" y="318"/>
                    </a:cubicBezTo>
                    <a:cubicBezTo>
                      <a:pt x="383" y="375"/>
                      <a:pt x="383" y="375"/>
                      <a:pt x="383" y="375"/>
                    </a:cubicBezTo>
                    <a:cubicBezTo>
                      <a:pt x="383" y="384"/>
                      <a:pt x="379" y="393"/>
                      <a:pt x="373" y="399"/>
                    </a:cubicBezTo>
                    <a:cubicBezTo>
                      <a:pt x="366" y="406"/>
                      <a:pt x="358" y="410"/>
                      <a:pt x="348" y="410"/>
                    </a:cubicBezTo>
                    <a:cubicBezTo>
                      <a:pt x="348" y="410"/>
                      <a:pt x="326" y="410"/>
                      <a:pt x="308" y="410"/>
                    </a:cubicBezTo>
                    <a:cubicBezTo>
                      <a:pt x="308" y="428"/>
                      <a:pt x="308" y="450"/>
                      <a:pt x="308" y="450"/>
                    </a:cubicBezTo>
                    <a:cubicBezTo>
                      <a:pt x="308" y="469"/>
                      <a:pt x="292" y="485"/>
                      <a:pt x="273" y="485"/>
                    </a:cubicBezTo>
                    <a:cubicBezTo>
                      <a:pt x="216" y="485"/>
                      <a:pt x="216" y="485"/>
                      <a:pt x="216" y="485"/>
                    </a:cubicBezTo>
                    <a:cubicBezTo>
                      <a:pt x="197" y="485"/>
                      <a:pt x="182" y="469"/>
                      <a:pt x="182" y="450"/>
                    </a:cubicBezTo>
                    <a:cubicBezTo>
                      <a:pt x="182" y="450"/>
                      <a:pt x="182" y="428"/>
                      <a:pt x="182" y="410"/>
                    </a:cubicBezTo>
                    <a:cubicBezTo>
                      <a:pt x="164" y="410"/>
                      <a:pt x="141" y="410"/>
                      <a:pt x="141" y="410"/>
                    </a:cubicBezTo>
                    <a:cubicBezTo>
                      <a:pt x="122" y="410"/>
                      <a:pt x="107" y="394"/>
                      <a:pt x="107" y="375"/>
                    </a:cubicBezTo>
                    <a:cubicBezTo>
                      <a:pt x="107" y="318"/>
                      <a:pt x="107" y="318"/>
                      <a:pt x="107" y="318"/>
                    </a:cubicBezTo>
                    <a:cubicBezTo>
                      <a:pt x="107" y="299"/>
                      <a:pt x="122" y="283"/>
                      <a:pt x="141" y="283"/>
                    </a:cubicBezTo>
                    <a:cubicBezTo>
                      <a:pt x="141" y="283"/>
                      <a:pt x="164" y="283"/>
                      <a:pt x="182" y="283"/>
                    </a:cubicBezTo>
                    <a:cubicBezTo>
                      <a:pt x="182" y="265"/>
                      <a:pt x="182" y="243"/>
                      <a:pt x="182" y="243"/>
                    </a:cubicBezTo>
                    <a:cubicBezTo>
                      <a:pt x="182" y="224"/>
                      <a:pt x="197" y="208"/>
                      <a:pt x="216" y="208"/>
                    </a:cubicBezTo>
                    <a:cubicBezTo>
                      <a:pt x="230" y="208"/>
                      <a:pt x="230" y="208"/>
                      <a:pt x="230" y="208"/>
                    </a:cubicBezTo>
                    <a:cubicBezTo>
                      <a:pt x="232" y="201"/>
                      <a:pt x="233" y="194"/>
                      <a:pt x="233" y="186"/>
                    </a:cubicBezTo>
                    <a:cubicBezTo>
                      <a:pt x="233" y="135"/>
                      <a:pt x="191" y="94"/>
                      <a:pt x="140" y="94"/>
                    </a:cubicBezTo>
                    <a:cubicBezTo>
                      <a:pt x="89" y="94"/>
                      <a:pt x="47" y="135"/>
                      <a:pt x="47" y="186"/>
                    </a:cubicBezTo>
                    <a:cubicBezTo>
                      <a:pt x="47" y="218"/>
                      <a:pt x="63" y="245"/>
                      <a:pt x="86" y="262"/>
                    </a:cubicBezTo>
                    <a:cubicBezTo>
                      <a:pt x="38" y="263"/>
                      <a:pt x="0" y="302"/>
                      <a:pt x="0" y="349"/>
                    </a:cubicBezTo>
                    <a:cubicBezTo>
                      <a:pt x="0" y="513"/>
                      <a:pt x="0" y="513"/>
                      <a:pt x="0" y="513"/>
                    </a:cubicBezTo>
                    <a:cubicBezTo>
                      <a:pt x="444" y="513"/>
                      <a:pt x="444" y="513"/>
                      <a:pt x="444" y="513"/>
                    </a:cubicBezTo>
                    <a:cubicBezTo>
                      <a:pt x="444" y="312"/>
                      <a:pt x="444" y="312"/>
                      <a:pt x="444" y="312"/>
                    </a:cubicBezTo>
                    <a:cubicBezTo>
                      <a:pt x="444" y="254"/>
                      <a:pt x="397" y="207"/>
                      <a:pt x="338" y="20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3564" name="组合 68"/>
          <p:cNvGrpSpPr/>
          <p:nvPr/>
        </p:nvGrpSpPr>
        <p:grpSpPr bwMode="auto">
          <a:xfrm>
            <a:off x="3255963" y="3736975"/>
            <a:ext cx="2593975" cy="431800"/>
            <a:chOff x="3409698" y="4015274"/>
            <a:chExt cx="2593463" cy="432003"/>
          </a:xfrm>
        </p:grpSpPr>
        <p:sp>
          <p:nvSpPr>
            <p:cNvPr id="70" name="Rectangle 50"/>
            <p:cNvSpPr/>
            <p:nvPr/>
          </p:nvSpPr>
          <p:spPr bwMode="auto">
            <a:xfrm>
              <a:off x="3409698" y="4015274"/>
              <a:ext cx="2593463" cy="43200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3969974" y="4047039"/>
              <a:ext cx="1107856" cy="3684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67" name="Freeform 51"/>
            <p:cNvSpPr>
              <a:spLocks noEditPoints="1"/>
            </p:cNvSpPr>
            <p:nvPr/>
          </p:nvSpPr>
          <p:spPr bwMode="auto">
            <a:xfrm rot="10800000" flipH="1" flipV="1">
              <a:off x="5104257" y="4159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23568" name="组合 38"/>
            <p:cNvGrpSpPr/>
            <p:nvPr/>
          </p:nvGrpSpPr>
          <p:grpSpPr bwMode="auto">
            <a:xfrm>
              <a:off x="5485739" y="4072451"/>
              <a:ext cx="317437" cy="317650"/>
              <a:chOff x="9806046" y="858184"/>
              <a:chExt cx="2584017" cy="2585758"/>
            </a:xfrm>
          </p:grpSpPr>
          <p:sp>
            <p:nvSpPr>
              <p:cNvPr id="74" name="Freeform 26"/>
              <p:cNvSpPr/>
              <p:nvPr/>
            </p:nvSpPr>
            <p:spPr bwMode="auto">
              <a:xfrm>
                <a:off x="9806038" y="858184"/>
                <a:ext cx="2584017" cy="2585750"/>
              </a:xfrm>
              <a:custGeom>
                <a:avLst/>
                <a:gdLst>
                  <a:gd name="T0" fmla="*/ 0 w 687"/>
                  <a:gd name="T1" fmla="*/ 625 h 687"/>
                  <a:gd name="T2" fmla="*/ 62 w 687"/>
                  <a:gd name="T3" fmla="*/ 687 h 687"/>
                  <a:gd name="T4" fmla="*/ 624 w 687"/>
                  <a:gd name="T5" fmla="*/ 687 h 687"/>
                  <a:gd name="T6" fmla="*/ 687 w 687"/>
                  <a:gd name="T7" fmla="*/ 625 h 687"/>
                  <a:gd name="T8" fmla="*/ 687 w 687"/>
                  <a:gd name="T9" fmla="*/ 62 h 687"/>
                  <a:gd name="T10" fmla="*/ 624 w 687"/>
                  <a:gd name="T11" fmla="*/ 0 h 687"/>
                  <a:gd name="T12" fmla="*/ 62 w 687"/>
                  <a:gd name="T13" fmla="*/ 0 h 687"/>
                  <a:gd name="T14" fmla="*/ 0 w 687"/>
                  <a:gd name="T15" fmla="*/ 62 h 687"/>
                  <a:gd name="T16" fmla="*/ 0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5"/>
                    </a:moveTo>
                    <a:cubicBezTo>
                      <a:pt x="0" y="659"/>
                      <a:pt x="28" y="687"/>
                      <a:pt x="62" y="687"/>
                    </a:cubicBezTo>
                    <a:cubicBezTo>
                      <a:pt x="624" y="687"/>
                      <a:pt x="624" y="687"/>
                      <a:pt x="624" y="687"/>
                    </a:cubicBezTo>
                    <a:cubicBezTo>
                      <a:pt x="659" y="687"/>
                      <a:pt x="687" y="659"/>
                      <a:pt x="687" y="625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4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5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570" name="Freeform 28"/>
              <p:cNvSpPr/>
              <p:nvPr/>
            </p:nvSpPr>
            <p:spPr bwMode="auto">
              <a:xfrm>
                <a:off x="11520488" y="2535238"/>
                <a:ext cx="319088" cy="657225"/>
              </a:xfrm>
              <a:custGeom>
                <a:avLst/>
                <a:gdLst>
                  <a:gd name="T0" fmla="*/ 2147483646 w 85"/>
                  <a:gd name="T1" fmla="*/ 2147483646 h 175"/>
                  <a:gd name="T2" fmla="*/ 2147483646 w 85"/>
                  <a:gd name="T3" fmla="*/ 2147483646 h 175"/>
                  <a:gd name="T4" fmla="*/ 2147483646 w 85"/>
                  <a:gd name="T5" fmla="*/ 0 h 175"/>
                  <a:gd name="T6" fmla="*/ 0 w 85"/>
                  <a:gd name="T7" fmla="*/ 2147483646 h 175"/>
                  <a:gd name="T8" fmla="*/ 2147483646 w 85"/>
                  <a:gd name="T9" fmla="*/ 2147483646 h 175"/>
                  <a:gd name="T10" fmla="*/ 2147483646 w 85"/>
                  <a:gd name="T11" fmla="*/ 2147483646 h 175"/>
                  <a:gd name="T12" fmla="*/ 2147483646 w 85"/>
                  <a:gd name="T13" fmla="*/ 2147483646 h 175"/>
                  <a:gd name="T14" fmla="*/ 2147483646 w 85"/>
                  <a:gd name="T15" fmla="*/ 2147483646 h 175"/>
                  <a:gd name="T16" fmla="*/ 2147483646 w 85"/>
                  <a:gd name="T17" fmla="*/ 2147483646 h 1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5" h="175">
                    <a:moveTo>
                      <a:pt x="49" y="70"/>
                    </a:moveTo>
                    <a:cubicBezTo>
                      <a:pt x="59" y="63"/>
                      <a:pt x="65" y="51"/>
                      <a:pt x="65" y="38"/>
                    </a:cubicBezTo>
                    <a:cubicBezTo>
                      <a:pt x="65" y="17"/>
                      <a:pt x="48" y="0"/>
                      <a:pt x="26" y="0"/>
                    </a:cubicBezTo>
                    <a:cubicBezTo>
                      <a:pt x="16" y="0"/>
                      <a:pt x="7" y="3"/>
                      <a:pt x="0" y="10"/>
                    </a:cubicBezTo>
                    <a:cubicBezTo>
                      <a:pt x="5" y="20"/>
                      <a:pt x="8" y="32"/>
                      <a:pt x="8" y="44"/>
                    </a:cubicBezTo>
                    <a:cubicBezTo>
                      <a:pt x="8" y="175"/>
                      <a:pt x="8" y="175"/>
                      <a:pt x="8" y="175"/>
                    </a:cubicBezTo>
                    <a:cubicBezTo>
                      <a:pt x="85" y="175"/>
                      <a:pt x="85" y="175"/>
                      <a:pt x="85" y="175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87"/>
                      <a:pt x="69" y="70"/>
                      <a:pt x="49" y="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71" name="Freeform 29"/>
              <p:cNvSpPr/>
              <p:nvPr/>
            </p:nvSpPr>
            <p:spPr bwMode="auto">
              <a:xfrm>
                <a:off x="10769601" y="1935163"/>
                <a:ext cx="679450" cy="1257300"/>
              </a:xfrm>
              <a:custGeom>
                <a:avLst/>
                <a:gdLst>
                  <a:gd name="T0" fmla="*/ 2147483646 w 181"/>
                  <a:gd name="T1" fmla="*/ 2147483646 h 335"/>
                  <a:gd name="T2" fmla="*/ 2147483646 w 181"/>
                  <a:gd name="T3" fmla="*/ 2147483646 h 335"/>
                  <a:gd name="T4" fmla="*/ 2147483646 w 181"/>
                  <a:gd name="T5" fmla="*/ 0 h 335"/>
                  <a:gd name="T6" fmla="*/ 0 w 181"/>
                  <a:gd name="T7" fmla="*/ 2147483646 h 335"/>
                  <a:gd name="T8" fmla="*/ 2147483646 w 181"/>
                  <a:gd name="T9" fmla="*/ 2147483646 h 335"/>
                  <a:gd name="T10" fmla="*/ 2147483646 w 181"/>
                  <a:gd name="T11" fmla="*/ 2147483646 h 335"/>
                  <a:gd name="T12" fmla="*/ 2147483646 w 181"/>
                  <a:gd name="T13" fmla="*/ 2147483646 h 335"/>
                  <a:gd name="T14" fmla="*/ 2147483646 w 181"/>
                  <a:gd name="T15" fmla="*/ 2147483646 h 335"/>
                  <a:gd name="T16" fmla="*/ 2147483646 w 181"/>
                  <a:gd name="T17" fmla="*/ 2147483646 h 335"/>
                  <a:gd name="T18" fmla="*/ 2147483646 w 181"/>
                  <a:gd name="T19" fmla="*/ 2147483646 h 335"/>
                  <a:gd name="T20" fmla="*/ 2147483646 w 181"/>
                  <a:gd name="T21" fmla="*/ 2147483646 h 3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1" h="335">
                    <a:moveTo>
                      <a:pt x="112" y="134"/>
                    </a:moveTo>
                    <a:cubicBezTo>
                      <a:pt x="131" y="121"/>
                      <a:pt x="143" y="99"/>
                      <a:pt x="143" y="74"/>
                    </a:cubicBezTo>
                    <a:cubicBezTo>
                      <a:pt x="143" y="33"/>
                      <a:pt x="110" y="0"/>
                      <a:pt x="69" y="0"/>
                    </a:cubicBezTo>
                    <a:cubicBezTo>
                      <a:pt x="37" y="0"/>
                      <a:pt x="10" y="20"/>
                      <a:pt x="0" y="48"/>
                    </a:cubicBezTo>
                    <a:cubicBezTo>
                      <a:pt x="33" y="56"/>
                      <a:pt x="58" y="86"/>
                      <a:pt x="58" y="122"/>
                    </a:cubicBezTo>
                    <a:cubicBezTo>
                      <a:pt x="58" y="136"/>
                      <a:pt x="54" y="150"/>
                      <a:pt x="46" y="162"/>
                    </a:cubicBezTo>
                    <a:cubicBezTo>
                      <a:pt x="72" y="173"/>
                      <a:pt x="89" y="198"/>
                      <a:pt x="89" y="228"/>
                    </a:cubicBezTo>
                    <a:cubicBezTo>
                      <a:pt x="89" y="335"/>
                      <a:pt x="89" y="335"/>
                      <a:pt x="89" y="335"/>
                    </a:cubicBezTo>
                    <a:cubicBezTo>
                      <a:pt x="181" y="335"/>
                      <a:pt x="181" y="335"/>
                      <a:pt x="181" y="335"/>
                    </a:cubicBezTo>
                    <a:cubicBezTo>
                      <a:pt x="181" y="204"/>
                      <a:pt x="181" y="204"/>
                      <a:pt x="181" y="204"/>
                    </a:cubicBezTo>
                    <a:cubicBezTo>
                      <a:pt x="181" y="166"/>
                      <a:pt x="150" y="135"/>
                      <a:pt x="112" y="1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72" name="Freeform 30"/>
              <p:cNvSpPr/>
              <p:nvPr/>
            </p:nvSpPr>
            <p:spPr bwMode="auto">
              <a:xfrm>
                <a:off x="10345738" y="2209800"/>
                <a:ext cx="660400" cy="982663"/>
              </a:xfrm>
              <a:custGeom>
                <a:avLst/>
                <a:gdLst>
                  <a:gd name="T0" fmla="*/ 2147483646 w 176"/>
                  <a:gd name="T1" fmla="*/ 2147483646 h 262"/>
                  <a:gd name="T2" fmla="*/ 2147483646 w 176"/>
                  <a:gd name="T3" fmla="*/ 2147483646 h 262"/>
                  <a:gd name="T4" fmla="*/ 2147483646 w 176"/>
                  <a:gd name="T5" fmla="*/ 0 h 262"/>
                  <a:gd name="T6" fmla="*/ 2147483646 w 176"/>
                  <a:gd name="T7" fmla="*/ 2147483646 h 262"/>
                  <a:gd name="T8" fmla="*/ 2147483646 w 176"/>
                  <a:gd name="T9" fmla="*/ 2147483646 h 262"/>
                  <a:gd name="T10" fmla="*/ 0 w 176"/>
                  <a:gd name="T11" fmla="*/ 2147483646 h 262"/>
                  <a:gd name="T12" fmla="*/ 0 w 176"/>
                  <a:gd name="T13" fmla="*/ 2147483646 h 262"/>
                  <a:gd name="T14" fmla="*/ 2147483646 w 176"/>
                  <a:gd name="T15" fmla="*/ 2147483646 h 262"/>
                  <a:gd name="T16" fmla="*/ 2147483646 w 176"/>
                  <a:gd name="T17" fmla="*/ 2147483646 h 262"/>
                  <a:gd name="T18" fmla="*/ 2147483646 w 176"/>
                  <a:gd name="T19" fmla="*/ 2147483646 h 2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262">
                    <a:moveTo>
                      <a:pt x="122" y="105"/>
                    </a:moveTo>
                    <a:cubicBezTo>
                      <a:pt x="136" y="94"/>
                      <a:pt x="146" y="77"/>
                      <a:pt x="146" y="58"/>
                    </a:cubicBezTo>
                    <a:cubicBezTo>
                      <a:pt x="146" y="26"/>
                      <a:pt x="120" y="0"/>
                      <a:pt x="88" y="0"/>
                    </a:cubicBezTo>
                    <a:cubicBezTo>
                      <a:pt x="56" y="0"/>
                      <a:pt x="30" y="26"/>
                      <a:pt x="30" y="58"/>
                    </a:cubicBezTo>
                    <a:cubicBezTo>
                      <a:pt x="30" y="77"/>
                      <a:pt x="40" y="94"/>
                      <a:pt x="55" y="105"/>
                    </a:cubicBezTo>
                    <a:cubicBezTo>
                      <a:pt x="25" y="106"/>
                      <a:pt x="0" y="130"/>
                      <a:pt x="0" y="159"/>
                    </a:cubicBezTo>
                    <a:cubicBezTo>
                      <a:pt x="0" y="262"/>
                      <a:pt x="0" y="262"/>
                      <a:pt x="0" y="262"/>
                    </a:cubicBezTo>
                    <a:cubicBezTo>
                      <a:pt x="176" y="262"/>
                      <a:pt x="176" y="262"/>
                      <a:pt x="176" y="262"/>
                    </a:cubicBezTo>
                    <a:cubicBezTo>
                      <a:pt x="176" y="159"/>
                      <a:pt x="176" y="159"/>
                      <a:pt x="176" y="159"/>
                    </a:cubicBezTo>
                    <a:cubicBezTo>
                      <a:pt x="176" y="130"/>
                      <a:pt x="152" y="106"/>
                      <a:pt x="122" y="10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73" name="Freeform 31"/>
              <p:cNvSpPr/>
              <p:nvPr/>
            </p:nvSpPr>
            <p:spPr bwMode="auto">
              <a:xfrm>
                <a:off x="997426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0 w 271"/>
                  <a:gd name="T7" fmla="*/ 2147483646 h 248"/>
                  <a:gd name="T8" fmla="*/ 0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266" y="0"/>
                    </a:moveTo>
                    <a:cubicBezTo>
                      <a:pt x="266" y="0"/>
                      <a:pt x="257" y="7"/>
                      <a:pt x="225" y="20"/>
                    </a:cubicBezTo>
                    <a:cubicBezTo>
                      <a:pt x="105" y="69"/>
                      <a:pt x="85" y="136"/>
                      <a:pt x="72" y="160"/>
                    </a:cubicBezTo>
                    <a:cubicBezTo>
                      <a:pt x="52" y="194"/>
                      <a:pt x="0" y="188"/>
                      <a:pt x="0" y="188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23" y="248"/>
                      <a:pt x="61" y="245"/>
                      <a:pt x="82" y="238"/>
                    </a:cubicBezTo>
                    <a:cubicBezTo>
                      <a:pt x="104" y="231"/>
                      <a:pt x="123" y="222"/>
                      <a:pt x="134" y="215"/>
                    </a:cubicBezTo>
                    <a:cubicBezTo>
                      <a:pt x="165" y="195"/>
                      <a:pt x="175" y="176"/>
                      <a:pt x="186" y="154"/>
                    </a:cubicBezTo>
                    <a:cubicBezTo>
                      <a:pt x="197" y="133"/>
                      <a:pt x="210" y="113"/>
                      <a:pt x="199" y="103"/>
                    </a:cubicBezTo>
                    <a:cubicBezTo>
                      <a:pt x="188" y="93"/>
                      <a:pt x="140" y="179"/>
                      <a:pt x="135" y="138"/>
                    </a:cubicBezTo>
                    <a:cubicBezTo>
                      <a:pt x="133" y="111"/>
                      <a:pt x="193" y="61"/>
                      <a:pt x="223" y="44"/>
                    </a:cubicBezTo>
                    <a:cubicBezTo>
                      <a:pt x="254" y="28"/>
                      <a:pt x="257" y="28"/>
                      <a:pt x="264" y="19"/>
                    </a:cubicBezTo>
                    <a:cubicBezTo>
                      <a:pt x="271" y="10"/>
                      <a:pt x="266" y="0"/>
                      <a:pt x="26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574" name="Freeform 32"/>
              <p:cNvSpPr/>
              <p:nvPr/>
            </p:nvSpPr>
            <p:spPr bwMode="auto">
              <a:xfrm>
                <a:off x="11047413" y="1282700"/>
                <a:ext cx="1017588" cy="930275"/>
              </a:xfrm>
              <a:custGeom>
                <a:avLst/>
                <a:gdLst>
                  <a:gd name="T0" fmla="*/ 2147483646 w 271"/>
                  <a:gd name="T1" fmla="*/ 0 h 248"/>
                  <a:gd name="T2" fmla="*/ 2147483646 w 271"/>
                  <a:gd name="T3" fmla="*/ 2147483646 h 248"/>
                  <a:gd name="T4" fmla="*/ 2147483646 w 271"/>
                  <a:gd name="T5" fmla="*/ 2147483646 h 248"/>
                  <a:gd name="T6" fmla="*/ 2147483646 w 271"/>
                  <a:gd name="T7" fmla="*/ 2147483646 h 248"/>
                  <a:gd name="T8" fmla="*/ 2147483646 w 271"/>
                  <a:gd name="T9" fmla="*/ 2147483646 h 248"/>
                  <a:gd name="T10" fmla="*/ 2147483646 w 271"/>
                  <a:gd name="T11" fmla="*/ 2147483646 h 248"/>
                  <a:gd name="T12" fmla="*/ 2147483646 w 271"/>
                  <a:gd name="T13" fmla="*/ 2147483646 h 248"/>
                  <a:gd name="T14" fmla="*/ 2147483646 w 271"/>
                  <a:gd name="T15" fmla="*/ 2147483646 h 248"/>
                  <a:gd name="T16" fmla="*/ 2147483646 w 271"/>
                  <a:gd name="T17" fmla="*/ 2147483646 h 248"/>
                  <a:gd name="T18" fmla="*/ 2147483646 w 271"/>
                  <a:gd name="T19" fmla="*/ 2147483646 h 248"/>
                  <a:gd name="T20" fmla="*/ 2147483646 w 271"/>
                  <a:gd name="T21" fmla="*/ 2147483646 h 248"/>
                  <a:gd name="T22" fmla="*/ 2147483646 w 271"/>
                  <a:gd name="T23" fmla="*/ 2147483646 h 248"/>
                  <a:gd name="T24" fmla="*/ 2147483646 w 271"/>
                  <a:gd name="T25" fmla="*/ 0 h 2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71" h="248">
                    <a:moveTo>
                      <a:pt x="5" y="0"/>
                    </a:moveTo>
                    <a:cubicBezTo>
                      <a:pt x="5" y="0"/>
                      <a:pt x="14" y="7"/>
                      <a:pt x="46" y="20"/>
                    </a:cubicBezTo>
                    <a:cubicBezTo>
                      <a:pt x="166" y="69"/>
                      <a:pt x="186" y="136"/>
                      <a:pt x="199" y="160"/>
                    </a:cubicBezTo>
                    <a:cubicBezTo>
                      <a:pt x="219" y="194"/>
                      <a:pt x="271" y="188"/>
                      <a:pt x="271" y="188"/>
                    </a:cubicBezTo>
                    <a:cubicBezTo>
                      <a:pt x="271" y="247"/>
                      <a:pt x="271" y="247"/>
                      <a:pt x="271" y="247"/>
                    </a:cubicBezTo>
                    <a:cubicBezTo>
                      <a:pt x="248" y="248"/>
                      <a:pt x="210" y="245"/>
                      <a:pt x="189" y="238"/>
                    </a:cubicBezTo>
                    <a:cubicBezTo>
                      <a:pt x="167" y="231"/>
                      <a:pt x="148" y="222"/>
                      <a:pt x="137" y="215"/>
                    </a:cubicBezTo>
                    <a:cubicBezTo>
                      <a:pt x="106" y="195"/>
                      <a:pt x="96" y="176"/>
                      <a:pt x="85" y="154"/>
                    </a:cubicBezTo>
                    <a:cubicBezTo>
                      <a:pt x="74" y="133"/>
                      <a:pt x="61" y="113"/>
                      <a:pt x="72" y="103"/>
                    </a:cubicBezTo>
                    <a:cubicBezTo>
                      <a:pt x="83" y="93"/>
                      <a:pt x="131" y="179"/>
                      <a:pt x="136" y="138"/>
                    </a:cubicBezTo>
                    <a:cubicBezTo>
                      <a:pt x="138" y="111"/>
                      <a:pt x="78" y="61"/>
                      <a:pt x="48" y="44"/>
                    </a:cubicBezTo>
                    <a:cubicBezTo>
                      <a:pt x="17" y="28"/>
                      <a:pt x="14" y="28"/>
                      <a:pt x="7" y="19"/>
                    </a:cubicBezTo>
                    <a:cubicBezTo>
                      <a:pt x="0" y="1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" y="915988"/>
            <a:ext cx="4471988" cy="337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579" name="组合 2"/>
          <p:cNvGrpSpPr/>
          <p:nvPr/>
        </p:nvGrpSpPr>
        <p:grpSpPr bwMode="auto">
          <a:xfrm>
            <a:off x="6864350" y="2654300"/>
            <a:ext cx="1438275" cy="1635125"/>
            <a:chOff x="6984535" y="2927173"/>
            <a:chExt cx="1438770" cy="1636085"/>
          </a:xfrm>
        </p:grpSpPr>
        <p:sp>
          <p:nvSpPr>
            <p:cNvPr id="4" name="Rectangle 6"/>
            <p:cNvSpPr/>
            <p:nvPr/>
          </p:nvSpPr>
          <p:spPr bwMode="auto">
            <a:xfrm>
              <a:off x="6984535" y="2927173"/>
              <a:ext cx="1438770" cy="163608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635" name="矩形 4"/>
            <p:cNvSpPr>
              <a:spLocks noChangeArrowheads="1"/>
            </p:cNvSpPr>
            <p:nvPr/>
          </p:nvSpPr>
          <p:spPr bwMode="auto">
            <a:xfrm>
              <a:off x="7035352" y="3857994"/>
              <a:ext cx="1349839" cy="630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36" name="组合 7217"/>
            <p:cNvGrpSpPr/>
            <p:nvPr/>
          </p:nvGrpSpPr>
          <p:grpSpPr bwMode="auto">
            <a:xfrm>
              <a:off x="7294204" y="3028833"/>
              <a:ext cx="819432" cy="821220"/>
              <a:chOff x="-4212421" y="-6380"/>
              <a:chExt cx="2571727" cy="2577340"/>
            </a:xfrm>
          </p:grpSpPr>
          <p:sp>
            <p:nvSpPr>
              <p:cNvPr id="7" name="Freeform 6"/>
              <p:cNvSpPr/>
              <p:nvPr/>
            </p:nvSpPr>
            <p:spPr bwMode="auto">
              <a:xfrm>
                <a:off x="-4212418" y="-6380"/>
                <a:ext cx="2571727" cy="2577340"/>
              </a:xfrm>
              <a:custGeom>
                <a:avLst/>
                <a:gdLst>
                  <a:gd name="T0" fmla="*/ 686 w 686"/>
                  <a:gd name="T1" fmla="*/ 625 h 687"/>
                  <a:gd name="T2" fmla="*/ 624 w 686"/>
                  <a:gd name="T3" fmla="*/ 687 h 687"/>
                  <a:gd name="T4" fmla="*/ 62 w 686"/>
                  <a:gd name="T5" fmla="*/ 687 h 687"/>
                  <a:gd name="T6" fmla="*/ 0 w 686"/>
                  <a:gd name="T7" fmla="*/ 625 h 687"/>
                  <a:gd name="T8" fmla="*/ 0 w 686"/>
                  <a:gd name="T9" fmla="*/ 63 h 687"/>
                  <a:gd name="T10" fmla="*/ 62 w 686"/>
                  <a:gd name="T11" fmla="*/ 0 h 687"/>
                  <a:gd name="T12" fmla="*/ 624 w 686"/>
                  <a:gd name="T13" fmla="*/ 0 h 687"/>
                  <a:gd name="T14" fmla="*/ 686 w 686"/>
                  <a:gd name="T15" fmla="*/ 63 h 687"/>
                  <a:gd name="T16" fmla="*/ 686 w 686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6" h="687">
                    <a:moveTo>
                      <a:pt x="686" y="625"/>
                    </a:moveTo>
                    <a:cubicBezTo>
                      <a:pt x="686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6" y="28"/>
                      <a:pt x="686" y="63"/>
                    </a:cubicBezTo>
                    <a:lnTo>
                      <a:pt x="686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638" name="组合 7213"/>
              <p:cNvGrpSpPr/>
              <p:nvPr/>
            </p:nvGrpSpPr>
            <p:grpSpPr bwMode="auto">
              <a:xfrm>
                <a:off x="-3827462" y="174625"/>
                <a:ext cx="1758950" cy="2011363"/>
                <a:chOff x="-3827462" y="174625"/>
                <a:chExt cx="1758950" cy="2011363"/>
              </a:xfrm>
            </p:grpSpPr>
            <p:sp>
              <p:nvSpPr>
                <p:cNvPr id="24639" name="Freeform 8"/>
                <p:cNvSpPr/>
                <p:nvPr/>
              </p:nvSpPr>
              <p:spPr bwMode="auto">
                <a:xfrm>
                  <a:off x="-2949575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0 w 208"/>
                    <a:gd name="T5" fmla="*/ 0 h 1267"/>
                    <a:gd name="T6" fmla="*/ 2147483646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208" y="1267"/>
                      </a:move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130" y="1267"/>
                      </a:lnTo>
                      <a:lnTo>
                        <a:pt x="208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0" name="Freeform 9"/>
                <p:cNvSpPr/>
                <p:nvPr/>
              </p:nvSpPr>
              <p:spPr bwMode="auto">
                <a:xfrm>
                  <a:off x="-3268662" y="174625"/>
                  <a:ext cx="330200" cy="2011363"/>
                </a:xfrm>
                <a:custGeom>
                  <a:avLst/>
                  <a:gdLst>
                    <a:gd name="T0" fmla="*/ 2147483646 w 208"/>
                    <a:gd name="T1" fmla="*/ 2147483646 h 1267"/>
                    <a:gd name="T2" fmla="*/ 2147483646 w 208"/>
                    <a:gd name="T3" fmla="*/ 0 h 1267"/>
                    <a:gd name="T4" fmla="*/ 2147483646 w 208"/>
                    <a:gd name="T5" fmla="*/ 0 h 1267"/>
                    <a:gd name="T6" fmla="*/ 0 w 208"/>
                    <a:gd name="T7" fmla="*/ 2147483646 h 1267"/>
                    <a:gd name="T8" fmla="*/ 2147483646 w 208"/>
                    <a:gd name="T9" fmla="*/ 2147483646 h 12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08" h="1267">
                      <a:moveTo>
                        <a:pt x="81" y="1267"/>
                      </a:moveTo>
                      <a:lnTo>
                        <a:pt x="208" y="0"/>
                      </a:lnTo>
                      <a:lnTo>
                        <a:pt x="199" y="0"/>
                      </a:lnTo>
                      <a:lnTo>
                        <a:pt x="0" y="1267"/>
                      </a:lnTo>
                      <a:lnTo>
                        <a:pt x="81" y="12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1" name="Freeform 10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0 w 295"/>
                    <a:gd name="T3" fmla="*/ 2147483646 h 257"/>
                    <a:gd name="T4" fmla="*/ 2147483646 w 295"/>
                    <a:gd name="T5" fmla="*/ 0 h 257"/>
                    <a:gd name="T6" fmla="*/ 2147483646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17" y="257"/>
                      </a:moveTo>
                      <a:lnTo>
                        <a:pt x="0" y="239"/>
                      </a:lnTo>
                      <a:lnTo>
                        <a:pt x="279" y="0"/>
                      </a:lnTo>
                      <a:lnTo>
                        <a:pt x="295" y="21"/>
                      </a:lnTo>
                      <a:lnTo>
                        <a:pt x="17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2" name="Freeform 11"/>
                <p:cNvSpPr/>
                <p:nvPr/>
              </p:nvSpPr>
              <p:spPr bwMode="auto">
                <a:xfrm>
                  <a:off x="-3178175" y="1712913"/>
                  <a:ext cx="468313" cy="407988"/>
                </a:xfrm>
                <a:custGeom>
                  <a:avLst/>
                  <a:gdLst>
                    <a:gd name="T0" fmla="*/ 2147483646 w 295"/>
                    <a:gd name="T1" fmla="*/ 2147483646 h 257"/>
                    <a:gd name="T2" fmla="*/ 2147483646 w 295"/>
                    <a:gd name="T3" fmla="*/ 2147483646 h 257"/>
                    <a:gd name="T4" fmla="*/ 2147483646 w 295"/>
                    <a:gd name="T5" fmla="*/ 0 h 257"/>
                    <a:gd name="T6" fmla="*/ 0 w 295"/>
                    <a:gd name="T7" fmla="*/ 2147483646 h 257"/>
                    <a:gd name="T8" fmla="*/ 2147483646 w 295"/>
                    <a:gd name="T9" fmla="*/ 2147483646 h 2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5" h="257">
                      <a:moveTo>
                        <a:pt x="279" y="257"/>
                      </a:moveTo>
                      <a:lnTo>
                        <a:pt x="295" y="239"/>
                      </a:lnTo>
                      <a:lnTo>
                        <a:pt x="17" y="0"/>
                      </a:lnTo>
                      <a:lnTo>
                        <a:pt x="0" y="21"/>
                      </a:lnTo>
                      <a:lnTo>
                        <a:pt x="279" y="2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3" name="Freeform 12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0 w 219"/>
                    <a:gd name="T3" fmla="*/ 2147483646 h 189"/>
                    <a:gd name="T4" fmla="*/ 2147483646 w 219"/>
                    <a:gd name="T5" fmla="*/ 0 h 189"/>
                    <a:gd name="T6" fmla="*/ 2147483646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12" y="189"/>
                      </a:moveTo>
                      <a:lnTo>
                        <a:pt x="0" y="175"/>
                      </a:lnTo>
                      <a:lnTo>
                        <a:pt x="208" y="0"/>
                      </a:lnTo>
                      <a:lnTo>
                        <a:pt x="219" y="14"/>
                      </a:lnTo>
                      <a:lnTo>
                        <a:pt x="12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4" name="Freeform 13"/>
                <p:cNvSpPr/>
                <p:nvPr/>
              </p:nvSpPr>
              <p:spPr bwMode="auto">
                <a:xfrm>
                  <a:off x="-3117850" y="1487488"/>
                  <a:ext cx="347663" cy="300038"/>
                </a:xfrm>
                <a:custGeom>
                  <a:avLst/>
                  <a:gdLst>
                    <a:gd name="T0" fmla="*/ 2147483646 w 219"/>
                    <a:gd name="T1" fmla="*/ 2147483646 h 189"/>
                    <a:gd name="T2" fmla="*/ 2147483646 w 219"/>
                    <a:gd name="T3" fmla="*/ 2147483646 h 189"/>
                    <a:gd name="T4" fmla="*/ 2147483646 w 219"/>
                    <a:gd name="T5" fmla="*/ 0 h 189"/>
                    <a:gd name="T6" fmla="*/ 0 w 219"/>
                    <a:gd name="T7" fmla="*/ 2147483646 h 189"/>
                    <a:gd name="T8" fmla="*/ 2147483646 w 219"/>
                    <a:gd name="T9" fmla="*/ 2147483646 h 18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9" h="189">
                      <a:moveTo>
                        <a:pt x="208" y="189"/>
                      </a:moveTo>
                      <a:lnTo>
                        <a:pt x="219" y="175"/>
                      </a:lnTo>
                      <a:lnTo>
                        <a:pt x="12" y="0"/>
                      </a:lnTo>
                      <a:lnTo>
                        <a:pt x="0" y="14"/>
                      </a:lnTo>
                      <a:lnTo>
                        <a:pt x="208" y="18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5" name="Freeform 14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0 w 189"/>
                    <a:gd name="T3" fmla="*/ 2147483646 h 163"/>
                    <a:gd name="T4" fmla="*/ 2147483646 w 189"/>
                    <a:gd name="T5" fmla="*/ 0 h 163"/>
                    <a:gd name="T6" fmla="*/ 2147483646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0" y="163"/>
                      </a:moveTo>
                      <a:lnTo>
                        <a:pt x="0" y="151"/>
                      </a:lnTo>
                      <a:lnTo>
                        <a:pt x="177" y="0"/>
                      </a:lnTo>
                      <a:lnTo>
                        <a:pt x="189" y="12"/>
                      </a:lnTo>
                      <a:lnTo>
                        <a:pt x="10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6" name="Freeform 15"/>
                <p:cNvSpPr/>
                <p:nvPr/>
              </p:nvSpPr>
              <p:spPr bwMode="auto">
                <a:xfrm>
                  <a:off x="-3092450" y="1266825"/>
                  <a:ext cx="300038" cy="258763"/>
                </a:xfrm>
                <a:custGeom>
                  <a:avLst/>
                  <a:gdLst>
                    <a:gd name="T0" fmla="*/ 2147483646 w 189"/>
                    <a:gd name="T1" fmla="*/ 2147483646 h 163"/>
                    <a:gd name="T2" fmla="*/ 2147483646 w 189"/>
                    <a:gd name="T3" fmla="*/ 2147483646 h 163"/>
                    <a:gd name="T4" fmla="*/ 2147483646 w 189"/>
                    <a:gd name="T5" fmla="*/ 0 h 163"/>
                    <a:gd name="T6" fmla="*/ 0 w 189"/>
                    <a:gd name="T7" fmla="*/ 2147483646 h 163"/>
                    <a:gd name="T8" fmla="*/ 2147483646 w 189"/>
                    <a:gd name="T9" fmla="*/ 2147483646 h 16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9" h="163">
                      <a:moveTo>
                        <a:pt x="177" y="163"/>
                      </a:moveTo>
                      <a:lnTo>
                        <a:pt x="189" y="151"/>
                      </a:lnTo>
                      <a:lnTo>
                        <a:pt x="10" y="0"/>
                      </a:lnTo>
                      <a:lnTo>
                        <a:pt x="0" y="12"/>
                      </a:lnTo>
                      <a:lnTo>
                        <a:pt x="177" y="1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7" name="Freeform 16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0 w 149"/>
                    <a:gd name="T3" fmla="*/ 2147483646 h 127"/>
                    <a:gd name="T4" fmla="*/ 2147483646 w 149"/>
                    <a:gd name="T5" fmla="*/ 0 h 127"/>
                    <a:gd name="T6" fmla="*/ 2147483646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0" y="127"/>
                      </a:moveTo>
                      <a:lnTo>
                        <a:pt x="0" y="118"/>
                      </a:lnTo>
                      <a:lnTo>
                        <a:pt x="140" y="0"/>
                      </a:lnTo>
                      <a:lnTo>
                        <a:pt x="149" y="9"/>
                      </a:lnTo>
                      <a:lnTo>
                        <a:pt x="1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8" name="Freeform 17"/>
                <p:cNvSpPr/>
                <p:nvPr/>
              </p:nvSpPr>
              <p:spPr bwMode="auto">
                <a:xfrm>
                  <a:off x="-3062287" y="1101725"/>
                  <a:ext cx="236538" cy="201613"/>
                </a:xfrm>
                <a:custGeom>
                  <a:avLst/>
                  <a:gdLst>
                    <a:gd name="T0" fmla="*/ 2147483646 w 149"/>
                    <a:gd name="T1" fmla="*/ 2147483646 h 127"/>
                    <a:gd name="T2" fmla="*/ 2147483646 w 149"/>
                    <a:gd name="T3" fmla="*/ 2147483646 h 127"/>
                    <a:gd name="T4" fmla="*/ 2147483646 w 149"/>
                    <a:gd name="T5" fmla="*/ 0 h 127"/>
                    <a:gd name="T6" fmla="*/ 0 w 149"/>
                    <a:gd name="T7" fmla="*/ 2147483646 h 127"/>
                    <a:gd name="T8" fmla="*/ 2147483646 w 149"/>
                    <a:gd name="T9" fmla="*/ 2147483646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9" h="127">
                      <a:moveTo>
                        <a:pt x="140" y="127"/>
                      </a:moveTo>
                      <a:lnTo>
                        <a:pt x="149" y="118"/>
                      </a:lnTo>
                      <a:lnTo>
                        <a:pt x="10" y="0"/>
                      </a:lnTo>
                      <a:lnTo>
                        <a:pt x="0" y="9"/>
                      </a:lnTo>
                      <a:lnTo>
                        <a:pt x="140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49" name="Freeform 18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0 w 130"/>
                    <a:gd name="T3" fmla="*/ 2147483646 h 111"/>
                    <a:gd name="T4" fmla="*/ 2147483646 w 130"/>
                    <a:gd name="T5" fmla="*/ 0 h 111"/>
                    <a:gd name="T6" fmla="*/ 2147483646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7" y="111"/>
                      </a:moveTo>
                      <a:lnTo>
                        <a:pt x="0" y="101"/>
                      </a:lnTo>
                      <a:lnTo>
                        <a:pt x="123" y="0"/>
                      </a:lnTo>
                      <a:lnTo>
                        <a:pt x="130" y="7"/>
                      </a:lnTo>
                      <a:lnTo>
                        <a:pt x="7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0" name="Freeform 19"/>
                <p:cNvSpPr/>
                <p:nvPr/>
              </p:nvSpPr>
              <p:spPr bwMode="auto">
                <a:xfrm>
                  <a:off x="-3046412" y="936625"/>
                  <a:ext cx="206375" cy="176213"/>
                </a:xfrm>
                <a:custGeom>
                  <a:avLst/>
                  <a:gdLst>
                    <a:gd name="T0" fmla="*/ 2147483646 w 130"/>
                    <a:gd name="T1" fmla="*/ 2147483646 h 111"/>
                    <a:gd name="T2" fmla="*/ 2147483646 w 130"/>
                    <a:gd name="T3" fmla="*/ 2147483646 h 111"/>
                    <a:gd name="T4" fmla="*/ 2147483646 w 130"/>
                    <a:gd name="T5" fmla="*/ 0 h 111"/>
                    <a:gd name="T6" fmla="*/ 0 w 130"/>
                    <a:gd name="T7" fmla="*/ 2147483646 h 111"/>
                    <a:gd name="T8" fmla="*/ 2147483646 w 130"/>
                    <a:gd name="T9" fmla="*/ 2147483646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0" h="111">
                      <a:moveTo>
                        <a:pt x="123" y="111"/>
                      </a:moveTo>
                      <a:lnTo>
                        <a:pt x="130" y="101"/>
                      </a:lnTo>
                      <a:lnTo>
                        <a:pt x="7" y="0"/>
                      </a:lnTo>
                      <a:lnTo>
                        <a:pt x="0" y="7"/>
                      </a:lnTo>
                      <a:lnTo>
                        <a:pt x="123" y="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1" name="Freeform 20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0 w 116"/>
                    <a:gd name="T3" fmla="*/ 2147483646 h 100"/>
                    <a:gd name="T4" fmla="*/ 2147483646 w 116"/>
                    <a:gd name="T5" fmla="*/ 0 h 100"/>
                    <a:gd name="T6" fmla="*/ 2147483646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7" y="100"/>
                      </a:moveTo>
                      <a:lnTo>
                        <a:pt x="0" y="93"/>
                      </a:lnTo>
                      <a:lnTo>
                        <a:pt x="108" y="0"/>
                      </a:lnTo>
                      <a:lnTo>
                        <a:pt x="116" y="8"/>
                      </a:lnTo>
                      <a:lnTo>
                        <a:pt x="7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2" name="Freeform 21"/>
                <p:cNvSpPr/>
                <p:nvPr/>
              </p:nvSpPr>
              <p:spPr bwMode="auto">
                <a:xfrm>
                  <a:off x="-3035300" y="796925"/>
                  <a:ext cx="184150" cy="158750"/>
                </a:xfrm>
                <a:custGeom>
                  <a:avLst/>
                  <a:gdLst>
                    <a:gd name="T0" fmla="*/ 2147483646 w 116"/>
                    <a:gd name="T1" fmla="*/ 2147483646 h 100"/>
                    <a:gd name="T2" fmla="*/ 2147483646 w 116"/>
                    <a:gd name="T3" fmla="*/ 2147483646 h 100"/>
                    <a:gd name="T4" fmla="*/ 2147483646 w 116"/>
                    <a:gd name="T5" fmla="*/ 0 h 100"/>
                    <a:gd name="T6" fmla="*/ 0 w 116"/>
                    <a:gd name="T7" fmla="*/ 2147483646 h 100"/>
                    <a:gd name="T8" fmla="*/ 2147483646 w 116"/>
                    <a:gd name="T9" fmla="*/ 2147483646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6" h="100">
                      <a:moveTo>
                        <a:pt x="108" y="100"/>
                      </a:moveTo>
                      <a:lnTo>
                        <a:pt x="116" y="93"/>
                      </a:lnTo>
                      <a:lnTo>
                        <a:pt x="7" y="0"/>
                      </a:lnTo>
                      <a:lnTo>
                        <a:pt x="0" y="8"/>
                      </a:lnTo>
                      <a:lnTo>
                        <a:pt x="108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3" name="Freeform 22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0 w 87"/>
                    <a:gd name="T3" fmla="*/ 2147483646 h 78"/>
                    <a:gd name="T4" fmla="*/ 2147483646 w 87"/>
                    <a:gd name="T5" fmla="*/ 0 h 78"/>
                    <a:gd name="T6" fmla="*/ 2147483646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5" y="78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5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4" name="Freeform 23"/>
                <p:cNvSpPr/>
                <p:nvPr/>
              </p:nvSpPr>
              <p:spPr bwMode="auto">
                <a:xfrm>
                  <a:off x="-3013075" y="688975"/>
                  <a:ext cx="138113" cy="123825"/>
                </a:xfrm>
                <a:custGeom>
                  <a:avLst/>
                  <a:gdLst>
                    <a:gd name="T0" fmla="*/ 2147483646 w 87"/>
                    <a:gd name="T1" fmla="*/ 2147483646 h 78"/>
                    <a:gd name="T2" fmla="*/ 2147483646 w 87"/>
                    <a:gd name="T3" fmla="*/ 2147483646 h 78"/>
                    <a:gd name="T4" fmla="*/ 2147483646 w 87"/>
                    <a:gd name="T5" fmla="*/ 0 h 78"/>
                    <a:gd name="T6" fmla="*/ 0 w 87"/>
                    <a:gd name="T7" fmla="*/ 2147483646 h 78"/>
                    <a:gd name="T8" fmla="*/ 2147483646 w 87"/>
                    <a:gd name="T9" fmla="*/ 2147483646 h 7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8">
                      <a:moveTo>
                        <a:pt x="83" y="78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83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5" name="Freeform 24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0 w 87"/>
                    <a:gd name="T3" fmla="*/ 2147483646 h 75"/>
                    <a:gd name="T4" fmla="*/ 2147483646 w 87"/>
                    <a:gd name="T5" fmla="*/ 0 h 75"/>
                    <a:gd name="T6" fmla="*/ 2147483646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5" y="75"/>
                      </a:moveTo>
                      <a:lnTo>
                        <a:pt x="0" y="71"/>
                      </a:lnTo>
                      <a:lnTo>
                        <a:pt x="83" y="0"/>
                      </a:lnTo>
                      <a:lnTo>
                        <a:pt x="87" y="4"/>
                      </a:lnTo>
                      <a:lnTo>
                        <a:pt x="5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56" name="Rectangle 25"/>
                <p:cNvSpPr>
                  <a:spLocks noChangeArrowheads="1"/>
                </p:cNvSpPr>
                <p:nvPr/>
              </p:nvSpPr>
              <p:spPr bwMode="auto">
                <a:xfrm>
                  <a:off x="-2211387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57" name="Oval 26"/>
                <p:cNvSpPr>
                  <a:spLocks noChangeArrowheads="1"/>
                </p:cNvSpPr>
                <p:nvPr/>
              </p:nvSpPr>
              <p:spPr bwMode="auto">
                <a:xfrm>
                  <a:off x="-2311400" y="12890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58" name="Oval 27"/>
                <p:cNvSpPr>
                  <a:spLocks noChangeArrowheads="1"/>
                </p:cNvSpPr>
                <p:nvPr/>
              </p:nvSpPr>
              <p:spPr bwMode="auto">
                <a:xfrm>
                  <a:off x="-2311400" y="1382713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59" name="Oval 28"/>
                <p:cNvSpPr>
                  <a:spLocks noChangeArrowheads="1"/>
                </p:cNvSpPr>
                <p:nvPr/>
              </p:nvSpPr>
              <p:spPr bwMode="auto">
                <a:xfrm>
                  <a:off x="-2311400" y="1479550"/>
                  <a:ext cx="242888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0" name="Rectangle 29"/>
                <p:cNvSpPr>
                  <a:spLocks noChangeArrowheads="1"/>
                </p:cNvSpPr>
                <p:nvPr/>
              </p:nvSpPr>
              <p:spPr bwMode="auto">
                <a:xfrm>
                  <a:off x="-3725862" y="1150938"/>
                  <a:ext cx="41275" cy="3587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1" name="Oval 30"/>
                <p:cNvSpPr>
                  <a:spLocks noChangeArrowheads="1"/>
                </p:cNvSpPr>
                <p:nvPr/>
              </p:nvSpPr>
              <p:spPr bwMode="auto">
                <a:xfrm>
                  <a:off x="-3827462" y="12890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2" name="Oval 31"/>
                <p:cNvSpPr>
                  <a:spLocks noChangeArrowheads="1"/>
                </p:cNvSpPr>
                <p:nvPr/>
              </p:nvSpPr>
              <p:spPr bwMode="auto">
                <a:xfrm>
                  <a:off x="-3827462" y="1382713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3" name="Oval 32"/>
                <p:cNvSpPr>
                  <a:spLocks noChangeArrowheads="1"/>
                </p:cNvSpPr>
                <p:nvPr/>
              </p:nvSpPr>
              <p:spPr bwMode="auto">
                <a:xfrm>
                  <a:off x="-3827462" y="1479550"/>
                  <a:ext cx="244475" cy="714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4" name="Freeform 33"/>
                <p:cNvSpPr/>
                <p:nvPr/>
              </p:nvSpPr>
              <p:spPr bwMode="auto">
                <a:xfrm>
                  <a:off x="-3013075" y="573088"/>
                  <a:ext cx="138113" cy="119063"/>
                </a:xfrm>
                <a:custGeom>
                  <a:avLst/>
                  <a:gdLst>
                    <a:gd name="T0" fmla="*/ 2147483646 w 87"/>
                    <a:gd name="T1" fmla="*/ 2147483646 h 75"/>
                    <a:gd name="T2" fmla="*/ 2147483646 w 87"/>
                    <a:gd name="T3" fmla="*/ 2147483646 h 75"/>
                    <a:gd name="T4" fmla="*/ 2147483646 w 87"/>
                    <a:gd name="T5" fmla="*/ 0 h 75"/>
                    <a:gd name="T6" fmla="*/ 0 w 87"/>
                    <a:gd name="T7" fmla="*/ 2147483646 h 75"/>
                    <a:gd name="T8" fmla="*/ 2147483646 w 87"/>
                    <a:gd name="T9" fmla="*/ 2147483646 h 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75">
                      <a:moveTo>
                        <a:pt x="83" y="75"/>
                      </a:moveTo>
                      <a:lnTo>
                        <a:pt x="87" y="71"/>
                      </a:lnTo>
                      <a:lnTo>
                        <a:pt x="5" y="0"/>
                      </a:lnTo>
                      <a:lnTo>
                        <a:pt x="0" y="4"/>
                      </a:lnTo>
                      <a:lnTo>
                        <a:pt x="83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65" name="Rectangle 34"/>
                <p:cNvSpPr>
                  <a:spLocks noChangeArrowheads="1"/>
                </p:cNvSpPr>
                <p:nvPr/>
              </p:nvSpPr>
              <p:spPr bwMode="auto">
                <a:xfrm>
                  <a:off x="-2525712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6" name="Oval 35"/>
                <p:cNvSpPr>
                  <a:spLocks noChangeArrowheads="1"/>
                </p:cNvSpPr>
                <p:nvPr/>
              </p:nvSpPr>
              <p:spPr bwMode="auto">
                <a:xfrm>
                  <a:off x="-2597150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7" name="Oval 36"/>
                <p:cNvSpPr>
                  <a:spLocks noChangeArrowheads="1"/>
                </p:cNvSpPr>
                <p:nvPr/>
              </p:nvSpPr>
              <p:spPr bwMode="auto">
                <a:xfrm>
                  <a:off x="-2597150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8" name="Oval 37"/>
                <p:cNvSpPr>
                  <a:spLocks noChangeArrowheads="1"/>
                </p:cNvSpPr>
                <p:nvPr/>
              </p:nvSpPr>
              <p:spPr bwMode="auto">
                <a:xfrm>
                  <a:off x="-2597150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69" name="Rectangle 38"/>
                <p:cNvSpPr>
                  <a:spLocks noChangeArrowheads="1"/>
                </p:cNvSpPr>
                <p:nvPr/>
              </p:nvSpPr>
              <p:spPr bwMode="auto">
                <a:xfrm>
                  <a:off x="-3373437" y="692150"/>
                  <a:ext cx="30163" cy="25876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0" name="Oval 39"/>
                <p:cNvSpPr>
                  <a:spLocks noChangeArrowheads="1"/>
                </p:cNvSpPr>
                <p:nvPr/>
              </p:nvSpPr>
              <p:spPr bwMode="auto">
                <a:xfrm>
                  <a:off x="-3444875" y="790575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1" name="Oval 40"/>
                <p:cNvSpPr>
                  <a:spLocks noChangeArrowheads="1"/>
                </p:cNvSpPr>
                <p:nvPr/>
              </p:nvSpPr>
              <p:spPr bwMode="auto">
                <a:xfrm>
                  <a:off x="-3444875" y="862013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2" name="Oval 41"/>
                <p:cNvSpPr>
                  <a:spLocks noChangeArrowheads="1"/>
                </p:cNvSpPr>
                <p:nvPr/>
              </p:nvSpPr>
              <p:spPr bwMode="auto">
                <a:xfrm>
                  <a:off x="-3444875" y="928688"/>
                  <a:ext cx="176213" cy="5238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3" name="Freeform 42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0 w 71"/>
                    <a:gd name="T3" fmla="*/ 2147483646 h 61"/>
                    <a:gd name="T4" fmla="*/ 2147483646 w 71"/>
                    <a:gd name="T5" fmla="*/ 0 h 61"/>
                    <a:gd name="T6" fmla="*/ 2147483646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3" y="61"/>
                      </a:moveTo>
                      <a:lnTo>
                        <a:pt x="0" y="57"/>
                      </a:lnTo>
                      <a:lnTo>
                        <a:pt x="67" y="0"/>
                      </a:lnTo>
                      <a:lnTo>
                        <a:pt x="71" y="5"/>
                      </a:lnTo>
                      <a:lnTo>
                        <a:pt x="3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4" name="Freeform 43"/>
                <p:cNvSpPr/>
                <p:nvPr/>
              </p:nvSpPr>
              <p:spPr bwMode="auto">
                <a:xfrm>
                  <a:off x="-2998787" y="501650"/>
                  <a:ext cx="112713" cy="96838"/>
                </a:xfrm>
                <a:custGeom>
                  <a:avLst/>
                  <a:gdLst>
                    <a:gd name="T0" fmla="*/ 2147483646 w 71"/>
                    <a:gd name="T1" fmla="*/ 2147483646 h 61"/>
                    <a:gd name="T2" fmla="*/ 2147483646 w 71"/>
                    <a:gd name="T3" fmla="*/ 2147483646 h 61"/>
                    <a:gd name="T4" fmla="*/ 2147483646 w 71"/>
                    <a:gd name="T5" fmla="*/ 0 h 61"/>
                    <a:gd name="T6" fmla="*/ 0 w 71"/>
                    <a:gd name="T7" fmla="*/ 2147483646 h 61"/>
                    <a:gd name="T8" fmla="*/ 2147483646 w 71"/>
                    <a:gd name="T9" fmla="*/ 2147483646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1" h="61">
                      <a:moveTo>
                        <a:pt x="67" y="61"/>
                      </a:moveTo>
                      <a:lnTo>
                        <a:pt x="71" y="57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67" y="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5" name="Freeform 44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0 w 49"/>
                    <a:gd name="T3" fmla="*/ 2147483646 h 45"/>
                    <a:gd name="T4" fmla="*/ 2147483646 w 49"/>
                    <a:gd name="T5" fmla="*/ 0 h 45"/>
                    <a:gd name="T6" fmla="*/ 2147483646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2" y="45"/>
                      </a:moveTo>
                      <a:lnTo>
                        <a:pt x="0" y="43"/>
                      </a:lnTo>
                      <a:lnTo>
                        <a:pt x="47" y="0"/>
                      </a:lnTo>
                      <a:lnTo>
                        <a:pt x="49" y="5"/>
                      </a:lnTo>
                      <a:lnTo>
                        <a:pt x="2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6" name="Freeform 45"/>
                <p:cNvSpPr/>
                <p:nvPr/>
              </p:nvSpPr>
              <p:spPr bwMode="auto">
                <a:xfrm>
                  <a:off x="-2982912" y="433388"/>
                  <a:ext cx="77788" cy="71438"/>
                </a:xfrm>
                <a:custGeom>
                  <a:avLst/>
                  <a:gdLst>
                    <a:gd name="T0" fmla="*/ 2147483646 w 49"/>
                    <a:gd name="T1" fmla="*/ 2147483646 h 45"/>
                    <a:gd name="T2" fmla="*/ 2147483646 w 49"/>
                    <a:gd name="T3" fmla="*/ 2147483646 h 45"/>
                    <a:gd name="T4" fmla="*/ 2147483646 w 49"/>
                    <a:gd name="T5" fmla="*/ 0 h 45"/>
                    <a:gd name="T6" fmla="*/ 0 w 49"/>
                    <a:gd name="T7" fmla="*/ 2147483646 h 45"/>
                    <a:gd name="T8" fmla="*/ 2147483646 w 49"/>
                    <a:gd name="T9" fmla="*/ 2147483646 h 4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5">
                      <a:moveTo>
                        <a:pt x="47" y="45"/>
                      </a:moveTo>
                      <a:lnTo>
                        <a:pt x="49" y="43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47" y="4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7" name="Rectangle 46"/>
                <p:cNvSpPr>
                  <a:spLocks noChangeArrowheads="1"/>
                </p:cNvSpPr>
                <p:nvPr/>
              </p:nvSpPr>
              <p:spPr bwMode="auto">
                <a:xfrm>
                  <a:off x="-3717925" y="1150938"/>
                  <a:ext cx="1555750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78" name="Freeform 47"/>
                <p:cNvSpPr/>
                <p:nvPr/>
              </p:nvSpPr>
              <p:spPr bwMode="auto">
                <a:xfrm>
                  <a:off x="-2806700" y="1157288"/>
                  <a:ext cx="644525" cy="198438"/>
                </a:xfrm>
                <a:custGeom>
                  <a:avLst/>
                  <a:gdLst>
                    <a:gd name="T0" fmla="*/ 2147483646 w 406"/>
                    <a:gd name="T1" fmla="*/ 2147483646 h 125"/>
                    <a:gd name="T2" fmla="*/ 2147483646 w 406"/>
                    <a:gd name="T3" fmla="*/ 2147483646 h 125"/>
                    <a:gd name="T4" fmla="*/ 0 w 406"/>
                    <a:gd name="T5" fmla="*/ 2147483646 h 125"/>
                    <a:gd name="T6" fmla="*/ 2147483646 w 406"/>
                    <a:gd name="T7" fmla="*/ 0 h 125"/>
                    <a:gd name="T8" fmla="*/ 2147483646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406" y="24"/>
                      </a:moveTo>
                      <a:lnTo>
                        <a:pt x="2" y="125"/>
                      </a:lnTo>
                      <a:lnTo>
                        <a:pt x="0" y="104"/>
                      </a:lnTo>
                      <a:lnTo>
                        <a:pt x="404" y="0"/>
                      </a:lnTo>
                      <a:lnTo>
                        <a:pt x="406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79" name="Freeform 48"/>
                <p:cNvSpPr/>
                <p:nvPr/>
              </p:nvSpPr>
              <p:spPr bwMode="auto">
                <a:xfrm>
                  <a:off x="-3717925" y="1157288"/>
                  <a:ext cx="644525" cy="198438"/>
                </a:xfrm>
                <a:custGeom>
                  <a:avLst/>
                  <a:gdLst>
                    <a:gd name="T0" fmla="*/ 0 w 406"/>
                    <a:gd name="T1" fmla="*/ 2147483646 h 125"/>
                    <a:gd name="T2" fmla="*/ 2147483646 w 406"/>
                    <a:gd name="T3" fmla="*/ 2147483646 h 125"/>
                    <a:gd name="T4" fmla="*/ 2147483646 w 406"/>
                    <a:gd name="T5" fmla="*/ 2147483646 h 125"/>
                    <a:gd name="T6" fmla="*/ 2147483646 w 406"/>
                    <a:gd name="T7" fmla="*/ 0 h 125"/>
                    <a:gd name="T8" fmla="*/ 0 w 406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6" h="125">
                      <a:moveTo>
                        <a:pt x="0" y="24"/>
                      </a:moveTo>
                      <a:lnTo>
                        <a:pt x="404" y="125"/>
                      </a:lnTo>
                      <a:lnTo>
                        <a:pt x="406" y="104"/>
                      </a:lnTo>
                      <a:lnTo>
                        <a:pt x="2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0" name="Freeform 49"/>
                <p:cNvSpPr/>
                <p:nvPr/>
              </p:nvSpPr>
              <p:spPr bwMode="auto">
                <a:xfrm>
                  <a:off x="-2754312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2147483646 w 73"/>
                    <a:gd name="T3" fmla="*/ 2147483646 h 87"/>
                    <a:gd name="T4" fmla="*/ 2147483646 w 73"/>
                    <a:gd name="T5" fmla="*/ 0 h 87"/>
                    <a:gd name="T6" fmla="*/ 0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68" y="87"/>
                      </a:moveTo>
                      <a:lnTo>
                        <a:pt x="73" y="80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6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1" name="Freeform 50"/>
                <p:cNvSpPr/>
                <p:nvPr/>
              </p:nvSpPr>
              <p:spPr bwMode="auto">
                <a:xfrm>
                  <a:off x="-2649537" y="1146175"/>
                  <a:ext cx="115888" cy="142875"/>
                </a:xfrm>
                <a:custGeom>
                  <a:avLst/>
                  <a:gdLst>
                    <a:gd name="T0" fmla="*/ 2147483646 w 73"/>
                    <a:gd name="T1" fmla="*/ 2147483646 h 90"/>
                    <a:gd name="T2" fmla="*/ 2147483646 w 73"/>
                    <a:gd name="T3" fmla="*/ 2147483646 h 90"/>
                    <a:gd name="T4" fmla="*/ 2147483646 w 73"/>
                    <a:gd name="T5" fmla="*/ 0 h 90"/>
                    <a:gd name="T6" fmla="*/ 0 w 73"/>
                    <a:gd name="T7" fmla="*/ 2147483646 h 90"/>
                    <a:gd name="T8" fmla="*/ 2147483646 w 73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90">
                      <a:moveTo>
                        <a:pt x="71" y="90"/>
                      </a:moveTo>
                      <a:lnTo>
                        <a:pt x="73" y="83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71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2" name="Freeform 51"/>
                <p:cNvSpPr/>
                <p:nvPr/>
              </p:nvSpPr>
              <p:spPr bwMode="auto">
                <a:xfrm>
                  <a:off x="-2522537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2147483646 w 57"/>
                    <a:gd name="T3" fmla="*/ 2147483646 h 59"/>
                    <a:gd name="T4" fmla="*/ 2147483646 w 57"/>
                    <a:gd name="T5" fmla="*/ 0 h 59"/>
                    <a:gd name="T6" fmla="*/ 0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2" y="59"/>
                      </a:moveTo>
                      <a:lnTo>
                        <a:pt x="57" y="52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52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3" name="Freeform 52"/>
                <p:cNvSpPr/>
                <p:nvPr/>
              </p:nvSpPr>
              <p:spPr bwMode="auto">
                <a:xfrm>
                  <a:off x="-2405062" y="1165225"/>
                  <a:ext cx="71438" cy="60325"/>
                </a:xfrm>
                <a:custGeom>
                  <a:avLst/>
                  <a:gdLst>
                    <a:gd name="T0" fmla="*/ 2147483646 w 45"/>
                    <a:gd name="T1" fmla="*/ 2147483646 h 38"/>
                    <a:gd name="T2" fmla="*/ 2147483646 w 45"/>
                    <a:gd name="T3" fmla="*/ 2147483646 h 38"/>
                    <a:gd name="T4" fmla="*/ 2147483646 w 45"/>
                    <a:gd name="T5" fmla="*/ 0 h 38"/>
                    <a:gd name="T6" fmla="*/ 0 w 45"/>
                    <a:gd name="T7" fmla="*/ 2147483646 h 38"/>
                    <a:gd name="T8" fmla="*/ 2147483646 w 45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38">
                      <a:moveTo>
                        <a:pt x="40" y="38"/>
                      </a:moveTo>
                      <a:lnTo>
                        <a:pt x="45" y="3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40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4" name="Freeform 53"/>
                <p:cNvSpPr/>
                <p:nvPr/>
              </p:nvSpPr>
              <p:spPr bwMode="auto">
                <a:xfrm>
                  <a:off x="-240982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0 w 48"/>
                    <a:gd name="T3" fmla="*/ 2147483646 h 59"/>
                    <a:gd name="T4" fmla="*/ 2147483646 w 48"/>
                    <a:gd name="T5" fmla="*/ 0 h 59"/>
                    <a:gd name="T6" fmla="*/ 2147483646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3" y="59"/>
                      </a:moveTo>
                      <a:lnTo>
                        <a:pt x="0" y="52"/>
                      </a:lnTo>
                      <a:lnTo>
                        <a:pt x="43" y="0"/>
                      </a:lnTo>
                      <a:lnTo>
                        <a:pt x="48" y="7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5" name="Freeform 54"/>
                <p:cNvSpPr/>
                <p:nvPr/>
              </p:nvSpPr>
              <p:spPr bwMode="auto">
                <a:xfrm>
                  <a:off x="-2528887" y="1150938"/>
                  <a:ext cx="107950" cy="127000"/>
                </a:xfrm>
                <a:custGeom>
                  <a:avLst/>
                  <a:gdLst>
                    <a:gd name="T0" fmla="*/ 2147483646 w 68"/>
                    <a:gd name="T1" fmla="*/ 2147483646 h 80"/>
                    <a:gd name="T2" fmla="*/ 0 w 68"/>
                    <a:gd name="T3" fmla="*/ 2147483646 h 80"/>
                    <a:gd name="T4" fmla="*/ 2147483646 w 68"/>
                    <a:gd name="T5" fmla="*/ 0 h 80"/>
                    <a:gd name="T6" fmla="*/ 2147483646 w 68"/>
                    <a:gd name="T7" fmla="*/ 2147483646 h 80"/>
                    <a:gd name="T8" fmla="*/ 2147483646 w 68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8" h="80">
                      <a:moveTo>
                        <a:pt x="4" y="80"/>
                      </a:moveTo>
                      <a:lnTo>
                        <a:pt x="0" y="75"/>
                      </a:lnTo>
                      <a:lnTo>
                        <a:pt x="63" y="0"/>
                      </a:lnTo>
                      <a:lnTo>
                        <a:pt x="68" y="7"/>
                      </a:lnTo>
                      <a:lnTo>
                        <a:pt x="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6" name="Freeform 55"/>
                <p:cNvSpPr/>
                <p:nvPr/>
              </p:nvSpPr>
              <p:spPr bwMode="auto">
                <a:xfrm>
                  <a:off x="-2671762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0 w 87"/>
                    <a:gd name="T3" fmla="*/ 2147483646 h 106"/>
                    <a:gd name="T4" fmla="*/ 2147483646 w 87"/>
                    <a:gd name="T5" fmla="*/ 0 h 106"/>
                    <a:gd name="T6" fmla="*/ 2147483646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2" y="106"/>
                      </a:moveTo>
                      <a:lnTo>
                        <a:pt x="0" y="99"/>
                      </a:lnTo>
                      <a:lnTo>
                        <a:pt x="83" y="0"/>
                      </a:lnTo>
                      <a:lnTo>
                        <a:pt x="87" y="7"/>
                      </a:lnTo>
                      <a:lnTo>
                        <a:pt x="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7" name="Freeform 56"/>
                <p:cNvSpPr/>
                <p:nvPr/>
              </p:nvSpPr>
              <p:spPr bwMode="auto">
                <a:xfrm>
                  <a:off x="-2773362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0 w 80"/>
                    <a:gd name="T3" fmla="*/ 2147483646 h 115"/>
                    <a:gd name="T4" fmla="*/ 2147483646 w 80"/>
                    <a:gd name="T5" fmla="*/ 0 h 115"/>
                    <a:gd name="T6" fmla="*/ 2147483646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5" y="115"/>
                      </a:moveTo>
                      <a:lnTo>
                        <a:pt x="0" y="111"/>
                      </a:lnTo>
                      <a:lnTo>
                        <a:pt x="76" y="0"/>
                      </a:lnTo>
                      <a:lnTo>
                        <a:pt x="80" y="7"/>
                      </a:lnTo>
                      <a:lnTo>
                        <a:pt x="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8" name="Freeform 57"/>
                <p:cNvSpPr/>
                <p:nvPr/>
              </p:nvSpPr>
              <p:spPr bwMode="auto">
                <a:xfrm>
                  <a:off x="-3241675" y="1165225"/>
                  <a:ext cx="115888" cy="138113"/>
                </a:xfrm>
                <a:custGeom>
                  <a:avLst/>
                  <a:gdLst>
                    <a:gd name="T0" fmla="*/ 2147483646 w 73"/>
                    <a:gd name="T1" fmla="*/ 2147483646 h 87"/>
                    <a:gd name="T2" fmla="*/ 0 w 73"/>
                    <a:gd name="T3" fmla="*/ 2147483646 h 87"/>
                    <a:gd name="T4" fmla="*/ 2147483646 w 73"/>
                    <a:gd name="T5" fmla="*/ 0 h 87"/>
                    <a:gd name="T6" fmla="*/ 2147483646 w 73"/>
                    <a:gd name="T7" fmla="*/ 2147483646 h 87"/>
                    <a:gd name="T8" fmla="*/ 2147483646 w 73"/>
                    <a:gd name="T9" fmla="*/ 2147483646 h 8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3" h="87">
                      <a:moveTo>
                        <a:pt x="5" y="87"/>
                      </a:moveTo>
                      <a:lnTo>
                        <a:pt x="0" y="80"/>
                      </a:lnTo>
                      <a:lnTo>
                        <a:pt x="68" y="0"/>
                      </a:lnTo>
                      <a:lnTo>
                        <a:pt x="73" y="5"/>
                      </a:lnTo>
                      <a:lnTo>
                        <a:pt x="5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89" name="Freeform 58"/>
                <p:cNvSpPr/>
                <p:nvPr/>
              </p:nvSpPr>
              <p:spPr bwMode="auto">
                <a:xfrm>
                  <a:off x="-3351212" y="1146175"/>
                  <a:ext cx="117475" cy="142875"/>
                </a:xfrm>
                <a:custGeom>
                  <a:avLst/>
                  <a:gdLst>
                    <a:gd name="T0" fmla="*/ 2147483646 w 74"/>
                    <a:gd name="T1" fmla="*/ 2147483646 h 90"/>
                    <a:gd name="T2" fmla="*/ 0 w 74"/>
                    <a:gd name="T3" fmla="*/ 2147483646 h 90"/>
                    <a:gd name="T4" fmla="*/ 2147483646 w 74"/>
                    <a:gd name="T5" fmla="*/ 0 h 90"/>
                    <a:gd name="T6" fmla="*/ 2147483646 w 74"/>
                    <a:gd name="T7" fmla="*/ 2147483646 h 90"/>
                    <a:gd name="T8" fmla="*/ 2147483646 w 74"/>
                    <a:gd name="T9" fmla="*/ 2147483646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4" h="90">
                      <a:moveTo>
                        <a:pt x="5" y="90"/>
                      </a:moveTo>
                      <a:lnTo>
                        <a:pt x="0" y="83"/>
                      </a:lnTo>
                      <a:lnTo>
                        <a:pt x="69" y="0"/>
                      </a:lnTo>
                      <a:lnTo>
                        <a:pt x="74" y="7"/>
                      </a:lnTo>
                      <a:lnTo>
                        <a:pt x="5" y="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0" name="Freeform 59"/>
                <p:cNvSpPr/>
                <p:nvPr/>
              </p:nvSpPr>
              <p:spPr bwMode="auto">
                <a:xfrm>
                  <a:off x="-3448050" y="1165225"/>
                  <a:ext cx="90488" cy="93663"/>
                </a:xfrm>
                <a:custGeom>
                  <a:avLst/>
                  <a:gdLst>
                    <a:gd name="T0" fmla="*/ 2147483646 w 57"/>
                    <a:gd name="T1" fmla="*/ 2147483646 h 59"/>
                    <a:gd name="T2" fmla="*/ 0 w 57"/>
                    <a:gd name="T3" fmla="*/ 2147483646 h 59"/>
                    <a:gd name="T4" fmla="*/ 2147483646 w 57"/>
                    <a:gd name="T5" fmla="*/ 0 h 59"/>
                    <a:gd name="T6" fmla="*/ 2147483646 w 57"/>
                    <a:gd name="T7" fmla="*/ 2147483646 h 59"/>
                    <a:gd name="T8" fmla="*/ 2147483646 w 57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5" y="59"/>
                      </a:moveTo>
                      <a:lnTo>
                        <a:pt x="0" y="52"/>
                      </a:lnTo>
                      <a:lnTo>
                        <a:pt x="52" y="0"/>
                      </a:lnTo>
                      <a:lnTo>
                        <a:pt x="57" y="5"/>
                      </a:lnTo>
                      <a:lnTo>
                        <a:pt x="5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1" name="Freeform 60"/>
                <p:cNvSpPr/>
                <p:nvPr/>
              </p:nvSpPr>
              <p:spPr bwMode="auto">
                <a:xfrm>
                  <a:off x="-3546475" y="1165225"/>
                  <a:ext cx="68263" cy="60325"/>
                </a:xfrm>
                <a:custGeom>
                  <a:avLst/>
                  <a:gdLst>
                    <a:gd name="T0" fmla="*/ 2147483646 w 43"/>
                    <a:gd name="T1" fmla="*/ 2147483646 h 38"/>
                    <a:gd name="T2" fmla="*/ 0 w 43"/>
                    <a:gd name="T3" fmla="*/ 2147483646 h 38"/>
                    <a:gd name="T4" fmla="*/ 2147483646 w 43"/>
                    <a:gd name="T5" fmla="*/ 0 h 38"/>
                    <a:gd name="T6" fmla="*/ 2147483646 w 43"/>
                    <a:gd name="T7" fmla="*/ 2147483646 h 38"/>
                    <a:gd name="T8" fmla="*/ 2147483646 w 43"/>
                    <a:gd name="T9" fmla="*/ 2147483646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8">
                      <a:moveTo>
                        <a:pt x="5" y="38"/>
                      </a:moveTo>
                      <a:lnTo>
                        <a:pt x="0" y="31"/>
                      </a:lnTo>
                      <a:lnTo>
                        <a:pt x="38" y="0"/>
                      </a:lnTo>
                      <a:lnTo>
                        <a:pt x="43" y="7"/>
                      </a:lnTo>
                      <a:lnTo>
                        <a:pt x="5" y="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2" name="Freeform 61"/>
                <p:cNvSpPr/>
                <p:nvPr/>
              </p:nvSpPr>
              <p:spPr bwMode="auto">
                <a:xfrm>
                  <a:off x="-3546475" y="1154113"/>
                  <a:ext cx="76200" cy="93663"/>
                </a:xfrm>
                <a:custGeom>
                  <a:avLst/>
                  <a:gdLst>
                    <a:gd name="T0" fmla="*/ 2147483646 w 48"/>
                    <a:gd name="T1" fmla="*/ 2147483646 h 59"/>
                    <a:gd name="T2" fmla="*/ 2147483646 w 48"/>
                    <a:gd name="T3" fmla="*/ 2147483646 h 59"/>
                    <a:gd name="T4" fmla="*/ 2147483646 w 48"/>
                    <a:gd name="T5" fmla="*/ 0 h 59"/>
                    <a:gd name="T6" fmla="*/ 0 w 48"/>
                    <a:gd name="T7" fmla="*/ 2147483646 h 59"/>
                    <a:gd name="T8" fmla="*/ 2147483646 w 48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8" h="59">
                      <a:moveTo>
                        <a:pt x="43" y="59"/>
                      </a:moveTo>
                      <a:lnTo>
                        <a:pt x="48" y="52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4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3" name="Freeform 62"/>
                <p:cNvSpPr/>
                <p:nvPr/>
              </p:nvSpPr>
              <p:spPr bwMode="auto">
                <a:xfrm>
                  <a:off x="-3459162" y="1150938"/>
                  <a:ext cx="104775" cy="127000"/>
                </a:xfrm>
                <a:custGeom>
                  <a:avLst/>
                  <a:gdLst>
                    <a:gd name="T0" fmla="*/ 2147483646 w 66"/>
                    <a:gd name="T1" fmla="*/ 2147483646 h 80"/>
                    <a:gd name="T2" fmla="*/ 2147483646 w 66"/>
                    <a:gd name="T3" fmla="*/ 2147483646 h 80"/>
                    <a:gd name="T4" fmla="*/ 2147483646 w 66"/>
                    <a:gd name="T5" fmla="*/ 0 h 80"/>
                    <a:gd name="T6" fmla="*/ 0 w 66"/>
                    <a:gd name="T7" fmla="*/ 2147483646 h 80"/>
                    <a:gd name="T8" fmla="*/ 2147483646 w 66"/>
                    <a:gd name="T9" fmla="*/ 2147483646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6" h="80">
                      <a:moveTo>
                        <a:pt x="64" y="80"/>
                      </a:moveTo>
                      <a:lnTo>
                        <a:pt x="66" y="75"/>
                      </a:lnTo>
                      <a:lnTo>
                        <a:pt x="5" y="0"/>
                      </a:lnTo>
                      <a:lnTo>
                        <a:pt x="0" y="7"/>
                      </a:lnTo>
                      <a:lnTo>
                        <a:pt x="64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4" name="Freeform 63"/>
                <p:cNvSpPr/>
                <p:nvPr/>
              </p:nvSpPr>
              <p:spPr bwMode="auto">
                <a:xfrm>
                  <a:off x="-3346450" y="1154113"/>
                  <a:ext cx="138113" cy="168275"/>
                </a:xfrm>
                <a:custGeom>
                  <a:avLst/>
                  <a:gdLst>
                    <a:gd name="T0" fmla="*/ 2147483646 w 87"/>
                    <a:gd name="T1" fmla="*/ 2147483646 h 106"/>
                    <a:gd name="T2" fmla="*/ 2147483646 w 87"/>
                    <a:gd name="T3" fmla="*/ 2147483646 h 106"/>
                    <a:gd name="T4" fmla="*/ 2147483646 w 87"/>
                    <a:gd name="T5" fmla="*/ 0 h 106"/>
                    <a:gd name="T6" fmla="*/ 0 w 87"/>
                    <a:gd name="T7" fmla="*/ 2147483646 h 106"/>
                    <a:gd name="T8" fmla="*/ 2147483646 w 87"/>
                    <a:gd name="T9" fmla="*/ 2147483646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7" h="106">
                      <a:moveTo>
                        <a:pt x="82" y="106"/>
                      </a:moveTo>
                      <a:lnTo>
                        <a:pt x="87" y="99"/>
                      </a:lnTo>
                      <a:lnTo>
                        <a:pt x="2" y="0"/>
                      </a:lnTo>
                      <a:lnTo>
                        <a:pt x="0" y="7"/>
                      </a:lnTo>
                      <a:lnTo>
                        <a:pt x="82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5" name="Freeform 64"/>
                <p:cNvSpPr/>
                <p:nvPr/>
              </p:nvSpPr>
              <p:spPr bwMode="auto">
                <a:xfrm>
                  <a:off x="-3233737" y="1162050"/>
                  <a:ext cx="127000" cy="182563"/>
                </a:xfrm>
                <a:custGeom>
                  <a:avLst/>
                  <a:gdLst>
                    <a:gd name="T0" fmla="*/ 2147483646 w 80"/>
                    <a:gd name="T1" fmla="*/ 2147483646 h 115"/>
                    <a:gd name="T2" fmla="*/ 2147483646 w 80"/>
                    <a:gd name="T3" fmla="*/ 2147483646 h 115"/>
                    <a:gd name="T4" fmla="*/ 2147483646 w 80"/>
                    <a:gd name="T5" fmla="*/ 0 h 115"/>
                    <a:gd name="T6" fmla="*/ 0 w 80"/>
                    <a:gd name="T7" fmla="*/ 2147483646 h 115"/>
                    <a:gd name="T8" fmla="*/ 2147483646 w 80"/>
                    <a:gd name="T9" fmla="*/ 2147483646 h 1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0" h="115">
                      <a:moveTo>
                        <a:pt x="75" y="115"/>
                      </a:moveTo>
                      <a:lnTo>
                        <a:pt x="80" y="111"/>
                      </a:lnTo>
                      <a:lnTo>
                        <a:pt x="4" y="0"/>
                      </a:lnTo>
                      <a:lnTo>
                        <a:pt x="0" y="7"/>
                      </a:lnTo>
                      <a:lnTo>
                        <a:pt x="75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6" name="Rectangle 65"/>
                <p:cNvSpPr>
                  <a:spLocks noChangeArrowheads="1"/>
                </p:cNvSpPr>
                <p:nvPr/>
              </p:nvSpPr>
              <p:spPr bwMode="auto">
                <a:xfrm>
                  <a:off x="-3081337" y="1319213"/>
                  <a:ext cx="285750" cy="365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97" name="Rectangle 66"/>
                <p:cNvSpPr>
                  <a:spLocks noChangeArrowheads="1"/>
                </p:cNvSpPr>
                <p:nvPr/>
              </p:nvSpPr>
              <p:spPr bwMode="auto">
                <a:xfrm>
                  <a:off x="-3373437" y="688975"/>
                  <a:ext cx="881063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98" name="Freeform 67"/>
                <p:cNvSpPr/>
                <p:nvPr/>
              </p:nvSpPr>
              <p:spPr bwMode="auto">
                <a:xfrm>
                  <a:off x="-2859087" y="692150"/>
                  <a:ext cx="366713" cy="112713"/>
                </a:xfrm>
                <a:custGeom>
                  <a:avLst/>
                  <a:gdLst>
                    <a:gd name="T0" fmla="*/ 2147483646 w 231"/>
                    <a:gd name="T1" fmla="*/ 2147483646 h 71"/>
                    <a:gd name="T2" fmla="*/ 2147483646 w 231"/>
                    <a:gd name="T3" fmla="*/ 2147483646 h 71"/>
                    <a:gd name="T4" fmla="*/ 0 w 231"/>
                    <a:gd name="T5" fmla="*/ 2147483646 h 71"/>
                    <a:gd name="T6" fmla="*/ 2147483646 w 231"/>
                    <a:gd name="T7" fmla="*/ 0 h 71"/>
                    <a:gd name="T8" fmla="*/ 2147483646 w 231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1" h="71">
                      <a:moveTo>
                        <a:pt x="231" y="15"/>
                      </a:moveTo>
                      <a:lnTo>
                        <a:pt x="2" y="71"/>
                      </a:lnTo>
                      <a:lnTo>
                        <a:pt x="0" y="59"/>
                      </a:lnTo>
                      <a:lnTo>
                        <a:pt x="229" y="0"/>
                      </a:lnTo>
                      <a:lnTo>
                        <a:pt x="231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99" name="Freeform 68"/>
                <p:cNvSpPr/>
                <p:nvPr/>
              </p:nvSpPr>
              <p:spPr bwMode="auto">
                <a:xfrm>
                  <a:off x="-3373437" y="692150"/>
                  <a:ext cx="363538" cy="112713"/>
                </a:xfrm>
                <a:custGeom>
                  <a:avLst/>
                  <a:gdLst>
                    <a:gd name="T0" fmla="*/ 0 w 229"/>
                    <a:gd name="T1" fmla="*/ 2147483646 h 71"/>
                    <a:gd name="T2" fmla="*/ 2147483646 w 229"/>
                    <a:gd name="T3" fmla="*/ 2147483646 h 71"/>
                    <a:gd name="T4" fmla="*/ 2147483646 w 229"/>
                    <a:gd name="T5" fmla="*/ 2147483646 h 71"/>
                    <a:gd name="T6" fmla="*/ 0 w 229"/>
                    <a:gd name="T7" fmla="*/ 0 h 71"/>
                    <a:gd name="T8" fmla="*/ 0 w 229"/>
                    <a:gd name="T9" fmla="*/ 2147483646 h 7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9" h="71">
                      <a:moveTo>
                        <a:pt x="0" y="15"/>
                      </a:moveTo>
                      <a:lnTo>
                        <a:pt x="229" y="71"/>
                      </a:lnTo>
                      <a:lnTo>
                        <a:pt x="229" y="59"/>
                      </a:lnTo>
                      <a:lnTo>
                        <a:pt x="0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0" name="Freeform 69"/>
                <p:cNvSpPr/>
                <p:nvPr/>
              </p:nvSpPr>
              <p:spPr bwMode="auto">
                <a:xfrm>
                  <a:off x="-2828925" y="696913"/>
                  <a:ext cx="66675" cy="82550"/>
                </a:xfrm>
                <a:custGeom>
                  <a:avLst/>
                  <a:gdLst>
                    <a:gd name="T0" fmla="*/ 2147483646 w 42"/>
                    <a:gd name="T1" fmla="*/ 2147483646 h 52"/>
                    <a:gd name="T2" fmla="*/ 2147483646 w 42"/>
                    <a:gd name="T3" fmla="*/ 2147483646 h 52"/>
                    <a:gd name="T4" fmla="*/ 2147483646 w 42"/>
                    <a:gd name="T5" fmla="*/ 0 h 52"/>
                    <a:gd name="T6" fmla="*/ 0 w 42"/>
                    <a:gd name="T7" fmla="*/ 2147483646 h 52"/>
                    <a:gd name="T8" fmla="*/ 2147483646 w 42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2" h="52">
                      <a:moveTo>
                        <a:pt x="40" y="52"/>
                      </a:moveTo>
                      <a:lnTo>
                        <a:pt x="42" y="47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40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1" name="Freeform 70"/>
                <p:cNvSpPr/>
                <p:nvPr/>
              </p:nvSpPr>
              <p:spPr bwMode="auto">
                <a:xfrm>
                  <a:off x="-2770187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2147483646 w 43"/>
                    <a:gd name="T3" fmla="*/ 2147483646 h 50"/>
                    <a:gd name="T4" fmla="*/ 2147483646 w 43"/>
                    <a:gd name="T5" fmla="*/ 0 h 50"/>
                    <a:gd name="T6" fmla="*/ 0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41" y="50"/>
                      </a:moveTo>
                      <a:lnTo>
                        <a:pt x="43" y="47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1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2" name="Freeform 71"/>
                <p:cNvSpPr/>
                <p:nvPr/>
              </p:nvSpPr>
              <p:spPr bwMode="auto">
                <a:xfrm>
                  <a:off x="-2698750" y="696913"/>
                  <a:ext cx="52388" cy="52388"/>
                </a:xfrm>
                <a:custGeom>
                  <a:avLst/>
                  <a:gdLst>
                    <a:gd name="T0" fmla="*/ 2147483646 w 33"/>
                    <a:gd name="T1" fmla="*/ 2147483646 h 33"/>
                    <a:gd name="T2" fmla="*/ 2147483646 w 33"/>
                    <a:gd name="T3" fmla="*/ 2147483646 h 33"/>
                    <a:gd name="T4" fmla="*/ 2147483646 w 33"/>
                    <a:gd name="T5" fmla="*/ 0 h 33"/>
                    <a:gd name="T6" fmla="*/ 0 w 33"/>
                    <a:gd name="T7" fmla="*/ 2147483646 h 33"/>
                    <a:gd name="T8" fmla="*/ 2147483646 w 33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3" h="33">
                      <a:moveTo>
                        <a:pt x="31" y="33"/>
                      </a:moveTo>
                      <a:lnTo>
                        <a:pt x="33" y="3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31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3" name="Freeform 72"/>
                <p:cNvSpPr/>
                <p:nvPr/>
              </p:nvSpPr>
              <p:spPr bwMode="auto">
                <a:xfrm>
                  <a:off x="-2630487" y="696913"/>
                  <a:ext cx="41275" cy="33338"/>
                </a:xfrm>
                <a:custGeom>
                  <a:avLst/>
                  <a:gdLst>
                    <a:gd name="T0" fmla="*/ 2147483646 w 26"/>
                    <a:gd name="T1" fmla="*/ 2147483646 h 21"/>
                    <a:gd name="T2" fmla="*/ 2147483646 w 26"/>
                    <a:gd name="T3" fmla="*/ 2147483646 h 21"/>
                    <a:gd name="T4" fmla="*/ 2147483646 w 26"/>
                    <a:gd name="T5" fmla="*/ 0 h 21"/>
                    <a:gd name="T6" fmla="*/ 0 w 26"/>
                    <a:gd name="T7" fmla="*/ 2147483646 h 21"/>
                    <a:gd name="T8" fmla="*/ 2147483646 w 26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21">
                      <a:moveTo>
                        <a:pt x="24" y="21"/>
                      </a:moveTo>
                      <a:lnTo>
                        <a:pt x="26" y="19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4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4" name="Freeform 73"/>
                <p:cNvSpPr/>
                <p:nvPr/>
              </p:nvSpPr>
              <p:spPr bwMode="auto">
                <a:xfrm>
                  <a:off x="-263366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0 w 26"/>
                    <a:gd name="T3" fmla="*/ 2147483646 h 33"/>
                    <a:gd name="T4" fmla="*/ 2147483646 w 26"/>
                    <a:gd name="T5" fmla="*/ 0 h 33"/>
                    <a:gd name="T6" fmla="*/ 2147483646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" y="33"/>
                      </a:moveTo>
                      <a:lnTo>
                        <a:pt x="0" y="29"/>
                      </a:lnTo>
                      <a:lnTo>
                        <a:pt x="23" y="0"/>
                      </a:lnTo>
                      <a:lnTo>
                        <a:pt x="26" y="3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5" name="Freeform 74"/>
                <p:cNvSpPr/>
                <p:nvPr/>
              </p:nvSpPr>
              <p:spPr bwMode="auto">
                <a:xfrm>
                  <a:off x="-2701925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0 w 38"/>
                    <a:gd name="T3" fmla="*/ 2147483646 h 47"/>
                    <a:gd name="T4" fmla="*/ 2147483646 w 38"/>
                    <a:gd name="T5" fmla="*/ 0 h 47"/>
                    <a:gd name="T6" fmla="*/ 2147483646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2" y="47"/>
                      </a:moveTo>
                      <a:lnTo>
                        <a:pt x="0" y="42"/>
                      </a:lnTo>
                      <a:lnTo>
                        <a:pt x="38" y="0"/>
                      </a:lnTo>
                      <a:lnTo>
                        <a:pt x="38" y="5"/>
                      </a:lnTo>
                      <a:lnTo>
                        <a:pt x="2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6" name="Freeform 75"/>
                <p:cNvSpPr/>
                <p:nvPr/>
              </p:nvSpPr>
              <p:spPr bwMode="auto">
                <a:xfrm>
                  <a:off x="-2781300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0 w 50"/>
                    <a:gd name="T3" fmla="*/ 2147483646 h 59"/>
                    <a:gd name="T4" fmla="*/ 2147483646 w 50"/>
                    <a:gd name="T5" fmla="*/ 0 h 59"/>
                    <a:gd name="T6" fmla="*/ 2147483646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3" y="59"/>
                      </a:moveTo>
                      <a:lnTo>
                        <a:pt x="0" y="57"/>
                      </a:lnTo>
                      <a:lnTo>
                        <a:pt x="48" y="0"/>
                      </a:lnTo>
                      <a:lnTo>
                        <a:pt x="50" y="3"/>
                      </a:lnTo>
                      <a:lnTo>
                        <a:pt x="3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7" name="Freeform 76"/>
                <p:cNvSpPr/>
                <p:nvPr/>
              </p:nvSpPr>
              <p:spPr bwMode="auto">
                <a:xfrm>
                  <a:off x="-2836862" y="696913"/>
                  <a:ext cx="71438" cy="104775"/>
                </a:xfrm>
                <a:custGeom>
                  <a:avLst/>
                  <a:gdLst>
                    <a:gd name="T0" fmla="*/ 2147483646 w 45"/>
                    <a:gd name="T1" fmla="*/ 2147483646 h 66"/>
                    <a:gd name="T2" fmla="*/ 0 w 45"/>
                    <a:gd name="T3" fmla="*/ 2147483646 h 66"/>
                    <a:gd name="T4" fmla="*/ 2147483646 w 45"/>
                    <a:gd name="T5" fmla="*/ 0 h 66"/>
                    <a:gd name="T6" fmla="*/ 2147483646 w 45"/>
                    <a:gd name="T7" fmla="*/ 2147483646 h 66"/>
                    <a:gd name="T8" fmla="*/ 2147483646 w 45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66">
                      <a:moveTo>
                        <a:pt x="2" y="66"/>
                      </a:moveTo>
                      <a:lnTo>
                        <a:pt x="0" y="61"/>
                      </a:lnTo>
                      <a:lnTo>
                        <a:pt x="42" y="0"/>
                      </a:lnTo>
                      <a:lnTo>
                        <a:pt x="45" y="2"/>
                      </a:lnTo>
                      <a:lnTo>
                        <a:pt x="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8" name="Freeform 77"/>
                <p:cNvSpPr/>
                <p:nvPr/>
              </p:nvSpPr>
              <p:spPr bwMode="auto">
                <a:xfrm>
                  <a:off x="-3103562" y="696913"/>
                  <a:ext cx="63500" cy="82550"/>
                </a:xfrm>
                <a:custGeom>
                  <a:avLst/>
                  <a:gdLst>
                    <a:gd name="T0" fmla="*/ 2147483646 w 40"/>
                    <a:gd name="T1" fmla="*/ 2147483646 h 52"/>
                    <a:gd name="T2" fmla="*/ 0 w 40"/>
                    <a:gd name="T3" fmla="*/ 2147483646 h 52"/>
                    <a:gd name="T4" fmla="*/ 2147483646 w 40"/>
                    <a:gd name="T5" fmla="*/ 0 h 52"/>
                    <a:gd name="T6" fmla="*/ 2147483646 w 40"/>
                    <a:gd name="T7" fmla="*/ 2147483646 h 52"/>
                    <a:gd name="T8" fmla="*/ 2147483646 w 40"/>
                    <a:gd name="T9" fmla="*/ 2147483646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" h="52">
                      <a:moveTo>
                        <a:pt x="3" y="52"/>
                      </a:moveTo>
                      <a:lnTo>
                        <a:pt x="0" y="47"/>
                      </a:lnTo>
                      <a:lnTo>
                        <a:pt x="38" y="0"/>
                      </a:lnTo>
                      <a:lnTo>
                        <a:pt x="40" y="4"/>
                      </a:lnTo>
                      <a:lnTo>
                        <a:pt x="3" y="5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09" name="Freeform 78"/>
                <p:cNvSpPr/>
                <p:nvPr/>
              </p:nvSpPr>
              <p:spPr bwMode="auto">
                <a:xfrm>
                  <a:off x="-3167062" y="688975"/>
                  <a:ext cx="68263" cy="79375"/>
                </a:xfrm>
                <a:custGeom>
                  <a:avLst/>
                  <a:gdLst>
                    <a:gd name="T0" fmla="*/ 2147483646 w 43"/>
                    <a:gd name="T1" fmla="*/ 2147483646 h 50"/>
                    <a:gd name="T2" fmla="*/ 0 w 43"/>
                    <a:gd name="T3" fmla="*/ 2147483646 h 50"/>
                    <a:gd name="T4" fmla="*/ 2147483646 w 43"/>
                    <a:gd name="T5" fmla="*/ 0 h 50"/>
                    <a:gd name="T6" fmla="*/ 2147483646 w 43"/>
                    <a:gd name="T7" fmla="*/ 2147483646 h 50"/>
                    <a:gd name="T8" fmla="*/ 2147483646 w 43"/>
                    <a:gd name="T9" fmla="*/ 2147483646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0">
                      <a:moveTo>
                        <a:pt x="2" y="50"/>
                      </a:moveTo>
                      <a:lnTo>
                        <a:pt x="0" y="47"/>
                      </a:lnTo>
                      <a:lnTo>
                        <a:pt x="40" y="0"/>
                      </a:lnTo>
                      <a:lnTo>
                        <a:pt x="43" y="2"/>
                      </a:lnTo>
                      <a:lnTo>
                        <a:pt x="2" y="5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0" name="Freeform 79"/>
                <p:cNvSpPr/>
                <p:nvPr/>
              </p:nvSpPr>
              <p:spPr bwMode="auto">
                <a:xfrm>
                  <a:off x="-3219450" y="696913"/>
                  <a:ext cx="49213" cy="52388"/>
                </a:xfrm>
                <a:custGeom>
                  <a:avLst/>
                  <a:gdLst>
                    <a:gd name="T0" fmla="*/ 2147483646 w 31"/>
                    <a:gd name="T1" fmla="*/ 2147483646 h 33"/>
                    <a:gd name="T2" fmla="*/ 0 w 31"/>
                    <a:gd name="T3" fmla="*/ 2147483646 h 33"/>
                    <a:gd name="T4" fmla="*/ 2147483646 w 31"/>
                    <a:gd name="T5" fmla="*/ 0 h 33"/>
                    <a:gd name="T6" fmla="*/ 2147483646 w 31"/>
                    <a:gd name="T7" fmla="*/ 2147483646 h 33"/>
                    <a:gd name="T8" fmla="*/ 2147483646 w 31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33">
                      <a:moveTo>
                        <a:pt x="2" y="33"/>
                      </a:moveTo>
                      <a:lnTo>
                        <a:pt x="0" y="30"/>
                      </a:lnTo>
                      <a:lnTo>
                        <a:pt x="28" y="0"/>
                      </a:lnTo>
                      <a:lnTo>
                        <a:pt x="31" y="4"/>
                      </a:lnTo>
                      <a:lnTo>
                        <a:pt x="2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1" name="Freeform 80"/>
                <p:cNvSpPr/>
                <p:nvPr/>
              </p:nvSpPr>
              <p:spPr bwMode="auto">
                <a:xfrm>
                  <a:off x="-3275012" y="696913"/>
                  <a:ext cx="36513" cy="33338"/>
                </a:xfrm>
                <a:custGeom>
                  <a:avLst/>
                  <a:gdLst>
                    <a:gd name="T0" fmla="*/ 2147483646 w 23"/>
                    <a:gd name="T1" fmla="*/ 2147483646 h 21"/>
                    <a:gd name="T2" fmla="*/ 0 w 23"/>
                    <a:gd name="T3" fmla="*/ 2147483646 h 21"/>
                    <a:gd name="T4" fmla="*/ 2147483646 w 23"/>
                    <a:gd name="T5" fmla="*/ 0 h 21"/>
                    <a:gd name="T6" fmla="*/ 2147483646 w 23"/>
                    <a:gd name="T7" fmla="*/ 2147483646 h 21"/>
                    <a:gd name="T8" fmla="*/ 2147483646 w 23"/>
                    <a:gd name="T9" fmla="*/ 2147483646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3" h="21">
                      <a:moveTo>
                        <a:pt x="2" y="21"/>
                      </a:moveTo>
                      <a:lnTo>
                        <a:pt x="0" y="19"/>
                      </a:lnTo>
                      <a:lnTo>
                        <a:pt x="21" y="0"/>
                      </a:lnTo>
                      <a:lnTo>
                        <a:pt x="23" y="4"/>
                      </a:lnTo>
                      <a:lnTo>
                        <a:pt x="2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2" name="Freeform 81"/>
                <p:cNvSpPr/>
                <p:nvPr/>
              </p:nvSpPr>
              <p:spPr bwMode="auto">
                <a:xfrm>
                  <a:off x="-3275012" y="692150"/>
                  <a:ext cx="41275" cy="52388"/>
                </a:xfrm>
                <a:custGeom>
                  <a:avLst/>
                  <a:gdLst>
                    <a:gd name="T0" fmla="*/ 2147483646 w 26"/>
                    <a:gd name="T1" fmla="*/ 2147483646 h 33"/>
                    <a:gd name="T2" fmla="*/ 2147483646 w 26"/>
                    <a:gd name="T3" fmla="*/ 2147483646 h 33"/>
                    <a:gd name="T4" fmla="*/ 2147483646 w 26"/>
                    <a:gd name="T5" fmla="*/ 0 h 33"/>
                    <a:gd name="T6" fmla="*/ 0 w 26"/>
                    <a:gd name="T7" fmla="*/ 2147483646 h 33"/>
                    <a:gd name="T8" fmla="*/ 2147483646 w 26"/>
                    <a:gd name="T9" fmla="*/ 2147483646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6" h="33">
                      <a:moveTo>
                        <a:pt x="23" y="33"/>
                      </a:moveTo>
                      <a:lnTo>
                        <a:pt x="26" y="29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3" y="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3" name="Freeform 82"/>
                <p:cNvSpPr/>
                <p:nvPr/>
              </p:nvSpPr>
              <p:spPr bwMode="auto">
                <a:xfrm>
                  <a:off x="-3227387" y="688975"/>
                  <a:ext cx="60325" cy="74613"/>
                </a:xfrm>
                <a:custGeom>
                  <a:avLst/>
                  <a:gdLst>
                    <a:gd name="T0" fmla="*/ 2147483646 w 38"/>
                    <a:gd name="T1" fmla="*/ 2147483646 h 47"/>
                    <a:gd name="T2" fmla="*/ 2147483646 w 38"/>
                    <a:gd name="T3" fmla="*/ 2147483646 h 47"/>
                    <a:gd name="T4" fmla="*/ 2147483646 w 38"/>
                    <a:gd name="T5" fmla="*/ 0 h 47"/>
                    <a:gd name="T6" fmla="*/ 0 w 38"/>
                    <a:gd name="T7" fmla="*/ 2147483646 h 47"/>
                    <a:gd name="T8" fmla="*/ 2147483646 w 38"/>
                    <a:gd name="T9" fmla="*/ 2147483646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47">
                      <a:moveTo>
                        <a:pt x="36" y="47"/>
                      </a:moveTo>
                      <a:lnTo>
                        <a:pt x="38" y="42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36" y="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4" name="Freeform 83"/>
                <p:cNvSpPr/>
                <p:nvPr/>
              </p:nvSpPr>
              <p:spPr bwMode="auto">
                <a:xfrm>
                  <a:off x="-3163887" y="692150"/>
                  <a:ext cx="79375" cy="93663"/>
                </a:xfrm>
                <a:custGeom>
                  <a:avLst/>
                  <a:gdLst>
                    <a:gd name="T0" fmla="*/ 2147483646 w 50"/>
                    <a:gd name="T1" fmla="*/ 2147483646 h 59"/>
                    <a:gd name="T2" fmla="*/ 2147483646 w 50"/>
                    <a:gd name="T3" fmla="*/ 2147483646 h 59"/>
                    <a:gd name="T4" fmla="*/ 2147483646 w 50"/>
                    <a:gd name="T5" fmla="*/ 0 h 59"/>
                    <a:gd name="T6" fmla="*/ 0 w 50"/>
                    <a:gd name="T7" fmla="*/ 2147483646 h 59"/>
                    <a:gd name="T8" fmla="*/ 2147483646 w 50"/>
                    <a:gd name="T9" fmla="*/ 2147483646 h 5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0" h="59">
                      <a:moveTo>
                        <a:pt x="48" y="59"/>
                      </a:moveTo>
                      <a:lnTo>
                        <a:pt x="50" y="57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48" y="5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5" name="Freeform 84"/>
                <p:cNvSpPr/>
                <p:nvPr/>
              </p:nvSpPr>
              <p:spPr bwMode="auto">
                <a:xfrm>
                  <a:off x="-3098800" y="696913"/>
                  <a:ext cx="69850" cy="104775"/>
                </a:xfrm>
                <a:custGeom>
                  <a:avLst/>
                  <a:gdLst>
                    <a:gd name="T0" fmla="*/ 2147483646 w 44"/>
                    <a:gd name="T1" fmla="*/ 2147483646 h 66"/>
                    <a:gd name="T2" fmla="*/ 2147483646 w 44"/>
                    <a:gd name="T3" fmla="*/ 2147483646 h 66"/>
                    <a:gd name="T4" fmla="*/ 2147483646 w 44"/>
                    <a:gd name="T5" fmla="*/ 0 h 66"/>
                    <a:gd name="T6" fmla="*/ 0 w 44"/>
                    <a:gd name="T7" fmla="*/ 2147483646 h 66"/>
                    <a:gd name="T8" fmla="*/ 2147483646 w 44"/>
                    <a:gd name="T9" fmla="*/ 2147483646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4" h="66">
                      <a:moveTo>
                        <a:pt x="42" y="66"/>
                      </a:moveTo>
                      <a:lnTo>
                        <a:pt x="44" y="6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2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716" name="Rectangle 85"/>
                <p:cNvSpPr>
                  <a:spLocks noChangeArrowheads="1"/>
                </p:cNvSpPr>
                <p:nvPr/>
              </p:nvSpPr>
              <p:spPr bwMode="auto">
                <a:xfrm>
                  <a:off x="-3013075" y="785813"/>
                  <a:ext cx="161925" cy="23813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24580" name="组合 87"/>
          <p:cNvGrpSpPr/>
          <p:nvPr/>
        </p:nvGrpSpPr>
        <p:grpSpPr bwMode="auto">
          <a:xfrm>
            <a:off x="5346700" y="915988"/>
            <a:ext cx="1438275" cy="1635125"/>
            <a:chOff x="5467036" y="1188628"/>
            <a:chExt cx="1438770" cy="1636085"/>
          </a:xfrm>
        </p:grpSpPr>
        <p:sp>
          <p:nvSpPr>
            <p:cNvPr id="89" name="Rectangle 9"/>
            <p:cNvSpPr/>
            <p:nvPr/>
          </p:nvSpPr>
          <p:spPr bwMode="auto">
            <a:xfrm>
              <a:off x="5467036" y="1188628"/>
              <a:ext cx="1438770" cy="1636085"/>
            </a:xfrm>
            <a:prstGeom prst="rect">
              <a:avLst/>
            </a:pr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矩形 89"/>
            <p:cNvSpPr/>
            <p:nvPr/>
          </p:nvSpPr>
          <p:spPr>
            <a:xfrm>
              <a:off x="5668718" y="2341830"/>
              <a:ext cx="1106868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611" name="组合 1043"/>
            <p:cNvGrpSpPr/>
            <p:nvPr/>
          </p:nvGrpSpPr>
          <p:grpSpPr bwMode="auto">
            <a:xfrm>
              <a:off x="6130725" y="2249045"/>
              <a:ext cx="81805" cy="103030"/>
              <a:chOff x="6290395" y="3592630"/>
              <a:chExt cx="87725" cy="124510"/>
            </a:xfrm>
          </p:grpSpPr>
          <p:sp>
            <p:nvSpPr>
              <p:cNvPr id="113" name="燕尾形 112"/>
              <p:cNvSpPr/>
              <p:nvPr/>
            </p:nvSpPr>
            <p:spPr>
              <a:xfrm rot="16200000">
                <a:off x="6296512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燕尾形 113"/>
              <p:cNvSpPr/>
              <p:nvPr/>
            </p:nvSpPr>
            <p:spPr>
              <a:xfrm rot="16200000">
                <a:off x="6296511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612" name="组合 7218"/>
            <p:cNvGrpSpPr/>
            <p:nvPr/>
          </p:nvGrpSpPr>
          <p:grpSpPr bwMode="auto">
            <a:xfrm>
              <a:off x="5776705" y="1326821"/>
              <a:ext cx="819431" cy="821220"/>
              <a:chOff x="2861480" y="-3469050"/>
              <a:chExt cx="2571725" cy="2577339"/>
            </a:xfrm>
          </p:grpSpPr>
          <p:sp>
            <p:nvSpPr>
              <p:cNvPr id="93" name="Freeform 92"/>
              <p:cNvSpPr/>
              <p:nvPr/>
            </p:nvSpPr>
            <p:spPr bwMode="auto">
              <a:xfrm>
                <a:off x="2861483" y="-3469050"/>
                <a:ext cx="2571728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614" name="组合 7214"/>
              <p:cNvGrpSpPr/>
              <p:nvPr/>
            </p:nvGrpSpPr>
            <p:grpSpPr bwMode="auto">
              <a:xfrm>
                <a:off x="3122613" y="-3252788"/>
                <a:ext cx="1746250" cy="1979613"/>
                <a:chOff x="3122613" y="-3252788"/>
                <a:chExt cx="1746250" cy="1979613"/>
              </a:xfrm>
            </p:grpSpPr>
            <p:sp>
              <p:nvSpPr>
                <p:cNvPr id="24615" name="Freeform 94"/>
                <p:cNvSpPr/>
                <p:nvPr/>
              </p:nvSpPr>
              <p:spPr bwMode="auto">
                <a:xfrm>
                  <a:off x="3459163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5"/>
                      </a:moveTo>
                      <a:lnTo>
                        <a:pt x="31" y="286"/>
                      </a:lnTo>
                      <a:lnTo>
                        <a:pt x="38" y="281"/>
                      </a:lnTo>
                      <a:lnTo>
                        <a:pt x="7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6" name="Freeform 95"/>
                <p:cNvSpPr/>
                <p:nvPr/>
              </p:nvSpPr>
              <p:spPr bwMode="auto">
                <a:xfrm>
                  <a:off x="3505200" y="-2671763"/>
                  <a:ext cx="33338" cy="446088"/>
                </a:xfrm>
                <a:custGeom>
                  <a:avLst/>
                  <a:gdLst>
                    <a:gd name="T0" fmla="*/ 0 w 21"/>
                    <a:gd name="T1" fmla="*/ 0 h 281"/>
                    <a:gd name="T2" fmla="*/ 2147483646 w 21"/>
                    <a:gd name="T3" fmla="*/ 2147483646 h 281"/>
                    <a:gd name="T4" fmla="*/ 2147483646 w 21"/>
                    <a:gd name="T5" fmla="*/ 2147483646 h 281"/>
                    <a:gd name="T6" fmla="*/ 2147483646 w 21"/>
                    <a:gd name="T7" fmla="*/ 0 h 281"/>
                    <a:gd name="T8" fmla="*/ 0 w 21"/>
                    <a:gd name="T9" fmla="*/ 0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0"/>
                      </a:moveTo>
                      <a:lnTo>
                        <a:pt x="14" y="281"/>
                      </a:lnTo>
                      <a:lnTo>
                        <a:pt x="21" y="28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7" name="Freeform 96"/>
                <p:cNvSpPr/>
                <p:nvPr/>
              </p:nvSpPr>
              <p:spPr bwMode="auto">
                <a:xfrm>
                  <a:off x="3552825" y="-2686050"/>
                  <a:ext cx="60325" cy="454025"/>
                </a:xfrm>
                <a:custGeom>
                  <a:avLst/>
                  <a:gdLst>
                    <a:gd name="T0" fmla="*/ 0 w 38"/>
                    <a:gd name="T1" fmla="*/ 2147483646 h 286"/>
                    <a:gd name="T2" fmla="*/ 2147483646 w 38"/>
                    <a:gd name="T3" fmla="*/ 2147483646 h 286"/>
                    <a:gd name="T4" fmla="*/ 2147483646 w 38"/>
                    <a:gd name="T5" fmla="*/ 2147483646 h 286"/>
                    <a:gd name="T6" fmla="*/ 2147483646 w 38"/>
                    <a:gd name="T7" fmla="*/ 0 h 286"/>
                    <a:gd name="T8" fmla="*/ 0 w 38"/>
                    <a:gd name="T9" fmla="*/ 2147483646 h 2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8" h="286">
                      <a:moveTo>
                        <a:pt x="0" y="281"/>
                      </a:moveTo>
                      <a:lnTo>
                        <a:pt x="7" y="286"/>
                      </a:lnTo>
                      <a:lnTo>
                        <a:pt x="38" y="5"/>
                      </a:lnTo>
                      <a:lnTo>
                        <a:pt x="31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8" name="Freeform 97"/>
                <p:cNvSpPr/>
                <p:nvPr/>
              </p:nvSpPr>
              <p:spPr bwMode="auto">
                <a:xfrm>
                  <a:off x="3538538" y="-2671763"/>
                  <a:ext cx="33338" cy="446088"/>
                </a:xfrm>
                <a:custGeom>
                  <a:avLst/>
                  <a:gdLst>
                    <a:gd name="T0" fmla="*/ 0 w 21"/>
                    <a:gd name="T1" fmla="*/ 2147483646 h 281"/>
                    <a:gd name="T2" fmla="*/ 2147483646 w 21"/>
                    <a:gd name="T3" fmla="*/ 2147483646 h 281"/>
                    <a:gd name="T4" fmla="*/ 2147483646 w 21"/>
                    <a:gd name="T5" fmla="*/ 0 h 281"/>
                    <a:gd name="T6" fmla="*/ 2147483646 w 21"/>
                    <a:gd name="T7" fmla="*/ 0 h 281"/>
                    <a:gd name="T8" fmla="*/ 0 w 21"/>
                    <a:gd name="T9" fmla="*/ 2147483646 h 28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" h="281">
                      <a:moveTo>
                        <a:pt x="0" y="281"/>
                      </a:moveTo>
                      <a:lnTo>
                        <a:pt x="7" y="281"/>
                      </a:lnTo>
                      <a:lnTo>
                        <a:pt x="21" y="0"/>
                      </a:lnTo>
                      <a:lnTo>
                        <a:pt x="14" y="0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19" name="Freeform 98"/>
                <p:cNvSpPr>
                  <a:spLocks noEditPoints="1"/>
                </p:cNvSpPr>
                <p:nvPr/>
              </p:nvSpPr>
              <p:spPr bwMode="auto">
                <a:xfrm>
                  <a:off x="3122613" y="-2895600"/>
                  <a:ext cx="1511300" cy="234950"/>
                </a:xfrm>
                <a:custGeom>
                  <a:avLst/>
                  <a:gdLst>
                    <a:gd name="T0" fmla="*/ 2147483646 w 403"/>
                    <a:gd name="T1" fmla="*/ 2147483646 h 63"/>
                    <a:gd name="T2" fmla="*/ 2147483646 w 403"/>
                    <a:gd name="T3" fmla="*/ 2147483646 h 63"/>
                    <a:gd name="T4" fmla="*/ 2147483646 w 403"/>
                    <a:gd name="T5" fmla="*/ 2147483646 h 63"/>
                    <a:gd name="T6" fmla="*/ 2147483646 w 403"/>
                    <a:gd name="T7" fmla="*/ 2147483646 h 63"/>
                    <a:gd name="T8" fmla="*/ 2147483646 w 403"/>
                    <a:gd name="T9" fmla="*/ 0 h 63"/>
                    <a:gd name="T10" fmla="*/ 2147483646 w 403"/>
                    <a:gd name="T11" fmla="*/ 0 h 63"/>
                    <a:gd name="T12" fmla="*/ 0 w 403"/>
                    <a:gd name="T13" fmla="*/ 2147483646 h 63"/>
                    <a:gd name="T14" fmla="*/ 2147483646 w 403"/>
                    <a:gd name="T15" fmla="*/ 2147483646 h 63"/>
                    <a:gd name="T16" fmla="*/ 2147483646 w 403"/>
                    <a:gd name="T17" fmla="*/ 2147483646 h 63"/>
                    <a:gd name="T18" fmla="*/ 2147483646 w 403"/>
                    <a:gd name="T19" fmla="*/ 2147483646 h 63"/>
                    <a:gd name="T20" fmla="*/ 2147483646 w 403"/>
                    <a:gd name="T21" fmla="*/ 2147483646 h 63"/>
                    <a:gd name="T22" fmla="*/ 2147483646 w 403"/>
                    <a:gd name="T23" fmla="*/ 2147483646 h 63"/>
                    <a:gd name="T24" fmla="*/ 2147483646 w 403"/>
                    <a:gd name="T25" fmla="*/ 2147483646 h 63"/>
                    <a:gd name="T26" fmla="*/ 2147483646 w 403"/>
                    <a:gd name="T27" fmla="*/ 2147483646 h 63"/>
                    <a:gd name="T28" fmla="*/ 2147483646 w 403"/>
                    <a:gd name="T29" fmla="*/ 2147483646 h 63"/>
                    <a:gd name="T30" fmla="*/ 2147483646 w 403"/>
                    <a:gd name="T31" fmla="*/ 2147483646 h 63"/>
                    <a:gd name="T32" fmla="*/ 2147483646 w 403"/>
                    <a:gd name="T33" fmla="*/ 2147483646 h 63"/>
                    <a:gd name="T34" fmla="*/ 2147483646 w 403"/>
                    <a:gd name="T35" fmla="*/ 2147483646 h 63"/>
                    <a:gd name="T36" fmla="*/ 2147483646 w 403"/>
                    <a:gd name="T37" fmla="*/ 2147483646 h 63"/>
                    <a:gd name="T38" fmla="*/ 2147483646 w 403"/>
                    <a:gd name="T39" fmla="*/ 2147483646 h 63"/>
                    <a:gd name="T40" fmla="*/ 2147483646 w 403"/>
                    <a:gd name="T41" fmla="*/ 2147483646 h 63"/>
                    <a:gd name="T42" fmla="*/ 2147483646 w 403"/>
                    <a:gd name="T43" fmla="*/ 2147483646 h 63"/>
                    <a:gd name="T44" fmla="*/ 2147483646 w 403"/>
                    <a:gd name="T45" fmla="*/ 2147483646 h 63"/>
                    <a:gd name="T46" fmla="*/ 2147483646 w 403"/>
                    <a:gd name="T47" fmla="*/ 2147483646 h 63"/>
                    <a:gd name="T48" fmla="*/ 2147483646 w 403"/>
                    <a:gd name="T49" fmla="*/ 2147483646 h 63"/>
                    <a:gd name="T50" fmla="*/ 2147483646 w 403"/>
                    <a:gd name="T51" fmla="*/ 2147483646 h 63"/>
                    <a:gd name="T52" fmla="*/ 2147483646 w 403"/>
                    <a:gd name="T53" fmla="*/ 2147483646 h 63"/>
                    <a:gd name="T54" fmla="*/ 2147483646 w 403"/>
                    <a:gd name="T55" fmla="*/ 2147483646 h 63"/>
                    <a:gd name="T56" fmla="*/ 2147483646 w 403"/>
                    <a:gd name="T57" fmla="*/ 2147483646 h 63"/>
                    <a:gd name="T58" fmla="*/ 2147483646 w 403"/>
                    <a:gd name="T59" fmla="*/ 2147483646 h 63"/>
                    <a:gd name="T60" fmla="*/ 2147483646 w 403"/>
                    <a:gd name="T61" fmla="*/ 2147483646 h 63"/>
                    <a:gd name="T62" fmla="*/ 2147483646 w 403"/>
                    <a:gd name="T63" fmla="*/ 2147483646 h 63"/>
                    <a:gd name="T64" fmla="*/ 2147483646 w 403"/>
                    <a:gd name="T65" fmla="*/ 2147483646 h 63"/>
                    <a:gd name="T66" fmla="*/ 2147483646 w 403"/>
                    <a:gd name="T67" fmla="*/ 2147483646 h 63"/>
                    <a:gd name="T68" fmla="*/ 2147483646 w 403"/>
                    <a:gd name="T69" fmla="*/ 2147483646 h 63"/>
                    <a:gd name="T70" fmla="*/ 2147483646 w 403"/>
                    <a:gd name="T71" fmla="*/ 2147483646 h 63"/>
                    <a:gd name="T72" fmla="*/ 2147483646 w 403"/>
                    <a:gd name="T73" fmla="*/ 2147483646 h 63"/>
                    <a:gd name="T74" fmla="*/ 2147483646 w 403"/>
                    <a:gd name="T75" fmla="*/ 2147483646 h 63"/>
                    <a:gd name="T76" fmla="*/ 2147483646 w 403"/>
                    <a:gd name="T77" fmla="*/ 2147483646 h 63"/>
                    <a:gd name="T78" fmla="*/ 2147483646 w 403"/>
                    <a:gd name="T79" fmla="*/ 2147483646 h 63"/>
                    <a:gd name="T80" fmla="*/ 2147483646 w 403"/>
                    <a:gd name="T81" fmla="*/ 2147483646 h 63"/>
                    <a:gd name="T82" fmla="*/ 2147483646 w 403"/>
                    <a:gd name="T83" fmla="*/ 2147483646 h 63"/>
                    <a:gd name="T84" fmla="*/ 2147483646 w 403"/>
                    <a:gd name="T85" fmla="*/ 2147483646 h 63"/>
                    <a:gd name="T86" fmla="*/ 2147483646 w 403"/>
                    <a:gd name="T87" fmla="*/ 2147483646 h 63"/>
                    <a:gd name="T88" fmla="*/ 2147483646 w 403"/>
                    <a:gd name="T89" fmla="*/ 2147483646 h 63"/>
                    <a:gd name="T90" fmla="*/ 2147483646 w 403"/>
                    <a:gd name="T91" fmla="*/ 2147483646 h 63"/>
                    <a:gd name="T92" fmla="*/ 2147483646 w 403"/>
                    <a:gd name="T93" fmla="*/ 2147483646 h 63"/>
                    <a:gd name="T94" fmla="*/ 2147483646 w 403"/>
                    <a:gd name="T95" fmla="*/ 2147483646 h 63"/>
                    <a:gd name="T96" fmla="*/ 2147483646 w 403"/>
                    <a:gd name="T97" fmla="*/ 2147483646 h 63"/>
                    <a:gd name="T98" fmla="*/ 2147483646 w 403"/>
                    <a:gd name="T99" fmla="*/ 2147483646 h 63"/>
                    <a:gd name="T100" fmla="*/ 2147483646 w 403"/>
                    <a:gd name="T101" fmla="*/ 2147483646 h 63"/>
                    <a:gd name="T102" fmla="*/ 2147483646 w 403"/>
                    <a:gd name="T103" fmla="*/ 2147483646 h 63"/>
                    <a:gd name="T104" fmla="*/ 2147483646 w 403"/>
                    <a:gd name="T105" fmla="*/ 2147483646 h 63"/>
                    <a:gd name="T106" fmla="*/ 2147483646 w 403"/>
                    <a:gd name="T107" fmla="*/ 2147483646 h 63"/>
                    <a:gd name="T108" fmla="*/ 2147483646 w 403"/>
                    <a:gd name="T109" fmla="*/ 2147483646 h 63"/>
                    <a:gd name="T110" fmla="*/ 2147483646 w 403"/>
                    <a:gd name="T111" fmla="*/ 2147483646 h 63"/>
                    <a:gd name="T112" fmla="*/ 2147483646 w 403"/>
                    <a:gd name="T113" fmla="*/ 2147483646 h 63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403" h="63">
                      <a:moveTo>
                        <a:pt x="403" y="51"/>
                      </a:moveTo>
                      <a:cubicBezTo>
                        <a:pt x="403" y="51"/>
                        <a:pt x="389" y="51"/>
                        <a:pt x="366" y="51"/>
                      </a:cubicBezTo>
                      <a:cubicBezTo>
                        <a:pt x="387" y="11"/>
                        <a:pt x="387" y="11"/>
                        <a:pt x="387" y="11"/>
                      </a:cubicBezTo>
                      <a:cubicBezTo>
                        <a:pt x="397" y="11"/>
                        <a:pt x="403" y="11"/>
                        <a:pt x="403" y="11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403" y="63"/>
                        <a:pt x="403" y="63"/>
                        <a:pt x="403" y="63"/>
                      </a:cubicBezTo>
                      <a:lnTo>
                        <a:pt x="403" y="51"/>
                      </a:lnTo>
                      <a:close/>
                      <a:moveTo>
                        <a:pt x="212" y="15"/>
                      </a:moveTo>
                      <a:cubicBezTo>
                        <a:pt x="234" y="51"/>
                        <a:pt x="234" y="51"/>
                        <a:pt x="234" y="51"/>
                      </a:cubicBezTo>
                      <a:cubicBezTo>
                        <a:pt x="194" y="51"/>
                        <a:pt x="194" y="51"/>
                        <a:pt x="194" y="51"/>
                      </a:cubicBezTo>
                      <a:lnTo>
                        <a:pt x="212" y="15"/>
                      </a:lnTo>
                      <a:close/>
                      <a:moveTo>
                        <a:pt x="300" y="47"/>
                      </a:moveTo>
                      <a:cubicBezTo>
                        <a:pt x="280" y="11"/>
                        <a:pt x="280" y="11"/>
                        <a:pt x="280" y="11"/>
                      </a:cubicBezTo>
                      <a:cubicBezTo>
                        <a:pt x="319" y="11"/>
                        <a:pt x="319" y="11"/>
                        <a:pt x="319" y="11"/>
                      </a:cubicBezTo>
                      <a:lnTo>
                        <a:pt x="300" y="47"/>
                      </a:lnTo>
                      <a:close/>
                      <a:moveTo>
                        <a:pt x="270" y="16"/>
                      </a:moveTo>
                      <a:cubicBezTo>
                        <a:pt x="291" y="51"/>
                        <a:pt x="291" y="51"/>
                        <a:pt x="291" y="51"/>
                      </a:cubicBezTo>
                      <a:cubicBezTo>
                        <a:pt x="252" y="51"/>
                        <a:pt x="252" y="51"/>
                        <a:pt x="252" y="51"/>
                      </a:cubicBezTo>
                      <a:lnTo>
                        <a:pt x="270" y="16"/>
                      </a:lnTo>
                      <a:close/>
                      <a:moveTo>
                        <a:pt x="327" y="16"/>
                      </a:moveTo>
                      <a:cubicBezTo>
                        <a:pt x="348" y="51"/>
                        <a:pt x="348" y="51"/>
                        <a:pt x="348" y="51"/>
                      </a:cubicBezTo>
                      <a:cubicBezTo>
                        <a:pt x="309" y="51"/>
                        <a:pt x="309" y="51"/>
                        <a:pt x="309" y="51"/>
                      </a:cubicBezTo>
                      <a:lnTo>
                        <a:pt x="327" y="16"/>
                      </a:lnTo>
                      <a:close/>
                      <a:moveTo>
                        <a:pt x="337" y="11"/>
                      </a:moveTo>
                      <a:cubicBezTo>
                        <a:pt x="376" y="11"/>
                        <a:pt x="376" y="11"/>
                        <a:pt x="376" y="11"/>
                      </a:cubicBezTo>
                      <a:cubicBezTo>
                        <a:pt x="357" y="47"/>
                        <a:pt x="357" y="47"/>
                        <a:pt x="357" y="47"/>
                      </a:cubicBezTo>
                      <a:lnTo>
                        <a:pt x="337" y="11"/>
                      </a:lnTo>
                      <a:close/>
                      <a:moveTo>
                        <a:pt x="243" y="47"/>
                      </a:moveTo>
                      <a:cubicBezTo>
                        <a:pt x="223" y="11"/>
                        <a:pt x="223" y="11"/>
                        <a:pt x="223" y="11"/>
                      </a:cubicBezTo>
                      <a:cubicBezTo>
                        <a:pt x="261" y="11"/>
                        <a:pt x="261" y="11"/>
                        <a:pt x="261" y="11"/>
                      </a:cubicBezTo>
                      <a:lnTo>
                        <a:pt x="243" y="47"/>
                      </a:lnTo>
                      <a:close/>
                      <a:moveTo>
                        <a:pt x="185" y="47"/>
                      </a:moveTo>
                      <a:cubicBezTo>
                        <a:pt x="164" y="11"/>
                        <a:pt x="164" y="11"/>
                        <a:pt x="164" y="11"/>
                      </a:cubicBezTo>
                      <a:cubicBezTo>
                        <a:pt x="203" y="11"/>
                        <a:pt x="203" y="11"/>
                        <a:pt x="203" y="11"/>
                      </a:cubicBezTo>
                      <a:lnTo>
                        <a:pt x="185" y="47"/>
                      </a:lnTo>
                      <a:close/>
                      <a:moveTo>
                        <a:pt x="46" y="11"/>
                      </a:moveTo>
                      <a:cubicBezTo>
                        <a:pt x="85" y="11"/>
                        <a:pt x="85" y="11"/>
                        <a:pt x="85" y="11"/>
                      </a:cubicBezTo>
                      <a:cubicBezTo>
                        <a:pt x="67" y="48"/>
                        <a:pt x="67" y="48"/>
                        <a:pt x="67" y="48"/>
                      </a:cubicBezTo>
                      <a:lnTo>
                        <a:pt x="46" y="11"/>
                      </a:lnTo>
                      <a:close/>
                      <a:moveTo>
                        <a:pt x="105" y="11"/>
                      </a:moveTo>
                      <a:cubicBezTo>
                        <a:pt x="145" y="11"/>
                        <a:pt x="145" y="11"/>
                        <a:pt x="145" y="11"/>
                      </a:cubicBezTo>
                      <a:cubicBezTo>
                        <a:pt x="126" y="48"/>
                        <a:pt x="126" y="48"/>
                        <a:pt x="126" y="48"/>
                      </a:cubicBezTo>
                      <a:lnTo>
                        <a:pt x="105" y="11"/>
                      </a:lnTo>
                      <a:close/>
                      <a:moveTo>
                        <a:pt x="35" y="15"/>
                      </a:moveTo>
                      <a:cubicBezTo>
                        <a:pt x="57" y="51"/>
                        <a:pt x="57" y="51"/>
                        <a:pt x="57" y="51"/>
                      </a:cubicBezTo>
                      <a:cubicBezTo>
                        <a:pt x="17" y="51"/>
                        <a:pt x="17" y="51"/>
                        <a:pt x="17" y="51"/>
                      </a:cubicBezTo>
                      <a:cubicBezTo>
                        <a:pt x="19" y="46"/>
                        <a:pt x="31" y="23"/>
                        <a:pt x="35" y="15"/>
                      </a:cubicBezTo>
                      <a:close/>
                      <a:moveTo>
                        <a:pt x="95" y="15"/>
                      </a:moveTo>
                      <a:cubicBezTo>
                        <a:pt x="116" y="51"/>
                        <a:pt x="116" y="51"/>
                        <a:pt x="116" y="51"/>
                      </a:cubicBezTo>
                      <a:cubicBezTo>
                        <a:pt x="76" y="51"/>
                        <a:pt x="76" y="51"/>
                        <a:pt x="76" y="51"/>
                      </a:cubicBezTo>
                      <a:lnTo>
                        <a:pt x="95" y="15"/>
                      </a:lnTo>
                      <a:close/>
                      <a:moveTo>
                        <a:pt x="154" y="15"/>
                      </a:moveTo>
                      <a:cubicBezTo>
                        <a:pt x="175" y="51"/>
                        <a:pt x="175" y="51"/>
                        <a:pt x="175" y="51"/>
                      </a:cubicBezTo>
                      <a:cubicBezTo>
                        <a:pt x="135" y="51"/>
                        <a:pt x="135" y="51"/>
                        <a:pt x="135" y="51"/>
                      </a:cubicBezTo>
                      <a:lnTo>
                        <a:pt x="154" y="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0" name="Freeform 99"/>
                <p:cNvSpPr/>
                <p:nvPr/>
              </p:nvSpPr>
              <p:spPr bwMode="auto">
                <a:xfrm>
                  <a:off x="3860800" y="-1782763"/>
                  <a:ext cx="581025" cy="98425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1" name="Freeform 100"/>
                <p:cNvSpPr>
                  <a:spLocks noEditPoints="1"/>
                </p:cNvSpPr>
                <p:nvPr/>
              </p:nvSpPr>
              <p:spPr bwMode="auto">
                <a:xfrm>
                  <a:off x="4006850" y="-3252788"/>
                  <a:ext cx="277813" cy="1447800"/>
                </a:xfrm>
                <a:custGeom>
                  <a:avLst/>
                  <a:gdLst>
                    <a:gd name="T0" fmla="*/ 2147483646 w 74"/>
                    <a:gd name="T1" fmla="*/ 2147483646 h 386"/>
                    <a:gd name="T2" fmla="*/ 2147483646 w 74"/>
                    <a:gd name="T3" fmla="*/ 2147483646 h 386"/>
                    <a:gd name="T4" fmla="*/ 2147483646 w 74"/>
                    <a:gd name="T5" fmla="*/ 2147483646 h 386"/>
                    <a:gd name="T6" fmla="*/ 2147483646 w 74"/>
                    <a:gd name="T7" fmla="*/ 2147483646 h 386"/>
                    <a:gd name="T8" fmla="*/ 2147483646 w 74"/>
                    <a:gd name="T9" fmla="*/ 2147483646 h 386"/>
                    <a:gd name="T10" fmla="*/ 2147483646 w 74"/>
                    <a:gd name="T11" fmla="*/ 0 h 386"/>
                    <a:gd name="T12" fmla="*/ 2147483646 w 74"/>
                    <a:gd name="T13" fmla="*/ 0 h 386"/>
                    <a:gd name="T14" fmla="*/ 0 w 74"/>
                    <a:gd name="T15" fmla="*/ 2147483646 h 386"/>
                    <a:gd name="T16" fmla="*/ 0 w 74"/>
                    <a:gd name="T17" fmla="*/ 2147483646 h 386"/>
                    <a:gd name="T18" fmla="*/ 2147483646 w 74"/>
                    <a:gd name="T19" fmla="*/ 2147483646 h 386"/>
                    <a:gd name="T20" fmla="*/ 2147483646 w 74"/>
                    <a:gd name="T21" fmla="*/ 2147483646 h 386"/>
                    <a:gd name="T22" fmla="*/ 2147483646 w 74"/>
                    <a:gd name="T23" fmla="*/ 2147483646 h 386"/>
                    <a:gd name="T24" fmla="*/ 2147483646 w 74"/>
                    <a:gd name="T25" fmla="*/ 2147483646 h 386"/>
                    <a:gd name="T26" fmla="*/ 2147483646 w 74"/>
                    <a:gd name="T27" fmla="*/ 2147483646 h 386"/>
                    <a:gd name="T28" fmla="*/ 2147483646 w 74"/>
                    <a:gd name="T29" fmla="*/ 2147483646 h 386"/>
                    <a:gd name="T30" fmla="*/ 2147483646 w 74"/>
                    <a:gd name="T31" fmla="*/ 2147483646 h 386"/>
                    <a:gd name="T32" fmla="*/ 2147483646 w 74"/>
                    <a:gd name="T33" fmla="*/ 2147483646 h 386"/>
                    <a:gd name="T34" fmla="*/ 2147483646 w 74"/>
                    <a:gd name="T35" fmla="*/ 2147483646 h 386"/>
                    <a:gd name="T36" fmla="*/ 2147483646 w 74"/>
                    <a:gd name="T37" fmla="*/ 2147483646 h 386"/>
                    <a:gd name="T38" fmla="*/ 2147483646 w 74"/>
                    <a:gd name="T39" fmla="*/ 2147483646 h 386"/>
                    <a:gd name="T40" fmla="*/ 2147483646 w 74"/>
                    <a:gd name="T41" fmla="*/ 2147483646 h 386"/>
                    <a:gd name="T42" fmla="*/ 2147483646 w 74"/>
                    <a:gd name="T43" fmla="*/ 2147483646 h 386"/>
                    <a:gd name="T44" fmla="*/ 2147483646 w 74"/>
                    <a:gd name="T45" fmla="*/ 2147483646 h 386"/>
                    <a:gd name="T46" fmla="*/ 2147483646 w 74"/>
                    <a:gd name="T47" fmla="*/ 2147483646 h 386"/>
                    <a:gd name="T48" fmla="*/ 2147483646 w 74"/>
                    <a:gd name="T49" fmla="*/ 2147483646 h 386"/>
                    <a:gd name="T50" fmla="*/ 2147483646 w 74"/>
                    <a:gd name="T51" fmla="*/ 2147483646 h 386"/>
                    <a:gd name="T52" fmla="*/ 2147483646 w 74"/>
                    <a:gd name="T53" fmla="*/ 2147483646 h 386"/>
                    <a:gd name="T54" fmla="*/ 2147483646 w 74"/>
                    <a:gd name="T55" fmla="*/ 2147483646 h 386"/>
                    <a:gd name="T56" fmla="*/ 2147483646 w 74"/>
                    <a:gd name="T57" fmla="*/ 2147483646 h 386"/>
                    <a:gd name="T58" fmla="*/ 2147483646 w 74"/>
                    <a:gd name="T59" fmla="*/ 2147483646 h 386"/>
                    <a:gd name="T60" fmla="*/ 2147483646 w 74"/>
                    <a:gd name="T61" fmla="*/ 2147483646 h 386"/>
                    <a:gd name="T62" fmla="*/ 2147483646 w 74"/>
                    <a:gd name="T63" fmla="*/ 2147483646 h 386"/>
                    <a:gd name="T64" fmla="*/ 2147483646 w 74"/>
                    <a:gd name="T65" fmla="*/ 2147483646 h 386"/>
                    <a:gd name="T66" fmla="*/ 2147483646 w 74"/>
                    <a:gd name="T67" fmla="*/ 2147483646 h 386"/>
                    <a:gd name="T68" fmla="*/ 2147483646 w 74"/>
                    <a:gd name="T69" fmla="*/ 2147483646 h 386"/>
                    <a:gd name="T70" fmla="*/ 2147483646 w 74"/>
                    <a:gd name="T71" fmla="*/ 2147483646 h 386"/>
                    <a:gd name="T72" fmla="*/ 2147483646 w 74"/>
                    <a:gd name="T73" fmla="*/ 2147483646 h 386"/>
                    <a:gd name="T74" fmla="*/ 2147483646 w 74"/>
                    <a:gd name="T75" fmla="*/ 2147483646 h 386"/>
                    <a:gd name="T76" fmla="*/ 2147483646 w 74"/>
                    <a:gd name="T77" fmla="*/ 2147483646 h 386"/>
                    <a:gd name="T78" fmla="*/ 2147483646 w 74"/>
                    <a:gd name="T79" fmla="*/ 2147483646 h 38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74" h="386">
                      <a:moveTo>
                        <a:pt x="61" y="386"/>
                      </a:moveTo>
                      <a:cubicBezTo>
                        <a:pt x="74" y="386"/>
                        <a:pt x="74" y="386"/>
                        <a:pt x="74" y="386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274"/>
                        <a:pt x="74" y="274"/>
                        <a:pt x="74" y="274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386"/>
                        <a:pt x="0" y="386"/>
                        <a:pt x="0" y="386"/>
                      </a:cubicBezTo>
                      <a:cubicBezTo>
                        <a:pt x="36" y="386"/>
                        <a:pt x="36" y="386"/>
                        <a:pt x="36" y="386"/>
                      </a:cubicBezTo>
                      <a:cubicBezTo>
                        <a:pt x="61" y="369"/>
                        <a:pt x="61" y="369"/>
                        <a:pt x="61" y="369"/>
                      </a:cubicBezTo>
                      <a:lnTo>
                        <a:pt x="61" y="386"/>
                      </a:lnTo>
                      <a:close/>
                      <a:moveTo>
                        <a:pt x="61" y="256"/>
                      </a:moveTo>
                      <a:cubicBezTo>
                        <a:pt x="16" y="223"/>
                        <a:pt x="16" y="223"/>
                        <a:pt x="16" y="223"/>
                      </a:cubicBezTo>
                      <a:cubicBezTo>
                        <a:pt x="61" y="195"/>
                        <a:pt x="61" y="195"/>
                        <a:pt x="61" y="195"/>
                      </a:cubicBezTo>
                      <a:lnTo>
                        <a:pt x="61" y="256"/>
                      </a:lnTo>
                      <a:close/>
                      <a:moveTo>
                        <a:pt x="61" y="21"/>
                      </a:moveTo>
                      <a:cubicBezTo>
                        <a:pt x="61" y="82"/>
                        <a:pt x="61" y="82"/>
                        <a:pt x="61" y="82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26" y="43"/>
                        <a:pt x="57" y="24"/>
                        <a:pt x="61" y="21"/>
                      </a:cubicBezTo>
                      <a:close/>
                      <a:moveTo>
                        <a:pt x="13" y="64"/>
                      </a:moveTo>
                      <a:cubicBezTo>
                        <a:pt x="61" y="98"/>
                        <a:pt x="61" y="98"/>
                        <a:pt x="61" y="98"/>
                      </a:cubicBezTo>
                      <a:cubicBezTo>
                        <a:pt x="61" y="169"/>
                        <a:pt x="61" y="169"/>
                        <a:pt x="61" y="169"/>
                      </a:cubicBezTo>
                      <a:cubicBezTo>
                        <a:pt x="36" y="151"/>
                        <a:pt x="36" y="151"/>
                        <a:pt x="36" y="151"/>
                      </a:cubicBezTo>
                      <a:cubicBezTo>
                        <a:pt x="15" y="152"/>
                        <a:pt x="15" y="152"/>
                        <a:pt x="15" y="152"/>
                      </a:cubicBezTo>
                      <a:cubicBezTo>
                        <a:pt x="58" y="183"/>
                        <a:pt x="58" y="183"/>
                        <a:pt x="58" y="183"/>
                      </a:cubicBezTo>
                      <a:cubicBezTo>
                        <a:pt x="13" y="211"/>
                        <a:pt x="13" y="211"/>
                        <a:pt x="13" y="211"/>
                      </a:cubicBezTo>
                      <a:lnTo>
                        <a:pt x="13" y="64"/>
                      </a:lnTo>
                      <a:close/>
                      <a:moveTo>
                        <a:pt x="13" y="238"/>
                      </a:moveTo>
                      <a:cubicBezTo>
                        <a:pt x="58" y="270"/>
                        <a:pt x="58" y="270"/>
                        <a:pt x="58" y="270"/>
                      </a:cubicBezTo>
                      <a:cubicBezTo>
                        <a:pt x="13" y="298"/>
                        <a:pt x="13" y="298"/>
                        <a:pt x="13" y="298"/>
                      </a:cubicBezTo>
                      <a:lnTo>
                        <a:pt x="13" y="238"/>
                      </a:lnTo>
                      <a:close/>
                      <a:moveTo>
                        <a:pt x="13" y="385"/>
                      </a:moveTo>
                      <a:cubicBezTo>
                        <a:pt x="13" y="324"/>
                        <a:pt x="13" y="324"/>
                        <a:pt x="13" y="324"/>
                      </a:cubicBezTo>
                      <a:cubicBezTo>
                        <a:pt x="58" y="356"/>
                        <a:pt x="58" y="356"/>
                        <a:pt x="58" y="356"/>
                      </a:cubicBezTo>
                      <a:lnTo>
                        <a:pt x="13" y="385"/>
                      </a:lnTo>
                      <a:close/>
                      <a:moveTo>
                        <a:pt x="17" y="310"/>
                      </a:moveTo>
                      <a:cubicBezTo>
                        <a:pt x="61" y="283"/>
                        <a:pt x="61" y="283"/>
                        <a:pt x="61" y="283"/>
                      </a:cubicBezTo>
                      <a:cubicBezTo>
                        <a:pt x="61" y="342"/>
                        <a:pt x="61" y="342"/>
                        <a:pt x="61" y="342"/>
                      </a:cubicBezTo>
                      <a:lnTo>
                        <a:pt x="17" y="3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2" name="Freeform 101"/>
                <p:cNvSpPr/>
                <p:nvPr/>
              </p:nvSpPr>
              <p:spPr bwMode="auto">
                <a:xfrm>
                  <a:off x="3860800" y="-1647825"/>
                  <a:ext cx="581025" cy="101600"/>
                </a:xfrm>
                <a:custGeom>
                  <a:avLst/>
                  <a:gdLst>
                    <a:gd name="T0" fmla="*/ 2147483646 w 155"/>
                    <a:gd name="T1" fmla="*/ 2147483646 h 27"/>
                    <a:gd name="T2" fmla="*/ 2147483646 w 155"/>
                    <a:gd name="T3" fmla="*/ 2147483646 h 27"/>
                    <a:gd name="T4" fmla="*/ 2147483646 w 155"/>
                    <a:gd name="T5" fmla="*/ 2147483646 h 27"/>
                    <a:gd name="T6" fmla="*/ 0 w 155"/>
                    <a:gd name="T7" fmla="*/ 2147483646 h 27"/>
                    <a:gd name="T8" fmla="*/ 0 w 155"/>
                    <a:gd name="T9" fmla="*/ 2147483646 h 27"/>
                    <a:gd name="T10" fmla="*/ 2147483646 w 155"/>
                    <a:gd name="T11" fmla="*/ 0 h 27"/>
                    <a:gd name="T12" fmla="*/ 2147483646 w 155"/>
                    <a:gd name="T13" fmla="*/ 0 h 27"/>
                    <a:gd name="T14" fmla="*/ 2147483646 w 155"/>
                    <a:gd name="T15" fmla="*/ 2147483646 h 27"/>
                    <a:gd name="T16" fmla="*/ 2147483646 w 155"/>
                    <a:gd name="T17" fmla="*/ 2147483646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7">
                      <a:moveTo>
                        <a:pt x="155" y="20"/>
                      </a:moveTo>
                      <a:cubicBezTo>
                        <a:pt x="155" y="24"/>
                        <a:pt x="153" y="27"/>
                        <a:pt x="150" y="27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2" y="27"/>
                        <a:pt x="0" y="24"/>
                        <a:pt x="0" y="2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7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3" name="Freeform 102"/>
                <p:cNvSpPr/>
                <p:nvPr/>
              </p:nvSpPr>
              <p:spPr bwMode="auto">
                <a:xfrm>
                  <a:off x="3860800" y="-1508125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3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4" name="Freeform 103"/>
                <p:cNvSpPr/>
                <p:nvPr/>
              </p:nvSpPr>
              <p:spPr bwMode="auto">
                <a:xfrm>
                  <a:off x="3860800" y="-1370013"/>
                  <a:ext cx="581025" cy="96838"/>
                </a:xfrm>
                <a:custGeom>
                  <a:avLst/>
                  <a:gdLst>
                    <a:gd name="T0" fmla="*/ 2147483646 w 155"/>
                    <a:gd name="T1" fmla="*/ 2147483646 h 26"/>
                    <a:gd name="T2" fmla="*/ 2147483646 w 155"/>
                    <a:gd name="T3" fmla="*/ 2147483646 h 26"/>
                    <a:gd name="T4" fmla="*/ 2147483646 w 155"/>
                    <a:gd name="T5" fmla="*/ 2147483646 h 26"/>
                    <a:gd name="T6" fmla="*/ 0 w 155"/>
                    <a:gd name="T7" fmla="*/ 2147483646 h 26"/>
                    <a:gd name="T8" fmla="*/ 0 w 155"/>
                    <a:gd name="T9" fmla="*/ 2147483646 h 26"/>
                    <a:gd name="T10" fmla="*/ 2147483646 w 155"/>
                    <a:gd name="T11" fmla="*/ 0 h 26"/>
                    <a:gd name="T12" fmla="*/ 2147483646 w 155"/>
                    <a:gd name="T13" fmla="*/ 0 h 26"/>
                    <a:gd name="T14" fmla="*/ 2147483646 w 155"/>
                    <a:gd name="T15" fmla="*/ 2147483646 h 26"/>
                    <a:gd name="T16" fmla="*/ 2147483646 w 155"/>
                    <a:gd name="T17" fmla="*/ 2147483646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55" h="26">
                      <a:moveTo>
                        <a:pt x="155" y="20"/>
                      </a:moveTo>
                      <a:cubicBezTo>
                        <a:pt x="155" y="23"/>
                        <a:pt x="153" y="26"/>
                        <a:pt x="150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2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3" y="0"/>
                        <a:pt x="155" y="2"/>
                        <a:pt x="155" y="6"/>
                      </a:cubicBezTo>
                      <a:lnTo>
                        <a:pt x="155" y="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5" name="Freeform 104"/>
                <p:cNvSpPr/>
                <p:nvPr/>
              </p:nvSpPr>
              <p:spPr bwMode="auto">
                <a:xfrm>
                  <a:off x="3351213" y="-2085975"/>
                  <a:ext cx="187325" cy="198438"/>
                </a:xfrm>
                <a:custGeom>
                  <a:avLst/>
                  <a:gdLst>
                    <a:gd name="T0" fmla="*/ 2147483646 w 118"/>
                    <a:gd name="T1" fmla="*/ 2147483646 h 125"/>
                    <a:gd name="T2" fmla="*/ 0 w 118"/>
                    <a:gd name="T3" fmla="*/ 2147483646 h 125"/>
                    <a:gd name="T4" fmla="*/ 2147483646 w 118"/>
                    <a:gd name="T5" fmla="*/ 0 h 125"/>
                    <a:gd name="T6" fmla="*/ 2147483646 w 118"/>
                    <a:gd name="T7" fmla="*/ 2147483646 h 125"/>
                    <a:gd name="T8" fmla="*/ 2147483646 w 118"/>
                    <a:gd name="T9" fmla="*/ 2147483646 h 1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8" h="125">
                      <a:moveTo>
                        <a:pt x="11" y="125"/>
                      </a:moveTo>
                      <a:lnTo>
                        <a:pt x="0" y="116"/>
                      </a:lnTo>
                      <a:lnTo>
                        <a:pt x="108" y="0"/>
                      </a:lnTo>
                      <a:lnTo>
                        <a:pt x="118" y="12"/>
                      </a:lnTo>
                      <a:lnTo>
                        <a:pt x="11" y="1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6" name="Freeform 105"/>
                <p:cNvSpPr/>
                <p:nvPr/>
              </p:nvSpPr>
              <p:spPr bwMode="auto">
                <a:xfrm>
                  <a:off x="3481388" y="-2259013"/>
                  <a:ext cx="112713" cy="225425"/>
                </a:xfrm>
                <a:custGeom>
                  <a:avLst/>
                  <a:gdLst>
                    <a:gd name="T0" fmla="*/ 2147483646 w 30"/>
                    <a:gd name="T1" fmla="*/ 0 h 60"/>
                    <a:gd name="T2" fmla="*/ 2147483646 w 30"/>
                    <a:gd name="T3" fmla="*/ 2147483646 h 60"/>
                    <a:gd name="T4" fmla="*/ 2147483646 w 30"/>
                    <a:gd name="T5" fmla="*/ 2147483646 h 60"/>
                    <a:gd name="T6" fmla="*/ 2147483646 w 30"/>
                    <a:gd name="T7" fmla="*/ 2147483646 h 60"/>
                    <a:gd name="T8" fmla="*/ 2147483646 w 30"/>
                    <a:gd name="T9" fmla="*/ 2147483646 h 60"/>
                    <a:gd name="T10" fmla="*/ 2147483646 w 30"/>
                    <a:gd name="T11" fmla="*/ 0 h 60"/>
                    <a:gd name="T12" fmla="*/ 2147483646 w 30"/>
                    <a:gd name="T13" fmla="*/ 0 h 60"/>
                    <a:gd name="T14" fmla="*/ 2147483646 w 30"/>
                    <a:gd name="T15" fmla="*/ 2147483646 h 60"/>
                    <a:gd name="T16" fmla="*/ 2147483646 w 30"/>
                    <a:gd name="T17" fmla="*/ 2147483646 h 60"/>
                    <a:gd name="T18" fmla="*/ 2147483646 w 30"/>
                    <a:gd name="T19" fmla="*/ 2147483646 h 60"/>
                    <a:gd name="T20" fmla="*/ 0 w 30"/>
                    <a:gd name="T21" fmla="*/ 2147483646 h 60"/>
                    <a:gd name="T22" fmla="*/ 0 w 30"/>
                    <a:gd name="T23" fmla="*/ 2147483646 h 60"/>
                    <a:gd name="T24" fmla="*/ 2147483646 w 30"/>
                    <a:gd name="T25" fmla="*/ 2147483646 h 60"/>
                    <a:gd name="T26" fmla="*/ 2147483646 w 30"/>
                    <a:gd name="T27" fmla="*/ 2147483646 h 60"/>
                    <a:gd name="T28" fmla="*/ 2147483646 w 30"/>
                    <a:gd name="T29" fmla="*/ 2147483646 h 60"/>
                    <a:gd name="T30" fmla="*/ 2147483646 w 30"/>
                    <a:gd name="T31" fmla="*/ 2147483646 h 60"/>
                    <a:gd name="T32" fmla="*/ 2147483646 w 30"/>
                    <a:gd name="T33" fmla="*/ 2147483646 h 60"/>
                    <a:gd name="T34" fmla="*/ 2147483646 w 30"/>
                    <a:gd name="T35" fmla="*/ 2147483646 h 60"/>
                    <a:gd name="T36" fmla="*/ 2147483646 w 30"/>
                    <a:gd name="T37" fmla="*/ 2147483646 h 60"/>
                    <a:gd name="T38" fmla="*/ 2147483646 w 30"/>
                    <a:gd name="T39" fmla="*/ 2147483646 h 60"/>
                    <a:gd name="T40" fmla="*/ 2147483646 w 30"/>
                    <a:gd name="T41" fmla="*/ 2147483646 h 60"/>
                    <a:gd name="T42" fmla="*/ 2147483646 w 30"/>
                    <a:gd name="T43" fmla="*/ 2147483646 h 60"/>
                    <a:gd name="T44" fmla="*/ 2147483646 w 30"/>
                    <a:gd name="T45" fmla="*/ 2147483646 h 60"/>
                    <a:gd name="T46" fmla="*/ 2147483646 w 30"/>
                    <a:gd name="T47" fmla="*/ 2147483646 h 60"/>
                    <a:gd name="T48" fmla="*/ 2147483646 w 30"/>
                    <a:gd name="T49" fmla="*/ 2147483646 h 60"/>
                    <a:gd name="T50" fmla="*/ 2147483646 w 30"/>
                    <a:gd name="T51" fmla="*/ 2147483646 h 60"/>
                    <a:gd name="T52" fmla="*/ 2147483646 w 30"/>
                    <a:gd name="T53" fmla="*/ 2147483646 h 60"/>
                    <a:gd name="T54" fmla="*/ 2147483646 w 30"/>
                    <a:gd name="T55" fmla="*/ 2147483646 h 60"/>
                    <a:gd name="T56" fmla="*/ 2147483646 w 30"/>
                    <a:gd name="T57" fmla="*/ 2147483646 h 60"/>
                    <a:gd name="T58" fmla="*/ 2147483646 w 30"/>
                    <a:gd name="T59" fmla="*/ 2147483646 h 60"/>
                    <a:gd name="T60" fmla="*/ 2147483646 w 30"/>
                    <a:gd name="T61" fmla="*/ 2147483646 h 60"/>
                    <a:gd name="T62" fmla="*/ 2147483646 w 30"/>
                    <a:gd name="T63" fmla="*/ 2147483646 h 60"/>
                    <a:gd name="T64" fmla="*/ 2147483646 w 30"/>
                    <a:gd name="T65" fmla="*/ 2147483646 h 60"/>
                    <a:gd name="T66" fmla="*/ 2147483646 w 30"/>
                    <a:gd name="T67" fmla="*/ 2147483646 h 60"/>
                    <a:gd name="T68" fmla="*/ 2147483646 w 30"/>
                    <a:gd name="T69" fmla="*/ 2147483646 h 60"/>
                    <a:gd name="T70" fmla="*/ 2147483646 w 30"/>
                    <a:gd name="T71" fmla="*/ 2147483646 h 60"/>
                    <a:gd name="T72" fmla="*/ 2147483646 w 30"/>
                    <a:gd name="T73" fmla="*/ 2147483646 h 60"/>
                    <a:gd name="T74" fmla="*/ 2147483646 w 30"/>
                    <a:gd name="T75" fmla="*/ 2147483646 h 60"/>
                    <a:gd name="T76" fmla="*/ 2147483646 w 30"/>
                    <a:gd name="T77" fmla="*/ 2147483646 h 60"/>
                    <a:gd name="T78" fmla="*/ 2147483646 w 30"/>
                    <a:gd name="T79" fmla="*/ 0 h 60"/>
                    <a:gd name="T80" fmla="*/ 2147483646 w 30"/>
                    <a:gd name="T81" fmla="*/ 0 h 6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30" h="60">
                      <a:moveTo>
                        <a:pt x="21" y="0"/>
                      </a:moveTo>
                      <a:cubicBezTo>
                        <a:pt x="19" y="0"/>
                        <a:pt x="17" y="2"/>
                        <a:pt x="17" y="5"/>
                      </a:cubicBezTo>
                      <a:cubicBezTo>
                        <a:pt x="17" y="5"/>
                        <a:pt x="17" y="5"/>
                        <a:pt x="17" y="6"/>
                      </a:cubicBezTo>
                      <a:cubicBezTo>
                        <a:pt x="16" y="6"/>
                        <a:pt x="14" y="6"/>
                        <a:pt x="13" y="6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3" y="2"/>
                        <a:pt x="11" y="0"/>
                        <a:pt x="9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4" y="2"/>
                        <a:pt x="4" y="5"/>
                      </a:cubicBezTo>
                      <a:cubicBezTo>
                        <a:pt x="4" y="5"/>
                        <a:pt x="4" y="5"/>
                        <a:pt x="4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2" y="6"/>
                        <a:pt x="0" y="7"/>
                        <a:pt x="0" y="9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4"/>
                        <a:pt x="1" y="17"/>
                        <a:pt x="2" y="18"/>
                      </a:cubicBezTo>
                      <a:cubicBezTo>
                        <a:pt x="2" y="18"/>
                        <a:pt x="10" y="26"/>
                        <a:pt x="11" y="27"/>
                      </a:cubicBezTo>
                      <a:cubicBezTo>
                        <a:pt x="11" y="28"/>
                        <a:pt x="11" y="30"/>
                        <a:pt x="11" y="30"/>
                      </a:cubicBezTo>
                      <a:cubicBezTo>
                        <a:pt x="11" y="30"/>
                        <a:pt x="10" y="31"/>
                        <a:pt x="10" y="31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5" y="36"/>
                        <a:pt x="1" y="40"/>
                        <a:pt x="1" y="46"/>
                      </a:cubicBezTo>
                      <a:cubicBezTo>
                        <a:pt x="1" y="48"/>
                        <a:pt x="2" y="50"/>
                        <a:pt x="3" y="53"/>
                      </a:cubicBezTo>
                      <a:cubicBezTo>
                        <a:pt x="5" y="57"/>
                        <a:pt x="7" y="59"/>
                        <a:pt x="10" y="60"/>
                      </a:cubicBezTo>
                      <a:cubicBezTo>
                        <a:pt x="13" y="60"/>
                        <a:pt x="16" y="59"/>
                        <a:pt x="19" y="57"/>
                      </a:cubicBezTo>
                      <a:cubicBezTo>
                        <a:pt x="24" y="54"/>
                        <a:pt x="25" y="48"/>
                        <a:pt x="26" y="43"/>
                      </a:cubicBezTo>
                      <a:cubicBezTo>
                        <a:pt x="26" y="42"/>
                        <a:pt x="26" y="40"/>
                        <a:pt x="27" y="39"/>
                      </a:cubicBezTo>
                      <a:cubicBezTo>
                        <a:pt x="27" y="38"/>
                        <a:pt x="27" y="36"/>
                        <a:pt x="27" y="35"/>
                      </a:cubicBezTo>
                      <a:cubicBezTo>
                        <a:pt x="26" y="34"/>
                        <a:pt x="25" y="35"/>
                        <a:pt x="24" y="35"/>
                      </a:cubicBezTo>
                      <a:cubicBezTo>
                        <a:pt x="21" y="35"/>
                        <a:pt x="20" y="39"/>
                        <a:pt x="19" y="42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7" y="45"/>
                        <a:pt x="16" y="46"/>
                        <a:pt x="15" y="46"/>
                      </a:cubicBezTo>
                      <a:cubicBezTo>
                        <a:pt x="14" y="46"/>
                        <a:pt x="14" y="46"/>
                        <a:pt x="13" y="45"/>
                      </a:cubicBezTo>
                      <a:cubicBezTo>
                        <a:pt x="12" y="44"/>
                        <a:pt x="12" y="43"/>
                        <a:pt x="12" y="43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3" y="40"/>
                        <a:pt x="14" y="39"/>
                        <a:pt x="15" y="38"/>
                      </a:cubicBezTo>
                      <a:cubicBezTo>
                        <a:pt x="18" y="37"/>
                        <a:pt x="19" y="31"/>
                        <a:pt x="19" y="27"/>
                      </a:cubicBezTo>
                      <a:cubicBezTo>
                        <a:pt x="20" y="26"/>
                        <a:pt x="28" y="18"/>
                        <a:pt x="28" y="18"/>
                      </a:cubicBezTo>
                      <a:cubicBezTo>
                        <a:pt x="29" y="17"/>
                        <a:pt x="30" y="14"/>
                        <a:pt x="30" y="13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30" y="7"/>
                        <a:pt x="28" y="6"/>
                        <a:pt x="26" y="6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5"/>
                        <a:pt x="26" y="5"/>
                        <a:pt x="26" y="5"/>
                      </a:cubicBezTo>
                      <a:cubicBezTo>
                        <a:pt x="26" y="2"/>
                        <a:pt x="24" y="0"/>
                        <a:pt x="23" y="0"/>
                      </a:cubicBez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7" name="Freeform 106"/>
                <p:cNvSpPr/>
                <p:nvPr/>
              </p:nvSpPr>
              <p:spPr bwMode="auto">
                <a:xfrm>
                  <a:off x="3541713" y="-2097088"/>
                  <a:ext cx="30163" cy="36513"/>
                </a:xfrm>
                <a:custGeom>
                  <a:avLst/>
                  <a:gdLst>
                    <a:gd name="T0" fmla="*/ 2147483646 w 8"/>
                    <a:gd name="T1" fmla="*/ 2147483646 h 10"/>
                    <a:gd name="T2" fmla="*/ 2147483646 w 8"/>
                    <a:gd name="T3" fmla="*/ 2147483646 h 10"/>
                    <a:gd name="T4" fmla="*/ 2147483646 w 8"/>
                    <a:gd name="T5" fmla="*/ 0 h 10"/>
                    <a:gd name="T6" fmla="*/ 2147483646 w 8"/>
                    <a:gd name="T7" fmla="*/ 2147483646 h 10"/>
                    <a:gd name="T8" fmla="*/ 0 w 8"/>
                    <a:gd name="T9" fmla="*/ 2147483646 h 10"/>
                    <a:gd name="T10" fmla="*/ 2147483646 w 8"/>
                    <a:gd name="T11" fmla="*/ 2147483646 h 10"/>
                    <a:gd name="T12" fmla="*/ 2147483646 w 8"/>
                    <a:gd name="T13" fmla="*/ 2147483646 h 10"/>
                    <a:gd name="T14" fmla="*/ 2147483646 w 8"/>
                    <a:gd name="T15" fmla="*/ 2147483646 h 1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8" h="10">
                      <a:moveTo>
                        <a:pt x="8" y="4"/>
                      </a:moveTo>
                      <a:cubicBezTo>
                        <a:pt x="7" y="3"/>
                        <a:pt x="6" y="2"/>
                        <a:pt x="6" y="2"/>
                      </a:cubicBezTo>
                      <a:cubicBezTo>
                        <a:pt x="5" y="1"/>
                        <a:pt x="4" y="1"/>
                        <a:pt x="4" y="0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3"/>
                        <a:pt x="1" y="4"/>
                        <a:pt x="0" y="4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6" y="8"/>
                        <a:pt x="7" y="6"/>
                        <a:pt x="8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8" name="Freeform 107"/>
                <p:cNvSpPr/>
                <p:nvPr/>
              </p:nvSpPr>
              <p:spPr bwMode="auto">
                <a:xfrm>
                  <a:off x="3533775" y="-2097088"/>
                  <a:ext cx="188913" cy="212725"/>
                </a:xfrm>
                <a:custGeom>
                  <a:avLst/>
                  <a:gdLst>
                    <a:gd name="T0" fmla="*/ 2147483646 w 50"/>
                    <a:gd name="T1" fmla="*/ 2147483646 h 57"/>
                    <a:gd name="T2" fmla="*/ 0 w 50"/>
                    <a:gd name="T3" fmla="*/ 2147483646 h 57"/>
                    <a:gd name="T4" fmla="*/ 2147483646 w 50"/>
                    <a:gd name="T5" fmla="*/ 2147483646 h 57"/>
                    <a:gd name="T6" fmla="*/ 2147483646 w 50"/>
                    <a:gd name="T7" fmla="*/ 2147483646 h 57"/>
                    <a:gd name="T8" fmla="*/ 2147483646 w 50"/>
                    <a:gd name="T9" fmla="*/ 2147483646 h 57"/>
                    <a:gd name="T10" fmla="*/ 2147483646 w 50"/>
                    <a:gd name="T11" fmla="*/ 2147483646 h 57"/>
                    <a:gd name="T12" fmla="*/ 2147483646 w 50"/>
                    <a:gd name="T13" fmla="*/ 2147483646 h 5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0" h="57">
                      <a:moveTo>
                        <a:pt x="2" y="6"/>
                      </a:moveTo>
                      <a:cubicBezTo>
                        <a:pt x="2" y="6"/>
                        <a:pt x="1" y="4"/>
                        <a:pt x="0" y="3"/>
                      </a:cubicBezTo>
                      <a:cubicBezTo>
                        <a:pt x="0" y="2"/>
                        <a:pt x="2" y="0"/>
                        <a:pt x="3" y="1"/>
                      </a:cubicBezTo>
                      <a:cubicBezTo>
                        <a:pt x="5" y="1"/>
                        <a:pt x="6" y="1"/>
                        <a:pt x="7" y="2"/>
                      </a:cubicBezTo>
                      <a:cubicBezTo>
                        <a:pt x="9" y="4"/>
                        <a:pt x="50" y="52"/>
                        <a:pt x="50" y="52"/>
                      </a:cubicBezTo>
                      <a:cubicBezTo>
                        <a:pt x="46" y="57"/>
                        <a:pt x="46" y="57"/>
                        <a:pt x="46" y="57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29" name="Freeform 108"/>
                <p:cNvSpPr/>
                <p:nvPr/>
              </p:nvSpPr>
              <p:spPr bwMode="auto">
                <a:xfrm>
                  <a:off x="4576763" y="-2952750"/>
                  <a:ext cx="292100" cy="363538"/>
                </a:xfrm>
                <a:custGeom>
                  <a:avLst/>
                  <a:gdLst>
                    <a:gd name="T0" fmla="*/ 2147483646 w 78"/>
                    <a:gd name="T1" fmla="*/ 2147483646 h 97"/>
                    <a:gd name="T2" fmla="*/ 2147483646 w 78"/>
                    <a:gd name="T3" fmla="*/ 2147483646 h 97"/>
                    <a:gd name="T4" fmla="*/ 2147483646 w 78"/>
                    <a:gd name="T5" fmla="*/ 2147483646 h 97"/>
                    <a:gd name="T6" fmla="*/ 0 w 78"/>
                    <a:gd name="T7" fmla="*/ 2147483646 h 97"/>
                    <a:gd name="T8" fmla="*/ 0 w 78"/>
                    <a:gd name="T9" fmla="*/ 2147483646 h 97"/>
                    <a:gd name="T10" fmla="*/ 2147483646 w 78"/>
                    <a:gd name="T11" fmla="*/ 0 h 97"/>
                    <a:gd name="T12" fmla="*/ 2147483646 w 78"/>
                    <a:gd name="T13" fmla="*/ 0 h 97"/>
                    <a:gd name="T14" fmla="*/ 2147483646 w 78"/>
                    <a:gd name="T15" fmla="*/ 2147483646 h 97"/>
                    <a:gd name="T16" fmla="*/ 2147483646 w 78"/>
                    <a:gd name="T17" fmla="*/ 2147483646 h 9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8" h="97">
                      <a:moveTo>
                        <a:pt x="78" y="87"/>
                      </a:moveTo>
                      <a:cubicBezTo>
                        <a:pt x="78" y="93"/>
                        <a:pt x="73" y="97"/>
                        <a:pt x="68" y="97"/>
                      </a:cubicBezTo>
                      <a:cubicBezTo>
                        <a:pt x="10" y="97"/>
                        <a:pt x="10" y="97"/>
                        <a:pt x="10" y="97"/>
                      </a:cubicBezTo>
                      <a:cubicBezTo>
                        <a:pt x="4" y="97"/>
                        <a:pt x="0" y="93"/>
                        <a:pt x="0" y="87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73" y="0"/>
                        <a:pt x="78" y="4"/>
                        <a:pt x="78" y="10"/>
                      </a:cubicBezTo>
                      <a:lnTo>
                        <a:pt x="78" y="8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30" name="Rectangle 109"/>
                <p:cNvSpPr>
                  <a:spLocks noChangeArrowheads="1"/>
                </p:cNvSpPr>
                <p:nvPr/>
              </p:nvSpPr>
              <p:spPr bwMode="auto">
                <a:xfrm>
                  <a:off x="3340100" y="-1920875"/>
                  <a:ext cx="396875" cy="11588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31" name="Freeform 110"/>
                <p:cNvSpPr/>
                <p:nvPr/>
              </p:nvSpPr>
              <p:spPr bwMode="auto">
                <a:xfrm>
                  <a:off x="3340100" y="-1920875"/>
                  <a:ext cx="369888" cy="115888"/>
                </a:xfrm>
                <a:custGeom>
                  <a:avLst/>
                  <a:gdLst>
                    <a:gd name="T0" fmla="*/ 0 w 99"/>
                    <a:gd name="T1" fmla="*/ 0 h 31"/>
                    <a:gd name="T2" fmla="*/ 0 w 99"/>
                    <a:gd name="T3" fmla="*/ 2147483646 h 31"/>
                    <a:gd name="T4" fmla="*/ 2147483646 w 99"/>
                    <a:gd name="T5" fmla="*/ 2147483646 h 31"/>
                    <a:gd name="T6" fmla="*/ 2147483646 w 99"/>
                    <a:gd name="T7" fmla="*/ 0 h 31"/>
                    <a:gd name="T8" fmla="*/ 0 w 99"/>
                    <a:gd name="T9" fmla="*/ 0 h 3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99" h="31">
                      <a:moveTo>
                        <a:pt x="0" y="0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25" y="10"/>
                        <a:pt x="79" y="3"/>
                        <a:pt x="9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4581" name="组合 114"/>
          <p:cNvGrpSpPr/>
          <p:nvPr/>
        </p:nvGrpSpPr>
        <p:grpSpPr bwMode="auto">
          <a:xfrm>
            <a:off x="5346700" y="2654300"/>
            <a:ext cx="1438275" cy="1635125"/>
            <a:chOff x="5467036" y="2927173"/>
            <a:chExt cx="1438770" cy="1636085"/>
          </a:xfrm>
        </p:grpSpPr>
        <p:sp>
          <p:nvSpPr>
            <p:cNvPr id="116" name="Rectangle 7"/>
            <p:cNvSpPr/>
            <p:nvPr/>
          </p:nvSpPr>
          <p:spPr bwMode="auto">
            <a:xfrm>
              <a:off x="5467036" y="2927173"/>
              <a:ext cx="1438770" cy="1636085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4598" name="矩形 116"/>
            <p:cNvSpPr>
              <a:spLocks noChangeArrowheads="1"/>
            </p:cNvSpPr>
            <p:nvPr/>
          </p:nvSpPr>
          <p:spPr bwMode="auto">
            <a:xfrm>
              <a:off x="5511501" y="3873878"/>
              <a:ext cx="1349839" cy="646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599" name="组合 7221"/>
            <p:cNvGrpSpPr/>
            <p:nvPr/>
          </p:nvGrpSpPr>
          <p:grpSpPr bwMode="auto">
            <a:xfrm>
              <a:off x="5776704" y="3028833"/>
              <a:ext cx="819431" cy="821220"/>
              <a:chOff x="9933792" y="-3468717"/>
              <a:chExt cx="2571725" cy="2577339"/>
            </a:xfrm>
          </p:grpSpPr>
          <p:sp>
            <p:nvSpPr>
              <p:cNvPr id="119" name="Freeform 111"/>
              <p:cNvSpPr/>
              <p:nvPr/>
            </p:nvSpPr>
            <p:spPr bwMode="auto">
              <a:xfrm>
                <a:off x="9933798" y="-3468717"/>
                <a:ext cx="2571728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601" name="组合 7216"/>
              <p:cNvGrpSpPr/>
              <p:nvPr/>
            </p:nvGrpSpPr>
            <p:grpSpPr bwMode="auto">
              <a:xfrm>
                <a:off x="10787063" y="-3241675"/>
                <a:ext cx="1173163" cy="1833563"/>
                <a:chOff x="10787063" y="-3241675"/>
                <a:chExt cx="1173163" cy="1833563"/>
              </a:xfrm>
            </p:grpSpPr>
            <p:sp>
              <p:nvSpPr>
                <p:cNvPr id="24602" name="Freeform 113"/>
                <p:cNvSpPr/>
                <p:nvPr/>
              </p:nvSpPr>
              <p:spPr bwMode="auto">
                <a:xfrm>
                  <a:off x="11180763" y="-2562225"/>
                  <a:ext cx="127000" cy="123825"/>
                </a:xfrm>
                <a:custGeom>
                  <a:avLst/>
                  <a:gdLst>
                    <a:gd name="T0" fmla="*/ 2147483646 w 80"/>
                    <a:gd name="T1" fmla="*/ 2147483646 h 78"/>
                    <a:gd name="T2" fmla="*/ 2147483646 w 80"/>
                    <a:gd name="T3" fmla="*/ 2147483646 h 78"/>
                    <a:gd name="T4" fmla="*/ 2147483646 w 80"/>
                    <a:gd name="T5" fmla="*/ 0 h 78"/>
                    <a:gd name="T6" fmla="*/ 2147483646 w 80"/>
                    <a:gd name="T7" fmla="*/ 0 h 78"/>
                    <a:gd name="T8" fmla="*/ 0 w 80"/>
                    <a:gd name="T9" fmla="*/ 2147483646 h 78"/>
                    <a:gd name="T10" fmla="*/ 2147483646 w 80"/>
                    <a:gd name="T11" fmla="*/ 2147483646 h 78"/>
                    <a:gd name="T12" fmla="*/ 2147483646 w 80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0" h="78">
                      <a:moveTo>
                        <a:pt x="80" y="78"/>
                      </a:moveTo>
                      <a:lnTo>
                        <a:pt x="80" y="78"/>
                      </a:lnTo>
                      <a:lnTo>
                        <a:pt x="71" y="0"/>
                      </a:lnTo>
                      <a:lnTo>
                        <a:pt x="9" y="0"/>
                      </a:lnTo>
                      <a:lnTo>
                        <a:pt x="0" y="78"/>
                      </a:lnTo>
                      <a:lnTo>
                        <a:pt x="8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3" name="Freeform 114"/>
                <p:cNvSpPr/>
                <p:nvPr/>
              </p:nvSpPr>
              <p:spPr bwMode="auto">
                <a:xfrm>
                  <a:off x="11095038" y="-2390775"/>
                  <a:ext cx="303213" cy="712788"/>
                </a:xfrm>
                <a:custGeom>
                  <a:avLst/>
                  <a:gdLst>
                    <a:gd name="T0" fmla="*/ 2147483646 w 191"/>
                    <a:gd name="T1" fmla="*/ 0 h 449"/>
                    <a:gd name="T2" fmla="*/ 2147483646 w 191"/>
                    <a:gd name="T3" fmla="*/ 2147483646 h 449"/>
                    <a:gd name="T4" fmla="*/ 2147483646 w 191"/>
                    <a:gd name="T5" fmla="*/ 2147483646 h 449"/>
                    <a:gd name="T6" fmla="*/ 0 w 191"/>
                    <a:gd name="T7" fmla="*/ 2147483646 h 449"/>
                    <a:gd name="T8" fmla="*/ 2147483646 w 191"/>
                    <a:gd name="T9" fmla="*/ 2147483646 h 449"/>
                    <a:gd name="T10" fmla="*/ 2147483646 w 191"/>
                    <a:gd name="T11" fmla="*/ 0 h 449"/>
                    <a:gd name="T12" fmla="*/ 2147483646 w 191"/>
                    <a:gd name="T13" fmla="*/ 0 h 44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1" h="449">
                      <a:moveTo>
                        <a:pt x="137" y="0"/>
                      </a:moveTo>
                      <a:lnTo>
                        <a:pt x="137" y="3"/>
                      </a:lnTo>
                      <a:lnTo>
                        <a:pt x="52" y="3"/>
                      </a:lnTo>
                      <a:lnTo>
                        <a:pt x="0" y="449"/>
                      </a:lnTo>
                      <a:lnTo>
                        <a:pt x="191" y="449"/>
                      </a:lnTo>
                      <a:lnTo>
                        <a:pt x="13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4" name="Freeform 115"/>
                <p:cNvSpPr/>
                <p:nvPr/>
              </p:nvSpPr>
              <p:spPr bwMode="auto">
                <a:xfrm>
                  <a:off x="10880725" y="-2562225"/>
                  <a:ext cx="123825" cy="123825"/>
                </a:xfrm>
                <a:custGeom>
                  <a:avLst/>
                  <a:gdLst>
                    <a:gd name="T0" fmla="*/ 0 w 78"/>
                    <a:gd name="T1" fmla="*/ 2147483646 h 78"/>
                    <a:gd name="T2" fmla="*/ 0 w 78"/>
                    <a:gd name="T3" fmla="*/ 2147483646 h 78"/>
                    <a:gd name="T4" fmla="*/ 2147483646 w 78"/>
                    <a:gd name="T5" fmla="*/ 2147483646 h 78"/>
                    <a:gd name="T6" fmla="*/ 2147483646 w 78"/>
                    <a:gd name="T7" fmla="*/ 0 h 78"/>
                    <a:gd name="T8" fmla="*/ 2147483646 w 78"/>
                    <a:gd name="T9" fmla="*/ 0 h 78"/>
                    <a:gd name="T10" fmla="*/ 0 w 78"/>
                    <a:gd name="T11" fmla="*/ 2147483646 h 78"/>
                    <a:gd name="T12" fmla="*/ 0 w 78"/>
                    <a:gd name="T13" fmla="*/ 2147483646 h 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78" h="78">
                      <a:moveTo>
                        <a:pt x="0" y="78"/>
                      </a:moveTo>
                      <a:lnTo>
                        <a:pt x="0" y="78"/>
                      </a:lnTo>
                      <a:lnTo>
                        <a:pt x="78" y="78"/>
                      </a:lnTo>
                      <a:lnTo>
                        <a:pt x="71" y="0"/>
                      </a:lnTo>
                      <a:lnTo>
                        <a:pt x="10" y="0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5" name="Freeform 116"/>
                <p:cNvSpPr/>
                <p:nvPr/>
              </p:nvSpPr>
              <p:spPr bwMode="auto">
                <a:xfrm>
                  <a:off x="10790238" y="-2386013"/>
                  <a:ext cx="304800" cy="708025"/>
                </a:xfrm>
                <a:custGeom>
                  <a:avLst/>
                  <a:gdLst>
                    <a:gd name="T0" fmla="*/ 2147483646 w 192"/>
                    <a:gd name="T1" fmla="*/ 0 h 446"/>
                    <a:gd name="T2" fmla="*/ 2147483646 w 192"/>
                    <a:gd name="T3" fmla="*/ 0 h 446"/>
                    <a:gd name="T4" fmla="*/ 2147483646 w 192"/>
                    <a:gd name="T5" fmla="*/ 0 h 446"/>
                    <a:gd name="T6" fmla="*/ 2147483646 w 192"/>
                    <a:gd name="T7" fmla="*/ 0 h 446"/>
                    <a:gd name="T8" fmla="*/ 0 w 192"/>
                    <a:gd name="T9" fmla="*/ 2147483646 h 446"/>
                    <a:gd name="T10" fmla="*/ 2147483646 w 192"/>
                    <a:gd name="T11" fmla="*/ 2147483646 h 446"/>
                    <a:gd name="T12" fmla="*/ 2147483646 w 192"/>
                    <a:gd name="T13" fmla="*/ 0 h 44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2" h="446">
                      <a:moveTo>
                        <a:pt x="140" y="0"/>
                      </a:moveTo>
                      <a:lnTo>
                        <a:pt x="52" y="0"/>
                      </a:lnTo>
                      <a:lnTo>
                        <a:pt x="0" y="446"/>
                      </a:lnTo>
                      <a:lnTo>
                        <a:pt x="192" y="446"/>
                      </a:lnTo>
                      <a:lnTo>
                        <a:pt x="14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6" name="Freeform 117"/>
                <p:cNvSpPr/>
                <p:nvPr/>
              </p:nvSpPr>
              <p:spPr bwMode="auto">
                <a:xfrm>
                  <a:off x="11087100" y="-3241675"/>
                  <a:ext cx="319088" cy="622300"/>
                </a:xfrm>
                <a:custGeom>
                  <a:avLst/>
                  <a:gdLst>
                    <a:gd name="T0" fmla="*/ 2147483646 w 85"/>
                    <a:gd name="T1" fmla="*/ 2147483646 h 166"/>
                    <a:gd name="T2" fmla="*/ 2147483646 w 85"/>
                    <a:gd name="T3" fmla="*/ 2147483646 h 166"/>
                    <a:gd name="T4" fmla="*/ 2147483646 w 85"/>
                    <a:gd name="T5" fmla="*/ 2147483646 h 166"/>
                    <a:gd name="T6" fmla="*/ 2147483646 w 85"/>
                    <a:gd name="T7" fmla="*/ 0 h 166"/>
                    <a:gd name="T8" fmla="*/ 2147483646 w 85"/>
                    <a:gd name="T9" fmla="*/ 2147483646 h 166"/>
                    <a:gd name="T10" fmla="*/ 2147483646 w 85"/>
                    <a:gd name="T11" fmla="*/ 2147483646 h 166"/>
                    <a:gd name="T12" fmla="*/ 2147483646 w 85"/>
                    <a:gd name="T13" fmla="*/ 2147483646 h 16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5" h="166">
                      <a:moveTo>
                        <a:pt x="33" y="166"/>
                      </a:moveTo>
                      <a:cubicBezTo>
                        <a:pt x="33" y="166"/>
                        <a:pt x="0" y="145"/>
                        <a:pt x="15" y="124"/>
                      </a:cubicBezTo>
                      <a:cubicBezTo>
                        <a:pt x="29" y="104"/>
                        <a:pt x="52" y="81"/>
                        <a:pt x="36" y="62"/>
                      </a:cubicBezTo>
                      <a:cubicBezTo>
                        <a:pt x="19" y="43"/>
                        <a:pt x="21" y="27"/>
                        <a:pt x="40" y="0"/>
                      </a:cubicBezTo>
                      <a:cubicBezTo>
                        <a:pt x="40" y="0"/>
                        <a:pt x="25" y="24"/>
                        <a:pt x="48" y="37"/>
                      </a:cubicBezTo>
                      <a:cubicBezTo>
                        <a:pt x="72" y="50"/>
                        <a:pt x="85" y="75"/>
                        <a:pt x="70" y="91"/>
                      </a:cubicBezTo>
                      <a:cubicBezTo>
                        <a:pt x="55" y="106"/>
                        <a:pt x="17" y="125"/>
                        <a:pt x="33" y="1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7" name="Freeform 118"/>
                <p:cNvSpPr/>
                <p:nvPr/>
              </p:nvSpPr>
              <p:spPr bwMode="auto">
                <a:xfrm>
                  <a:off x="10806113" y="-3057525"/>
                  <a:ext cx="217488" cy="449263"/>
                </a:xfrm>
                <a:custGeom>
                  <a:avLst/>
                  <a:gdLst>
                    <a:gd name="T0" fmla="*/ 2147483646 w 58"/>
                    <a:gd name="T1" fmla="*/ 2147483646 h 120"/>
                    <a:gd name="T2" fmla="*/ 2147483646 w 58"/>
                    <a:gd name="T3" fmla="*/ 2147483646 h 120"/>
                    <a:gd name="T4" fmla="*/ 2147483646 w 58"/>
                    <a:gd name="T5" fmla="*/ 0 h 120"/>
                    <a:gd name="T6" fmla="*/ 2147483646 w 58"/>
                    <a:gd name="T7" fmla="*/ 2147483646 h 120"/>
                    <a:gd name="T8" fmla="*/ 2147483646 w 58"/>
                    <a:gd name="T9" fmla="*/ 2147483646 h 12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8" h="120">
                      <a:moveTo>
                        <a:pt x="28" y="120"/>
                      </a:moveTo>
                      <a:cubicBezTo>
                        <a:pt x="28" y="120"/>
                        <a:pt x="0" y="100"/>
                        <a:pt x="17" y="78"/>
                      </a:cubicBezTo>
                      <a:cubicBezTo>
                        <a:pt x="35" y="56"/>
                        <a:pt x="52" y="34"/>
                        <a:pt x="37" y="0"/>
                      </a:cubicBezTo>
                      <a:cubicBezTo>
                        <a:pt x="37" y="0"/>
                        <a:pt x="58" y="19"/>
                        <a:pt x="55" y="47"/>
                      </a:cubicBezTo>
                      <a:cubicBezTo>
                        <a:pt x="51" y="75"/>
                        <a:pt x="12" y="84"/>
                        <a:pt x="28" y="1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608" name="Freeform 119"/>
                <p:cNvSpPr>
                  <a:spLocks noEditPoints="1"/>
                </p:cNvSpPr>
                <p:nvPr/>
              </p:nvSpPr>
              <p:spPr bwMode="auto">
                <a:xfrm>
                  <a:off x="10787063" y="-1898650"/>
                  <a:ext cx="1173163" cy="490538"/>
                </a:xfrm>
                <a:custGeom>
                  <a:avLst/>
                  <a:gdLst>
                    <a:gd name="T0" fmla="*/ 2147483646 w 313"/>
                    <a:gd name="T1" fmla="*/ 0 h 131"/>
                    <a:gd name="T2" fmla="*/ 2147483646 w 313"/>
                    <a:gd name="T3" fmla="*/ 0 h 131"/>
                    <a:gd name="T4" fmla="*/ 0 w 313"/>
                    <a:gd name="T5" fmla="*/ 2147483646 h 131"/>
                    <a:gd name="T6" fmla="*/ 0 w 313"/>
                    <a:gd name="T7" fmla="*/ 2147483646 h 131"/>
                    <a:gd name="T8" fmla="*/ 2147483646 w 313"/>
                    <a:gd name="T9" fmla="*/ 2147483646 h 131"/>
                    <a:gd name="T10" fmla="*/ 2147483646 w 313"/>
                    <a:gd name="T11" fmla="*/ 2147483646 h 131"/>
                    <a:gd name="T12" fmla="*/ 2147483646 w 313"/>
                    <a:gd name="T13" fmla="*/ 0 h 131"/>
                    <a:gd name="T14" fmla="*/ 2147483646 w 313"/>
                    <a:gd name="T15" fmla="*/ 2147483646 h 131"/>
                    <a:gd name="T16" fmla="*/ 2147483646 w 313"/>
                    <a:gd name="T17" fmla="*/ 2147483646 h 131"/>
                    <a:gd name="T18" fmla="*/ 2147483646 w 313"/>
                    <a:gd name="T19" fmla="*/ 2147483646 h 131"/>
                    <a:gd name="T20" fmla="*/ 2147483646 w 313"/>
                    <a:gd name="T21" fmla="*/ 2147483646 h 131"/>
                    <a:gd name="T22" fmla="*/ 2147483646 w 313"/>
                    <a:gd name="T23" fmla="*/ 2147483646 h 131"/>
                    <a:gd name="T24" fmla="*/ 2147483646 w 313"/>
                    <a:gd name="T25" fmla="*/ 2147483646 h 131"/>
                    <a:gd name="T26" fmla="*/ 2147483646 w 313"/>
                    <a:gd name="T27" fmla="*/ 2147483646 h 131"/>
                    <a:gd name="T28" fmla="*/ 2147483646 w 313"/>
                    <a:gd name="T29" fmla="*/ 2147483646 h 131"/>
                    <a:gd name="T30" fmla="*/ 2147483646 w 313"/>
                    <a:gd name="T31" fmla="*/ 2147483646 h 131"/>
                    <a:gd name="T32" fmla="*/ 2147483646 w 313"/>
                    <a:gd name="T33" fmla="*/ 2147483646 h 131"/>
                    <a:gd name="T34" fmla="*/ 2147483646 w 313"/>
                    <a:gd name="T35" fmla="*/ 2147483646 h 131"/>
                    <a:gd name="T36" fmla="*/ 2147483646 w 313"/>
                    <a:gd name="T37" fmla="*/ 2147483646 h 131"/>
                    <a:gd name="T38" fmla="*/ 2147483646 w 313"/>
                    <a:gd name="T39" fmla="*/ 2147483646 h 131"/>
                    <a:gd name="T40" fmla="*/ 2147483646 w 313"/>
                    <a:gd name="T41" fmla="*/ 2147483646 h 131"/>
                    <a:gd name="T42" fmla="*/ 2147483646 w 313"/>
                    <a:gd name="T43" fmla="*/ 2147483646 h 131"/>
                    <a:gd name="T44" fmla="*/ 2147483646 w 313"/>
                    <a:gd name="T45" fmla="*/ 2147483646 h 131"/>
                    <a:gd name="T46" fmla="*/ 2147483646 w 313"/>
                    <a:gd name="T47" fmla="*/ 2147483646 h 131"/>
                    <a:gd name="T48" fmla="*/ 2147483646 w 313"/>
                    <a:gd name="T49" fmla="*/ 2147483646 h 1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313" h="131">
                      <a:moveTo>
                        <a:pt x="300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6" y="0"/>
                        <a:pt x="0" y="7"/>
                        <a:pt x="0" y="15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313" y="131"/>
                        <a:pt x="313" y="131"/>
                        <a:pt x="313" y="131"/>
                      </a:cubicBezTo>
                      <a:cubicBezTo>
                        <a:pt x="313" y="15"/>
                        <a:pt x="313" y="15"/>
                        <a:pt x="313" y="15"/>
                      </a:cubicBezTo>
                      <a:cubicBezTo>
                        <a:pt x="313" y="7"/>
                        <a:pt x="307" y="0"/>
                        <a:pt x="300" y="0"/>
                      </a:cubicBezTo>
                      <a:close/>
                      <a:moveTo>
                        <a:pt x="222" y="58"/>
                      </a:moveTo>
                      <a:cubicBezTo>
                        <a:pt x="222" y="61"/>
                        <a:pt x="220" y="64"/>
                        <a:pt x="216" y="64"/>
                      </a:cubicBezTo>
                      <a:cubicBezTo>
                        <a:pt x="178" y="64"/>
                        <a:pt x="178" y="64"/>
                        <a:pt x="178" y="64"/>
                      </a:cubicBezTo>
                      <a:cubicBezTo>
                        <a:pt x="175" y="64"/>
                        <a:pt x="172" y="61"/>
                        <a:pt x="172" y="58"/>
                      </a:cubicBezTo>
                      <a:cubicBezTo>
                        <a:pt x="172" y="24"/>
                        <a:pt x="172" y="24"/>
                        <a:pt x="172" y="24"/>
                      </a:cubicBezTo>
                      <a:cubicBezTo>
                        <a:pt x="172" y="20"/>
                        <a:pt x="175" y="18"/>
                        <a:pt x="178" y="18"/>
                      </a:cubicBezTo>
                      <a:cubicBezTo>
                        <a:pt x="216" y="18"/>
                        <a:pt x="216" y="18"/>
                        <a:pt x="216" y="18"/>
                      </a:cubicBezTo>
                      <a:cubicBezTo>
                        <a:pt x="220" y="18"/>
                        <a:pt x="222" y="20"/>
                        <a:pt x="222" y="24"/>
                      </a:cubicBezTo>
                      <a:lnTo>
                        <a:pt x="222" y="58"/>
                      </a:lnTo>
                      <a:close/>
                      <a:moveTo>
                        <a:pt x="292" y="58"/>
                      </a:moveTo>
                      <a:cubicBezTo>
                        <a:pt x="292" y="61"/>
                        <a:pt x="289" y="64"/>
                        <a:pt x="286" y="64"/>
                      </a:cubicBezTo>
                      <a:cubicBezTo>
                        <a:pt x="247" y="64"/>
                        <a:pt x="247" y="64"/>
                        <a:pt x="247" y="64"/>
                      </a:cubicBezTo>
                      <a:cubicBezTo>
                        <a:pt x="244" y="64"/>
                        <a:pt x="241" y="61"/>
                        <a:pt x="241" y="58"/>
                      </a:cubicBezTo>
                      <a:cubicBezTo>
                        <a:pt x="241" y="24"/>
                        <a:pt x="241" y="24"/>
                        <a:pt x="241" y="24"/>
                      </a:cubicBezTo>
                      <a:cubicBezTo>
                        <a:pt x="241" y="20"/>
                        <a:pt x="244" y="18"/>
                        <a:pt x="247" y="18"/>
                      </a:cubicBezTo>
                      <a:cubicBezTo>
                        <a:pt x="286" y="18"/>
                        <a:pt x="286" y="18"/>
                        <a:pt x="286" y="18"/>
                      </a:cubicBezTo>
                      <a:cubicBezTo>
                        <a:pt x="289" y="18"/>
                        <a:pt x="292" y="20"/>
                        <a:pt x="292" y="24"/>
                      </a:cubicBezTo>
                      <a:lnTo>
                        <a:pt x="292" y="5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</p:grpSp>
      <p:grpSp>
        <p:nvGrpSpPr>
          <p:cNvPr id="24582" name="组合 128"/>
          <p:cNvGrpSpPr/>
          <p:nvPr/>
        </p:nvGrpSpPr>
        <p:grpSpPr bwMode="auto">
          <a:xfrm>
            <a:off x="6864350" y="915988"/>
            <a:ext cx="1438275" cy="1635125"/>
            <a:chOff x="6984535" y="1188628"/>
            <a:chExt cx="1438770" cy="1636085"/>
          </a:xfrm>
        </p:grpSpPr>
        <p:sp>
          <p:nvSpPr>
            <p:cNvPr id="130" name="Rectangle 8"/>
            <p:cNvSpPr/>
            <p:nvPr/>
          </p:nvSpPr>
          <p:spPr bwMode="auto">
            <a:xfrm>
              <a:off x="6984535" y="1188628"/>
              <a:ext cx="1438770" cy="1636085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1" name="矩形 130"/>
            <p:cNvSpPr/>
            <p:nvPr/>
          </p:nvSpPr>
          <p:spPr>
            <a:xfrm>
              <a:off x="7156044" y="2341830"/>
              <a:ext cx="1108456" cy="3685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4585" name="组合 7219"/>
            <p:cNvGrpSpPr/>
            <p:nvPr/>
          </p:nvGrpSpPr>
          <p:grpSpPr bwMode="auto">
            <a:xfrm>
              <a:off x="7294203" y="1326821"/>
              <a:ext cx="819431" cy="821220"/>
              <a:chOff x="6398430" y="-3469050"/>
              <a:chExt cx="2571725" cy="2577339"/>
            </a:xfrm>
          </p:grpSpPr>
          <p:sp>
            <p:nvSpPr>
              <p:cNvPr id="136" name="Freeform 86"/>
              <p:cNvSpPr/>
              <p:nvPr/>
            </p:nvSpPr>
            <p:spPr bwMode="auto">
              <a:xfrm>
                <a:off x="6398436" y="-3469050"/>
                <a:ext cx="2571728" cy="2577339"/>
              </a:xfrm>
              <a:custGeom>
                <a:avLst/>
                <a:gdLst>
                  <a:gd name="T0" fmla="*/ 687 w 687"/>
                  <a:gd name="T1" fmla="*/ 624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4 h 687"/>
                  <a:gd name="T8" fmla="*/ 0 w 687"/>
                  <a:gd name="T9" fmla="*/ 62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2 h 687"/>
                  <a:gd name="T16" fmla="*/ 687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4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4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2"/>
                    </a:cubicBezTo>
                    <a:lnTo>
                      <a:pt x="687" y="624"/>
                    </a:lnTo>
                    <a:close/>
                  </a:path>
                </a:pathLst>
              </a:cu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4590" name="组合 7215"/>
              <p:cNvGrpSpPr/>
              <p:nvPr/>
            </p:nvGrpSpPr>
            <p:grpSpPr bwMode="auto">
              <a:xfrm>
                <a:off x="6767513" y="-3214688"/>
                <a:ext cx="1676400" cy="1971675"/>
                <a:chOff x="6767513" y="-3214688"/>
                <a:chExt cx="1676400" cy="1971675"/>
              </a:xfrm>
            </p:grpSpPr>
            <p:sp>
              <p:nvSpPr>
                <p:cNvPr id="24591" name="Freeform 88"/>
                <p:cNvSpPr>
                  <a:spLocks noEditPoints="1"/>
                </p:cNvSpPr>
                <p:nvPr/>
              </p:nvSpPr>
              <p:spPr bwMode="auto">
                <a:xfrm>
                  <a:off x="7697788" y="-3192463"/>
                  <a:ext cx="746125" cy="1214438"/>
                </a:xfrm>
                <a:custGeom>
                  <a:avLst/>
                  <a:gdLst>
                    <a:gd name="T0" fmla="*/ 2147483646 w 199"/>
                    <a:gd name="T1" fmla="*/ 2147483646 h 324"/>
                    <a:gd name="T2" fmla="*/ 2147483646 w 199"/>
                    <a:gd name="T3" fmla="*/ 2147483646 h 324"/>
                    <a:gd name="T4" fmla="*/ 2147483646 w 199"/>
                    <a:gd name="T5" fmla="*/ 0 h 324"/>
                    <a:gd name="T6" fmla="*/ 2147483646 w 199"/>
                    <a:gd name="T7" fmla="*/ 2147483646 h 324"/>
                    <a:gd name="T8" fmla="*/ 2147483646 w 199"/>
                    <a:gd name="T9" fmla="*/ 2147483646 h 324"/>
                    <a:gd name="T10" fmla="*/ 0 w 199"/>
                    <a:gd name="T11" fmla="*/ 2147483646 h 324"/>
                    <a:gd name="T12" fmla="*/ 2147483646 w 199"/>
                    <a:gd name="T13" fmla="*/ 2147483646 h 324"/>
                    <a:gd name="T14" fmla="*/ 2147483646 w 199"/>
                    <a:gd name="T15" fmla="*/ 2147483646 h 324"/>
                    <a:gd name="T16" fmla="*/ 2147483646 w 199"/>
                    <a:gd name="T17" fmla="*/ 2147483646 h 324"/>
                    <a:gd name="T18" fmla="*/ 2147483646 w 199"/>
                    <a:gd name="T19" fmla="*/ 2147483646 h 324"/>
                    <a:gd name="T20" fmla="*/ 2147483646 w 199"/>
                    <a:gd name="T21" fmla="*/ 2147483646 h 324"/>
                    <a:gd name="T22" fmla="*/ 2147483646 w 199"/>
                    <a:gd name="T23" fmla="*/ 2147483646 h 324"/>
                    <a:gd name="T24" fmla="*/ 2147483646 w 199"/>
                    <a:gd name="T25" fmla="*/ 2147483646 h 324"/>
                    <a:gd name="T26" fmla="*/ 2147483646 w 199"/>
                    <a:gd name="T27" fmla="*/ 2147483646 h 324"/>
                    <a:gd name="T28" fmla="*/ 2147483646 w 199"/>
                    <a:gd name="T29" fmla="*/ 2147483646 h 324"/>
                    <a:gd name="T30" fmla="*/ 2147483646 w 199"/>
                    <a:gd name="T31" fmla="*/ 2147483646 h 3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99" h="324">
                      <a:moveTo>
                        <a:pt x="137" y="164"/>
                      </a:moveTo>
                      <a:cubicBezTo>
                        <a:pt x="183" y="1"/>
                        <a:pt x="183" y="1"/>
                        <a:pt x="183" y="1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75" y="134"/>
                        <a:pt x="75" y="134"/>
                        <a:pt x="75" y="134"/>
                      </a:cubicBezTo>
                      <a:cubicBezTo>
                        <a:pt x="3" y="156"/>
                        <a:pt x="3" y="156"/>
                        <a:pt x="3" y="156"/>
                      </a:cubicBezTo>
                      <a:cubicBezTo>
                        <a:pt x="1" y="161"/>
                        <a:pt x="1" y="164"/>
                        <a:pt x="0" y="165"/>
                      </a:cubicBezTo>
                      <a:cubicBezTo>
                        <a:pt x="1" y="167"/>
                        <a:pt x="6" y="179"/>
                        <a:pt x="13" y="196"/>
                      </a:cubicBezTo>
                      <a:cubicBezTo>
                        <a:pt x="79" y="203"/>
                        <a:pt x="79" y="203"/>
                        <a:pt x="79" y="203"/>
                      </a:cubicBezTo>
                      <a:cubicBezTo>
                        <a:pt x="197" y="324"/>
                        <a:pt x="197" y="324"/>
                        <a:pt x="197" y="324"/>
                      </a:cubicBezTo>
                      <a:cubicBezTo>
                        <a:pt x="199" y="323"/>
                        <a:pt x="199" y="323"/>
                        <a:pt x="199" y="323"/>
                      </a:cubicBezTo>
                      <a:lnTo>
                        <a:pt x="137" y="164"/>
                      </a:lnTo>
                      <a:close/>
                      <a:moveTo>
                        <a:pt x="77" y="177"/>
                      </a:moveTo>
                      <a:cubicBezTo>
                        <a:pt x="72" y="166"/>
                        <a:pt x="77" y="152"/>
                        <a:pt x="88" y="147"/>
                      </a:cubicBezTo>
                      <a:cubicBezTo>
                        <a:pt x="99" y="142"/>
                        <a:pt x="113" y="147"/>
                        <a:pt x="118" y="158"/>
                      </a:cubicBezTo>
                      <a:cubicBezTo>
                        <a:pt x="123" y="170"/>
                        <a:pt x="118" y="183"/>
                        <a:pt x="107" y="188"/>
                      </a:cubicBezTo>
                      <a:cubicBezTo>
                        <a:pt x="95" y="194"/>
                        <a:pt x="82" y="189"/>
                        <a:pt x="77" y="1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2" name="Freeform 89"/>
                <p:cNvSpPr/>
                <p:nvPr/>
              </p:nvSpPr>
              <p:spPr bwMode="auto">
                <a:xfrm>
                  <a:off x="7907338" y="-2363788"/>
                  <a:ext cx="333375" cy="1095375"/>
                </a:xfrm>
                <a:custGeom>
                  <a:avLst/>
                  <a:gdLst>
                    <a:gd name="T0" fmla="*/ 2147483646 w 89"/>
                    <a:gd name="T1" fmla="*/ 2147483646 h 292"/>
                    <a:gd name="T2" fmla="*/ 2147483646 w 89"/>
                    <a:gd name="T3" fmla="*/ 2147483646 h 292"/>
                    <a:gd name="T4" fmla="*/ 2147483646 w 89"/>
                    <a:gd name="T5" fmla="*/ 0 h 292"/>
                    <a:gd name="T6" fmla="*/ 2147483646 w 89"/>
                    <a:gd name="T7" fmla="*/ 2147483646 h 292"/>
                    <a:gd name="T8" fmla="*/ 0 w 89"/>
                    <a:gd name="T9" fmla="*/ 2147483646 h 292"/>
                    <a:gd name="T10" fmla="*/ 0 w 89"/>
                    <a:gd name="T11" fmla="*/ 2147483646 h 292"/>
                    <a:gd name="T12" fmla="*/ 2147483646 w 89"/>
                    <a:gd name="T13" fmla="*/ 2147483646 h 292"/>
                    <a:gd name="T14" fmla="*/ 2147483646 w 89"/>
                    <a:gd name="T15" fmla="*/ 2147483646 h 292"/>
                    <a:gd name="T16" fmla="*/ 2147483646 w 89"/>
                    <a:gd name="T17" fmla="*/ 2147483646 h 292"/>
                    <a:gd name="T18" fmla="*/ 2147483646 w 89"/>
                    <a:gd name="T19" fmla="*/ 2147483646 h 29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89" h="292">
                      <a:moveTo>
                        <a:pt x="65" y="264"/>
                      </a:move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1" y="264"/>
                        <a:pt x="21" y="264"/>
                        <a:pt x="21" y="264"/>
                      </a:cubicBezTo>
                      <a:cubicBezTo>
                        <a:pt x="8" y="266"/>
                        <a:pt x="0" y="268"/>
                        <a:pt x="0" y="271"/>
                      </a:cubicBezTo>
                      <a:cubicBezTo>
                        <a:pt x="0" y="285"/>
                        <a:pt x="0" y="285"/>
                        <a:pt x="0" y="285"/>
                      </a:cubicBezTo>
                      <a:cubicBezTo>
                        <a:pt x="0" y="289"/>
                        <a:pt x="20" y="292"/>
                        <a:pt x="44" y="292"/>
                      </a:cubicBezTo>
                      <a:cubicBezTo>
                        <a:pt x="69" y="292"/>
                        <a:pt x="89" y="289"/>
                        <a:pt x="89" y="285"/>
                      </a:cubicBezTo>
                      <a:cubicBezTo>
                        <a:pt x="89" y="271"/>
                        <a:pt x="89" y="271"/>
                        <a:pt x="89" y="271"/>
                      </a:cubicBezTo>
                      <a:cubicBezTo>
                        <a:pt x="89" y="268"/>
                        <a:pt x="79" y="266"/>
                        <a:pt x="65" y="2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3" name="Freeform 90"/>
                <p:cNvSpPr/>
                <p:nvPr/>
              </p:nvSpPr>
              <p:spPr bwMode="auto">
                <a:xfrm>
                  <a:off x="7332663" y="-2322513"/>
                  <a:ext cx="349250" cy="1079500"/>
                </a:xfrm>
                <a:custGeom>
                  <a:avLst/>
                  <a:gdLst>
                    <a:gd name="T0" fmla="*/ 2147483646 w 93"/>
                    <a:gd name="T1" fmla="*/ 2147483646 h 288"/>
                    <a:gd name="T2" fmla="*/ 2147483646 w 93"/>
                    <a:gd name="T3" fmla="*/ 2147483646 h 288"/>
                    <a:gd name="T4" fmla="*/ 2147483646 w 93"/>
                    <a:gd name="T5" fmla="*/ 0 h 288"/>
                    <a:gd name="T6" fmla="*/ 2147483646 w 93"/>
                    <a:gd name="T7" fmla="*/ 2147483646 h 288"/>
                    <a:gd name="T8" fmla="*/ 0 w 93"/>
                    <a:gd name="T9" fmla="*/ 2147483646 h 288"/>
                    <a:gd name="T10" fmla="*/ 0 w 93"/>
                    <a:gd name="T11" fmla="*/ 2147483646 h 288"/>
                    <a:gd name="T12" fmla="*/ 2147483646 w 93"/>
                    <a:gd name="T13" fmla="*/ 2147483646 h 288"/>
                    <a:gd name="T14" fmla="*/ 2147483646 w 93"/>
                    <a:gd name="T15" fmla="*/ 2147483646 h 288"/>
                    <a:gd name="T16" fmla="*/ 2147483646 w 93"/>
                    <a:gd name="T17" fmla="*/ 2147483646 h 288"/>
                    <a:gd name="T18" fmla="*/ 2147483646 w 93"/>
                    <a:gd name="T19" fmla="*/ 2147483646 h 28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93" h="288">
                      <a:moveTo>
                        <a:pt x="69" y="259"/>
                      </a:moveTo>
                      <a:cubicBezTo>
                        <a:pt x="58" y="25"/>
                        <a:pt x="58" y="25"/>
                        <a:pt x="58" y="25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2" y="260"/>
                        <a:pt x="22" y="260"/>
                        <a:pt x="22" y="260"/>
                      </a:cubicBezTo>
                      <a:cubicBezTo>
                        <a:pt x="9" y="261"/>
                        <a:pt x="0" y="264"/>
                        <a:pt x="0" y="266"/>
                      </a:cubicBezTo>
                      <a:cubicBezTo>
                        <a:pt x="0" y="280"/>
                        <a:pt x="0" y="280"/>
                        <a:pt x="0" y="280"/>
                      </a:cubicBezTo>
                      <a:cubicBezTo>
                        <a:pt x="0" y="284"/>
                        <a:pt x="21" y="288"/>
                        <a:pt x="47" y="288"/>
                      </a:cubicBezTo>
                      <a:cubicBezTo>
                        <a:pt x="72" y="288"/>
                        <a:pt x="93" y="284"/>
                        <a:pt x="93" y="280"/>
                      </a:cubicBezTo>
                      <a:cubicBezTo>
                        <a:pt x="93" y="266"/>
                        <a:pt x="93" y="266"/>
                        <a:pt x="93" y="266"/>
                      </a:cubicBezTo>
                      <a:cubicBezTo>
                        <a:pt x="93" y="263"/>
                        <a:pt x="83" y="261"/>
                        <a:pt x="69" y="2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24594" name="Freeform 91"/>
                <p:cNvSpPr>
                  <a:spLocks noEditPoints="1"/>
                </p:cNvSpPr>
                <p:nvPr/>
              </p:nvSpPr>
              <p:spPr bwMode="auto">
                <a:xfrm>
                  <a:off x="6767513" y="-3214688"/>
                  <a:ext cx="1128713" cy="1271588"/>
                </a:xfrm>
                <a:custGeom>
                  <a:avLst/>
                  <a:gdLst>
                    <a:gd name="T0" fmla="*/ 2147483646 w 301"/>
                    <a:gd name="T1" fmla="*/ 2147483646 h 339"/>
                    <a:gd name="T2" fmla="*/ 2147483646 w 301"/>
                    <a:gd name="T3" fmla="*/ 2147483646 h 339"/>
                    <a:gd name="T4" fmla="*/ 2147483646 w 301"/>
                    <a:gd name="T5" fmla="*/ 0 h 339"/>
                    <a:gd name="T6" fmla="*/ 2147483646 w 301"/>
                    <a:gd name="T7" fmla="*/ 2147483646 h 339"/>
                    <a:gd name="T8" fmla="*/ 0 w 301"/>
                    <a:gd name="T9" fmla="*/ 2147483646 h 339"/>
                    <a:gd name="T10" fmla="*/ 0 w 301"/>
                    <a:gd name="T11" fmla="*/ 2147483646 h 339"/>
                    <a:gd name="T12" fmla="*/ 2147483646 w 301"/>
                    <a:gd name="T13" fmla="*/ 2147483646 h 339"/>
                    <a:gd name="T14" fmla="*/ 2147483646 w 301"/>
                    <a:gd name="T15" fmla="*/ 2147483646 h 339"/>
                    <a:gd name="T16" fmla="*/ 2147483646 w 301"/>
                    <a:gd name="T17" fmla="*/ 2147483646 h 339"/>
                    <a:gd name="T18" fmla="*/ 2147483646 w 301"/>
                    <a:gd name="T19" fmla="*/ 2147483646 h 339"/>
                    <a:gd name="T20" fmla="*/ 2147483646 w 301"/>
                    <a:gd name="T21" fmla="*/ 2147483646 h 339"/>
                    <a:gd name="T22" fmla="*/ 2147483646 w 301"/>
                    <a:gd name="T23" fmla="*/ 2147483646 h 339"/>
                    <a:gd name="T24" fmla="*/ 2147483646 w 301"/>
                    <a:gd name="T25" fmla="*/ 2147483646 h 339"/>
                    <a:gd name="T26" fmla="*/ 2147483646 w 301"/>
                    <a:gd name="T27" fmla="*/ 2147483646 h 339"/>
                    <a:gd name="T28" fmla="*/ 2147483646 w 301"/>
                    <a:gd name="T29" fmla="*/ 2147483646 h 33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01" h="339">
                      <a:moveTo>
                        <a:pt x="236" y="172"/>
                      </a:moveTo>
                      <a:cubicBezTo>
                        <a:pt x="284" y="1"/>
                        <a:pt x="284" y="1"/>
                        <a:pt x="284" y="1"/>
                      </a:cubicBezTo>
                      <a:cubicBezTo>
                        <a:pt x="282" y="0"/>
                        <a:pt x="282" y="0"/>
                        <a:pt x="282" y="0"/>
                      </a:cubicBezTo>
                      <a:cubicBezTo>
                        <a:pt x="171" y="140"/>
                        <a:pt x="171" y="140"/>
                        <a:pt x="171" y="140"/>
                      </a:cubicBezTo>
                      <a:cubicBezTo>
                        <a:pt x="0" y="193"/>
                        <a:pt x="0" y="193"/>
                        <a:pt x="0" y="193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176" y="212"/>
                        <a:pt x="176" y="212"/>
                        <a:pt x="176" y="212"/>
                      </a:cubicBezTo>
                      <a:cubicBezTo>
                        <a:pt x="299" y="339"/>
                        <a:pt x="299" y="339"/>
                        <a:pt x="299" y="339"/>
                      </a:cubicBezTo>
                      <a:cubicBezTo>
                        <a:pt x="301" y="338"/>
                        <a:pt x="301" y="338"/>
                        <a:pt x="301" y="338"/>
                      </a:cubicBezTo>
                      <a:lnTo>
                        <a:pt x="236" y="172"/>
                      </a:lnTo>
                      <a:close/>
                      <a:moveTo>
                        <a:pt x="205" y="197"/>
                      </a:moveTo>
                      <a:cubicBezTo>
                        <a:pt x="193" y="202"/>
                        <a:pt x="179" y="197"/>
                        <a:pt x="173" y="185"/>
                      </a:cubicBezTo>
                      <a:cubicBezTo>
                        <a:pt x="168" y="173"/>
                        <a:pt x="173" y="159"/>
                        <a:pt x="185" y="154"/>
                      </a:cubicBezTo>
                      <a:cubicBezTo>
                        <a:pt x="197" y="148"/>
                        <a:pt x="211" y="154"/>
                        <a:pt x="217" y="165"/>
                      </a:cubicBezTo>
                      <a:cubicBezTo>
                        <a:pt x="222" y="177"/>
                        <a:pt x="217" y="192"/>
                        <a:pt x="205" y="1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4586" name="组合 220"/>
            <p:cNvGrpSpPr/>
            <p:nvPr/>
          </p:nvGrpSpPr>
          <p:grpSpPr bwMode="auto">
            <a:xfrm>
              <a:off x="7683067" y="2249045"/>
              <a:ext cx="81805" cy="103030"/>
              <a:chOff x="6290395" y="3592630"/>
              <a:chExt cx="87725" cy="124510"/>
            </a:xfrm>
          </p:grpSpPr>
          <p:sp>
            <p:nvSpPr>
              <p:cNvPr id="134" name="燕尾形 133"/>
              <p:cNvSpPr/>
              <p:nvPr/>
            </p:nvSpPr>
            <p:spPr>
              <a:xfrm rot="16200000">
                <a:off x="6296613" y="3587427"/>
                <a:ext cx="74863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燕尾形 134"/>
              <p:cNvSpPr/>
              <p:nvPr/>
            </p:nvSpPr>
            <p:spPr>
              <a:xfrm rot="16200000">
                <a:off x="6296612" y="3635417"/>
                <a:ext cx="74864" cy="86852"/>
              </a:xfrm>
              <a:prstGeom prst="chevron">
                <a:avLst>
                  <a:gd name="adj" fmla="val 5941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2" name="组合 1"/>
          <p:cNvGrpSpPr/>
          <p:nvPr/>
        </p:nvGrpSpPr>
        <p:grpSpPr bwMode="auto">
          <a:xfrm>
            <a:off x="4727575" y="831850"/>
            <a:ext cx="3106738" cy="2481263"/>
            <a:chOff x="4860032" y="926333"/>
            <a:chExt cx="3105464" cy="2482803"/>
          </a:xfrm>
        </p:grpSpPr>
        <p:grpSp>
          <p:nvGrpSpPr>
            <p:cNvPr id="25624" name="组合 47"/>
            <p:cNvGrpSpPr/>
            <p:nvPr/>
          </p:nvGrpSpPr>
          <p:grpSpPr bwMode="auto">
            <a:xfrm>
              <a:off x="4889126" y="926333"/>
              <a:ext cx="3076370" cy="307535"/>
              <a:chOff x="4889126" y="926333"/>
              <a:chExt cx="3076370" cy="307535"/>
            </a:xfrm>
          </p:grpSpPr>
          <p:sp>
            <p:nvSpPr>
              <p:cNvPr id="6" name="矩形 21"/>
              <p:cNvSpPr>
                <a:spLocks noChangeArrowheads="1"/>
              </p:cNvSpPr>
              <p:nvPr/>
            </p:nvSpPr>
            <p:spPr bwMode="auto">
              <a:xfrm>
                <a:off x="4888595" y="948572"/>
                <a:ext cx="3076901" cy="25257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628" name="TextBox 10"/>
              <p:cNvSpPr txBox="1">
                <a:spLocks noChangeArrowheads="1"/>
              </p:cNvSpPr>
              <p:nvPr/>
            </p:nvSpPr>
            <p:spPr bwMode="auto">
              <a:xfrm>
                <a:off x="5542261" y="926333"/>
                <a:ext cx="1261884" cy="3075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zh-CN" alt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4860032" y="1220203"/>
              <a:ext cx="3105464" cy="218893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5626" name="矩形 1"/>
            <p:cNvSpPr>
              <a:spLocks noChangeArrowheads="1"/>
            </p:cNvSpPr>
            <p:nvPr/>
          </p:nvSpPr>
          <p:spPr bwMode="auto">
            <a:xfrm>
              <a:off x="4984738" y="1391612"/>
              <a:ext cx="264680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603" name="组合 7"/>
          <p:cNvGrpSpPr/>
          <p:nvPr/>
        </p:nvGrpSpPr>
        <p:grpSpPr bwMode="auto">
          <a:xfrm>
            <a:off x="1119188" y="831850"/>
            <a:ext cx="3105150" cy="2481263"/>
            <a:chOff x="1250511" y="926344"/>
            <a:chExt cx="3105465" cy="2482792"/>
          </a:xfrm>
        </p:grpSpPr>
        <p:sp>
          <p:nvSpPr>
            <p:cNvPr id="9" name="Rectangle 14"/>
            <p:cNvSpPr>
              <a:spLocks noChangeArrowheads="1"/>
            </p:cNvSpPr>
            <p:nvPr/>
          </p:nvSpPr>
          <p:spPr bwMode="auto">
            <a:xfrm>
              <a:off x="1250511" y="1220213"/>
              <a:ext cx="3105465" cy="2188923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altLang="en-US" sz="2000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25619" name="组合 2"/>
            <p:cNvGrpSpPr/>
            <p:nvPr/>
          </p:nvGrpSpPr>
          <p:grpSpPr bwMode="auto">
            <a:xfrm>
              <a:off x="1257438" y="926344"/>
              <a:ext cx="3076370" cy="1942596"/>
              <a:chOff x="1257438" y="926344"/>
              <a:chExt cx="3076370" cy="1942596"/>
            </a:xfrm>
          </p:grpSpPr>
          <p:grpSp>
            <p:nvGrpSpPr>
              <p:cNvPr id="25620" name="组合 31"/>
              <p:cNvGrpSpPr/>
              <p:nvPr/>
            </p:nvGrpSpPr>
            <p:grpSpPr bwMode="auto">
              <a:xfrm>
                <a:off x="1257438" y="926344"/>
                <a:ext cx="3076370" cy="307536"/>
                <a:chOff x="1619673" y="3253689"/>
                <a:chExt cx="3076370" cy="307536"/>
              </a:xfrm>
            </p:grpSpPr>
            <p:sp>
              <p:nvSpPr>
                <p:cNvPr id="13" name="矩形 32"/>
                <p:cNvSpPr>
                  <a:spLocks noChangeArrowheads="1"/>
                </p:cNvSpPr>
                <p:nvPr/>
              </p:nvSpPr>
              <p:spPr bwMode="auto">
                <a:xfrm>
                  <a:off x="1619097" y="3275928"/>
                  <a:ext cx="3076887" cy="252568"/>
                </a:xfrm>
                <a:prstGeom prst="rect">
                  <a:avLst/>
                </a:prstGeom>
                <a:solidFill>
                  <a:srgbClr val="C7636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5623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2231954" y="3253689"/>
                  <a:ext cx="1261873" cy="3075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zh-CN" altLang="en-US" sz="1400">
                      <a:solidFill>
                        <a:srgbClr val="FFFFFF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zh-CN" altLang="en-US" sz="14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25621" name="矩形 1"/>
              <p:cNvSpPr>
                <a:spLocks noChangeArrowheads="1"/>
              </p:cNvSpPr>
              <p:nvPr/>
            </p:nvSpPr>
            <p:spPr bwMode="auto">
              <a:xfrm>
                <a:off x="1363056" y="1391612"/>
                <a:ext cx="2646803" cy="1477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，帮助您实现美观、精致、严谨。</a:t>
                </a:r>
                <a:endPara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17" name="AutoShape 41"/>
          <p:cNvSpPr>
            <a:spLocks noChangeArrowheads="1"/>
          </p:cNvSpPr>
          <p:nvPr/>
        </p:nvSpPr>
        <p:spPr bwMode="auto">
          <a:xfrm flipH="1">
            <a:off x="3808413" y="830263"/>
            <a:ext cx="547687" cy="727075"/>
          </a:xfrm>
          <a:prstGeom prst="rightArrow">
            <a:avLst>
              <a:gd name="adj1" fmla="val 50111"/>
              <a:gd name="adj2" fmla="val 63157"/>
            </a:avLst>
          </a:prstGeom>
          <a:solidFill>
            <a:srgbClr val="FBB04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noProof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5605" name="组合 20"/>
          <p:cNvGrpSpPr/>
          <p:nvPr/>
        </p:nvGrpSpPr>
        <p:grpSpPr bwMode="auto">
          <a:xfrm>
            <a:off x="979488" y="3413125"/>
            <a:ext cx="7048500" cy="865188"/>
            <a:chOff x="1110857" y="3507854"/>
            <a:chExt cx="7049287" cy="865909"/>
          </a:xfrm>
        </p:grpSpPr>
        <p:sp>
          <p:nvSpPr>
            <p:cNvPr id="25614" name="Rectangle 14"/>
            <p:cNvSpPr>
              <a:spLocks noChangeArrowheads="1"/>
            </p:cNvSpPr>
            <p:nvPr/>
          </p:nvSpPr>
          <p:spPr bwMode="auto">
            <a:xfrm rot="-5400000">
              <a:off x="920793" y="3759756"/>
              <a:ext cx="842293" cy="346364"/>
            </a:xfrm>
            <a:prstGeom prst="rect">
              <a:avLst/>
            </a:prstGeom>
            <a:solidFill>
              <a:srgbClr val="2B7EA3">
                <a:alpha val="65881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 noProof="1">
                <a:solidFill>
                  <a:srgbClr val="000000"/>
                </a:solidFill>
              </a:endParaRPr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1526828" y="3507854"/>
              <a:ext cx="6633316" cy="865909"/>
            </a:xfrm>
            <a:prstGeom prst="rect">
              <a:avLst/>
            </a:prstGeom>
            <a:solidFill>
              <a:srgbClr val="32879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noProof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 rot="-5400000">
              <a:off x="862081" y="3759808"/>
              <a:ext cx="843665" cy="346114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noProof="1">
                <a:solidFill>
                  <a:prstClr val="white"/>
                </a:solidFill>
              </a:endParaRPr>
            </a:p>
          </p:txBody>
        </p:sp>
        <p:sp>
          <p:nvSpPr>
            <p:cNvPr id="25617" name="矩形 1"/>
            <p:cNvSpPr>
              <a:spLocks noChangeArrowheads="1"/>
            </p:cNvSpPr>
            <p:nvPr/>
          </p:nvSpPr>
          <p:spPr bwMode="auto">
            <a:xfrm>
              <a:off x="1763689" y="3607777"/>
              <a:ext cx="6264696" cy="613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 坚持精益求精、拒绝平庸的做事精神，帮助您实现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606" name="组合 25"/>
          <p:cNvGrpSpPr/>
          <p:nvPr/>
        </p:nvGrpSpPr>
        <p:grpSpPr bwMode="auto">
          <a:xfrm>
            <a:off x="3452813" y="2586038"/>
            <a:ext cx="628650" cy="628650"/>
            <a:chOff x="-2916238" y="-728663"/>
            <a:chExt cx="2122488" cy="2122488"/>
          </a:xfrm>
        </p:grpSpPr>
        <p:sp>
          <p:nvSpPr>
            <p:cNvPr id="27" name="Freeform 6"/>
            <p:cNvSpPr/>
            <p:nvPr/>
          </p:nvSpPr>
          <p:spPr bwMode="auto">
            <a:xfrm>
              <a:off x="-2916238" y="-728663"/>
              <a:ext cx="2122488" cy="2122488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13" name="Freeform 9"/>
            <p:cNvSpPr/>
            <p:nvPr/>
          </p:nvSpPr>
          <p:spPr bwMode="auto">
            <a:xfrm>
              <a:off x="-2605088" y="-166688"/>
              <a:ext cx="1439863" cy="1219200"/>
            </a:xfrm>
            <a:custGeom>
              <a:avLst/>
              <a:gdLst>
                <a:gd name="T0" fmla="*/ 2147483646 w 384"/>
                <a:gd name="T1" fmla="*/ 2147483646 h 325"/>
                <a:gd name="T2" fmla="*/ 2147483646 w 384"/>
                <a:gd name="T3" fmla="*/ 2147483646 h 325"/>
                <a:gd name="T4" fmla="*/ 2147483646 w 384"/>
                <a:gd name="T5" fmla="*/ 2147483646 h 325"/>
                <a:gd name="T6" fmla="*/ 2147483646 w 384"/>
                <a:gd name="T7" fmla="*/ 2147483646 h 325"/>
                <a:gd name="T8" fmla="*/ 2147483646 w 384"/>
                <a:gd name="T9" fmla="*/ 2147483646 h 325"/>
                <a:gd name="T10" fmla="*/ 2147483646 w 384"/>
                <a:gd name="T11" fmla="*/ 2147483646 h 325"/>
                <a:gd name="T12" fmla="*/ 2147483646 w 384"/>
                <a:gd name="T13" fmla="*/ 2147483646 h 325"/>
                <a:gd name="T14" fmla="*/ 2147483646 w 384"/>
                <a:gd name="T15" fmla="*/ 2147483646 h 325"/>
                <a:gd name="T16" fmla="*/ 2147483646 w 384"/>
                <a:gd name="T17" fmla="*/ 2147483646 h 325"/>
                <a:gd name="T18" fmla="*/ 2147483646 w 384"/>
                <a:gd name="T19" fmla="*/ 2147483646 h 325"/>
                <a:gd name="T20" fmla="*/ 2147483646 w 384"/>
                <a:gd name="T21" fmla="*/ 2147483646 h 325"/>
                <a:gd name="T22" fmla="*/ 2147483646 w 384"/>
                <a:gd name="T23" fmla="*/ 2147483646 h 325"/>
                <a:gd name="T24" fmla="*/ 2147483646 w 384"/>
                <a:gd name="T25" fmla="*/ 2147483646 h 325"/>
                <a:gd name="T26" fmla="*/ 2147483646 w 384"/>
                <a:gd name="T27" fmla="*/ 2147483646 h 325"/>
                <a:gd name="T28" fmla="*/ 2147483646 w 384"/>
                <a:gd name="T29" fmla="*/ 2147483646 h 325"/>
                <a:gd name="T30" fmla="*/ 2147483646 w 384"/>
                <a:gd name="T31" fmla="*/ 2147483646 h 325"/>
                <a:gd name="T32" fmla="*/ 2147483646 w 384"/>
                <a:gd name="T33" fmla="*/ 2147483646 h 325"/>
                <a:gd name="T34" fmla="*/ 2147483646 w 384"/>
                <a:gd name="T35" fmla="*/ 2147483646 h 325"/>
                <a:gd name="T36" fmla="*/ 2147483646 w 384"/>
                <a:gd name="T37" fmla="*/ 2147483646 h 325"/>
                <a:gd name="T38" fmla="*/ 2147483646 w 384"/>
                <a:gd name="T39" fmla="*/ 2147483646 h 325"/>
                <a:gd name="T40" fmla="*/ 2147483646 w 384"/>
                <a:gd name="T41" fmla="*/ 2147483646 h 325"/>
                <a:gd name="T42" fmla="*/ 2147483646 w 384"/>
                <a:gd name="T43" fmla="*/ 2147483646 h 325"/>
                <a:gd name="T44" fmla="*/ 2147483646 w 384"/>
                <a:gd name="T45" fmla="*/ 2147483646 h 325"/>
                <a:gd name="T46" fmla="*/ 2147483646 w 384"/>
                <a:gd name="T47" fmla="*/ 2147483646 h 325"/>
                <a:gd name="T48" fmla="*/ 2147483646 w 384"/>
                <a:gd name="T49" fmla="*/ 0 h 325"/>
                <a:gd name="T50" fmla="*/ 2147483646 w 384"/>
                <a:gd name="T51" fmla="*/ 2147483646 h 325"/>
                <a:gd name="T52" fmla="*/ 2147483646 w 384"/>
                <a:gd name="T53" fmla="*/ 2147483646 h 325"/>
                <a:gd name="T54" fmla="*/ 2147483646 w 384"/>
                <a:gd name="T55" fmla="*/ 2147483646 h 325"/>
                <a:gd name="T56" fmla="*/ 2147483646 w 384"/>
                <a:gd name="T57" fmla="*/ 2147483646 h 325"/>
                <a:gd name="T58" fmla="*/ 2147483646 w 384"/>
                <a:gd name="T59" fmla="*/ 2147483646 h 325"/>
                <a:gd name="T60" fmla="*/ 2147483646 w 384"/>
                <a:gd name="T61" fmla="*/ 2147483646 h 325"/>
                <a:gd name="T62" fmla="*/ 2147483646 w 384"/>
                <a:gd name="T63" fmla="*/ 2147483646 h 325"/>
                <a:gd name="T64" fmla="*/ 2147483646 w 384"/>
                <a:gd name="T65" fmla="*/ 2147483646 h 325"/>
                <a:gd name="T66" fmla="*/ 2147483646 w 384"/>
                <a:gd name="T67" fmla="*/ 2147483646 h 325"/>
                <a:gd name="T68" fmla="*/ 2147483646 w 384"/>
                <a:gd name="T69" fmla="*/ 2147483646 h 325"/>
                <a:gd name="T70" fmla="*/ 2147483646 w 384"/>
                <a:gd name="T71" fmla="*/ 2147483646 h 325"/>
                <a:gd name="T72" fmla="*/ 2147483646 w 384"/>
                <a:gd name="T73" fmla="*/ 2147483646 h 325"/>
                <a:gd name="T74" fmla="*/ 2147483646 w 384"/>
                <a:gd name="T75" fmla="*/ 2147483646 h 325"/>
                <a:gd name="T76" fmla="*/ 2147483646 w 384"/>
                <a:gd name="T77" fmla="*/ 2147483646 h 325"/>
                <a:gd name="T78" fmla="*/ 2147483646 w 384"/>
                <a:gd name="T79" fmla="*/ 2147483646 h 325"/>
                <a:gd name="T80" fmla="*/ 2147483646 w 384"/>
                <a:gd name="T81" fmla="*/ 2147483646 h 325"/>
                <a:gd name="T82" fmla="*/ 2147483646 w 384"/>
                <a:gd name="T83" fmla="*/ 2147483646 h 325"/>
                <a:gd name="T84" fmla="*/ 2147483646 w 384"/>
                <a:gd name="T85" fmla="*/ 2147483646 h 325"/>
                <a:gd name="T86" fmla="*/ 2147483646 w 384"/>
                <a:gd name="T87" fmla="*/ 2147483646 h 325"/>
                <a:gd name="T88" fmla="*/ 2147483646 w 384"/>
                <a:gd name="T89" fmla="*/ 2147483646 h 325"/>
                <a:gd name="T90" fmla="*/ 2147483646 w 384"/>
                <a:gd name="T91" fmla="*/ 2147483646 h 32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84" h="325">
                  <a:moveTo>
                    <a:pt x="167" y="325"/>
                  </a:moveTo>
                  <a:cubicBezTo>
                    <a:pt x="167" y="325"/>
                    <a:pt x="167" y="325"/>
                    <a:pt x="167" y="325"/>
                  </a:cubicBezTo>
                  <a:cubicBezTo>
                    <a:pt x="165" y="325"/>
                    <a:pt x="163" y="325"/>
                    <a:pt x="161" y="325"/>
                  </a:cubicBezTo>
                  <a:cubicBezTo>
                    <a:pt x="161" y="325"/>
                    <a:pt x="160" y="325"/>
                    <a:pt x="159" y="325"/>
                  </a:cubicBezTo>
                  <a:cubicBezTo>
                    <a:pt x="158" y="324"/>
                    <a:pt x="156" y="324"/>
                    <a:pt x="155" y="324"/>
                  </a:cubicBezTo>
                  <a:cubicBezTo>
                    <a:pt x="154" y="323"/>
                    <a:pt x="153" y="323"/>
                    <a:pt x="152" y="323"/>
                  </a:cubicBezTo>
                  <a:cubicBezTo>
                    <a:pt x="150" y="322"/>
                    <a:pt x="148" y="321"/>
                    <a:pt x="146" y="320"/>
                  </a:cubicBezTo>
                  <a:cubicBezTo>
                    <a:pt x="146" y="320"/>
                    <a:pt x="146" y="320"/>
                    <a:pt x="146" y="320"/>
                  </a:cubicBezTo>
                  <a:cubicBezTo>
                    <a:pt x="145" y="320"/>
                    <a:pt x="145" y="320"/>
                    <a:pt x="145" y="320"/>
                  </a:cubicBezTo>
                  <a:cubicBezTo>
                    <a:pt x="143" y="319"/>
                    <a:pt x="142" y="318"/>
                    <a:pt x="141" y="317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9" y="316"/>
                    <a:pt x="139" y="316"/>
                    <a:pt x="139" y="316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8" y="315"/>
                    <a:pt x="138" y="315"/>
                    <a:pt x="138" y="315"/>
                  </a:cubicBezTo>
                  <a:cubicBezTo>
                    <a:pt x="136" y="314"/>
                    <a:pt x="134" y="312"/>
                    <a:pt x="132" y="310"/>
                  </a:cubicBezTo>
                  <a:cubicBezTo>
                    <a:pt x="131" y="309"/>
                    <a:pt x="131" y="309"/>
                    <a:pt x="131" y="309"/>
                  </a:cubicBezTo>
                  <a:cubicBezTo>
                    <a:pt x="130" y="308"/>
                    <a:pt x="129" y="307"/>
                    <a:pt x="129" y="306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0" y="142"/>
                    <a:pt x="3" y="110"/>
                    <a:pt x="25" y="93"/>
                  </a:cubicBezTo>
                  <a:cubicBezTo>
                    <a:pt x="34" y="86"/>
                    <a:pt x="45" y="82"/>
                    <a:pt x="56" y="82"/>
                  </a:cubicBezTo>
                  <a:cubicBezTo>
                    <a:pt x="72" y="82"/>
                    <a:pt x="86" y="89"/>
                    <a:pt x="96" y="102"/>
                  </a:cubicBezTo>
                  <a:cubicBezTo>
                    <a:pt x="166" y="191"/>
                    <a:pt x="166" y="191"/>
                    <a:pt x="166" y="191"/>
                  </a:cubicBezTo>
                  <a:cubicBezTo>
                    <a:pt x="286" y="21"/>
                    <a:pt x="286" y="21"/>
                    <a:pt x="286" y="21"/>
                  </a:cubicBezTo>
                  <a:cubicBezTo>
                    <a:pt x="295" y="8"/>
                    <a:pt x="311" y="0"/>
                    <a:pt x="327" y="0"/>
                  </a:cubicBezTo>
                  <a:cubicBezTo>
                    <a:pt x="337" y="0"/>
                    <a:pt x="348" y="3"/>
                    <a:pt x="356" y="9"/>
                  </a:cubicBezTo>
                  <a:cubicBezTo>
                    <a:pt x="379" y="25"/>
                    <a:pt x="384" y="57"/>
                    <a:pt x="368" y="80"/>
                  </a:cubicBezTo>
                  <a:cubicBezTo>
                    <a:pt x="209" y="304"/>
                    <a:pt x="209" y="304"/>
                    <a:pt x="209" y="304"/>
                  </a:cubicBezTo>
                  <a:cubicBezTo>
                    <a:pt x="209" y="305"/>
                    <a:pt x="208" y="306"/>
                    <a:pt x="208" y="306"/>
                  </a:cubicBezTo>
                  <a:cubicBezTo>
                    <a:pt x="207" y="307"/>
                    <a:pt x="207" y="307"/>
                    <a:pt x="207" y="307"/>
                  </a:cubicBezTo>
                  <a:cubicBezTo>
                    <a:pt x="207" y="307"/>
                    <a:pt x="207" y="308"/>
                    <a:pt x="206" y="308"/>
                  </a:cubicBezTo>
                  <a:cubicBezTo>
                    <a:pt x="204" y="310"/>
                    <a:pt x="203" y="312"/>
                    <a:pt x="201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200" y="314"/>
                    <a:pt x="200" y="314"/>
                    <a:pt x="200" y="314"/>
                  </a:cubicBezTo>
                  <a:cubicBezTo>
                    <a:pt x="199" y="315"/>
                    <a:pt x="199" y="315"/>
                    <a:pt x="199" y="315"/>
                  </a:cubicBezTo>
                  <a:cubicBezTo>
                    <a:pt x="199" y="315"/>
                    <a:pt x="199" y="315"/>
                    <a:pt x="198" y="315"/>
                  </a:cubicBezTo>
                  <a:cubicBezTo>
                    <a:pt x="198" y="316"/>
                    <a:pt x="198" y="316"/>
                    <a:pt x="198" y="316"/>
                  </a:cubicBezTo>
                  <a:cubicBezTo>
                    <a:pt x="196" y="317"/>
                    <a:pt x="195" y="318"/>
                    <a:pt x="193" y="319"/>
                  </a:cubicBezTo>
                  <a:cubicBezTo>
                    <a:pt x="192" y="319"/>
                    <a:pt x="192" y="319"/>
                    <a:pt x="192" y="320"/>
                  </a:cubicBezTo>
                  <a:cubicBezTo>
                    <a:pt x="189" y="321"/>
                    <a:pt x="187" y="322"/>
                    <a:pt x="185" y="323"/>
                  </a:cubicBezTo>
                  <a:cubicBezTo>
                    <a:pt x="184" y="323"/>
                    <a:pt x="184" y="323"/>
                    <a:pt x="183" y="323"/>
                  </a:cubicBezTo>
                  <a:cubicBezTo>
                    <a:pt x="181" y="324"/>
                    <a:pt x="179" y="324"/>
                    <a:pt x="178" y="325"/>
                  </a:cubicBezTo>
                  <a:cubicBezTo>
                    <a:pt x="177" y="325"/>
                    <a:pt x="176" y="325"/>
                    <a:pt x="175" y="325"/>
                  </a:cubicBezTo>
                  <a:cubicBezTo>
                    <a:pt x="173" y="325"/>
                    <a:pt x="171" y="325"/>
                    <a:pt x="170" y="325"/>
                  </a:cubicBezTo>
                  <a:cubicBezTo>
                    <a:pt x="168" y="325"/>
                    <a:pt x="168" y="325"/>
                    <a:pt x="168" y="325"/>
                  </a:cubicBezTo>
                  <a:lnTo>
                    <a:pt x="167" y="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5607" name="组合 31"/>
          <p:cNvGrpSpPr/>
          <p:nvPr/>
        </p:nvGrpSpPr>
        <p:grpSpPr bwMode="auto">
          <a:xfrm>
            <a:off x="7064375" y="2586038"/>
            <a:ext cx="628650" cy="628650"/>
            <a:chOff x="9405804" y="2634889"/>
            <a:chExt cx="691288" cy="691284"/>
          </a:xfrm>
        </p:grpSpPr>
        <p:sp>
          <p:nvSpPr>
            <p:cNvPr id="33" name="Freeform 6"/>
            <p:cNvSpPr/>
            <p:nvPr/>
          </p:nvSpPr>
          <p:spPr bwMode="auto">
            <a:xfrm>
              <a:off x="9405804" y="2634889"/>
              <a:ext cx="691288" cy="691284"/>
            </a:xfrm>
            <a:custGeom>
              <a:avLst/>
              <a:gdLst>
                <a:gd name="T0" fmla="*/ 566 w 566"/>
                <a:gd name="T1" fmla="*/ 283 h 566"/>
                <a:gd name="T2" fmla="*/ 373 w 566"/>
                <a:gd name="T3" fmla="*/ 551 h 566"/>
                <a:gd name="T4" fmla="*/ 283 w 566"/>
                <a:gd name="T5" fmla="*/ 566 h 566"/>
                <a:gd name="T6" fmla="*/ 0 w 566"/>
                <a:gd name="T7" fmla="*/ 283 h 566"/>
                <a:gd name="T8" fmla="*/ 283 w 566"/>
                <a:gd name="T9" fmla="*/ 0 h 566"/>
                <a:gd name="T10" fmla="*/ 559 w 566"/>
                <a:gd name="T11" fmla="*/ 224 h 566"/>
                <a:gd name="T12" fmla="*/ 566 w 566"/>
                <a:gd name="T13" fmla="*/ 283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6" h="566">
                  <a:moveTo>
                    <a:pt x="566" y="283"/>
                  </a:moveTo>
                  <a:cubicBezTo>
                    <a:pt x="566" y="408"/>
                    <a:pt x="485" y="514"/>
                    <a:pt x="373" y="551"/>
                  </a:cubicBezTo>
                  <a:cubicBezTo>
                    <a:pt x="345" y="561"/>
                    <a:pt x="314" y="566"/>
                    <a:pt x="283" y="566"/>
                  </a:cubicBezTo>
                  <a:cubicBezTo>
                    <a:pt x="126" y="566"/>
                    <a:pt x="0" y="439"/>
                    <a:pt x="0" y="283"/>
                  </a:cubicBezTo>
                  <a:cubicBezTo>
                    <a:pt x="0" y="127"/>
                    <a:pt x="126" y="0"/>
                    <a:pt x="283" y="0"/>
                  </a:cubicBezTo>
                  <a:cubicBezTo>
                    <a:pt x="419" y="0"/>
                    <a:pt x="532" y="96"/>
                    <a:pt x="559" y="224"/>
                  </a:cubicBezTo>
                  <a:cubicBezTo>
                    <a:pt x="564" y="243"/>
                    <a:pt x="566" y="263"/>
                    <a:pt x="566" y="283"/>
                  </a:cubicBezTo>
                </a:path>
              </a:pathLst>
            </a:cu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6" name="任意多边形 35"/>
            <p:cNvSpPr/>
            <p:nvPr/>
          </p:nvSpPr>
          <p:spPr>
            <a:xfrm rot="20955177">
              <a:off x="9582118" y="2758831"/>
              <a:ext cx="338661" cy="427689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7" name="任意多边形 36"/>
            <p:cNvSpPr/>
            <p:nvPr/>
          </p:nvSpPr>
          <p:spPr>
            <a:xfrm rot="15555177">
              <a:off x="9572517" y="2766685"/>
              <a:ext cx="338659" cy="427691"/>
            </a:xfrm>
            <a:custGeom>
              <a:avLst/>
              <a:gdLst>
                <a:gd name="connsiteX0" fmla="*/ 207168 w 309562"/>
                <a:gd name="connsiteY0" fmla="*/ 0 h 378618"/>
                <a:gd name="connsiteX1" fmla="*/ 309562 w 309562"/>
                <a:gd name="connsiteY1" fmla="*/ 69056 h 378618"/>
                <a:gd name="connsiteX2" fmla="*/ 90487 w 309562"/>
                <a:gd name="connsiteY2" fmla="*/ 378618 h 378618"/>
                <a:gd name="connsiteX3" fmla="*/ 0 w 309562"/>
                <a:gd name="connsiteY3" fmla="*/ 323850 h 378618"/>
                <a:gd name="connsiteX4" fmla="*/ 207168 w 309562"/>
                <a:gd name="connsiteY4" fmla="*/ 0 h 378618"/>
                <a:gd name="connsiteX0-1" fmla="*/ 221456 w 323850"/>
                <a:gd name="connsiteY0-2" fmla="*/ 0 h 378618"/>
                <a:gd name="connsiteX1-3" fmla="*/ 323850 w 323850"/>
                <a:gd name="connsiteY1-4" fmla="*/ 69056 h 378618"/>
                <a:gd name="connsiteX2-5" fmla="*/ 104775 w 323850"/>
                <a:gd name="connsiteY2-6" fmla="*/ 378618 h 378618"/>
                <a:gd name="connsiteX3-7" fmla="*/ 0 w 323850"/>
                <a:gd name="connsiteY3-8" fmla="*/ 319088 h 378618"/>
                <a:gd name="connsiteX4-9" fmla="*/ 221456 w 323850"/>
                <a:gd name="connsiteY4-10" fmla="*/ 0 h 378618"/>
                <a:gd name="connsiteX0-11" fmla="*/ 221456 w 323850"/>
                <a:gd name="connsiteY0-12" fmla="*/ 14537 h 393155"/>
                <a:gd name="connsiteX1-13" fmla="*/ 323850 w 323850"/>
                <a:gd name="connsiteY1-14" fmla="*/ 83593 h 393155"/>
                <a:gd name="connsiteX2-15" fmla="*/ 104775 w 323850"/>
                <a:gd name="connsiteY2-16" fmla="*/ 393155 h 393155"/>
                <a:gd name="connsiteX3-17" fmla="*/ 0 w 323850"/>
                <a:gd name="connsiteY3-18" fmla="*/ 333625 h 393155"/>
                <a:gd name="connsiteX4-19" fmla="*/ 221456 w 323850"/>
                <a:gd name="connsiteY4-20" fmla="*/ 14537 h 393155"/>
                <a:gd name="connsiteX0-21" fmla="*/ 221456 w 328806"/>
                <a:gd name="connsiteY0-22" fmla="*/ 16072 h 394690"/>
                <a:gd name="connsiteX1-23" fmla="*/ 323850 w 328806"/>
                <a:gd name="connsiteY1-24" fmla="*/ 85128 h 394690"/>
                <a:gd name="connsiteX2-25" fmla="*/ 104775 w 328806"/>
                <a:gd name="connsiteY2-26" fmla="*/ 394690 h 394690"/>
                <a:gd name="connsiteX3-27" fmla="*/ 0 w 328806"/>
                <a:gd name="connsiteY3-28" fmla="*/ 335160 h 394690"/>
                <a:gd name="connsiteX4-29" fmla="*/ 221456 w 328806"/>
                <a:gd name="connsiteY4-30" fmla="*/ 16072 h 394690"/>
                <a:gd name="connsiteX0-31" fmla="*/ 221456 w 327717"/>
                <a:gd name="connsiteY0-32" fmla="*/ 19969 h 398587"/>
                <a:gd name="connsiteX1-33" fmla="*/ 323850 w 327717"/>
                <a:gd name="connsiteY1-34" fmla="*/ 89025 h 398587"/>
                <a:gd name="connsiteX2-35" fmla="*/ 104775 w 327717"/>
                <a:gd name="connsiteY2-36" fmla="*/ 398587 h 398587"/>
                <a:gd name="connsiteX3-37" fmla="*/ 0 w 327717"/>
                <a:gd name="connsiteY3-38" fmla="*/ 339057 h 398587"/>
                <a:gd name="connsiteX4-39" fmla="*/ 221456 w 327717"/>
                <a:gd name="connsiteY4-40" fmla="*/ 19969 h 398587"/>
                <a:gd name="connsiteX0-41" fmla="*/ 221456 w 330942"/>
                <a:gd name="connsiteY0-42" fmla="*/ 19969 h 398587"/>
                <a:gd name="connsiteX1-43" fmla="*/ 323850 w 330942"/>
                <a:gd name="connsiteY1-44" fmla="*/ 89025 h 398587"/>
                <a:gd name="connsiteX2-45" fmla="*/ 104775 w 330942"/>
                <a:gd name="connsiteY2-46" fmla="*/ 398587 h 398587"/>
                <a:gd name="connsiteX3-47" fmla="*/ 0 w 330942"/>
                <a:gd name="connsiteY3-48" fmla="*/ 339057 h 398587"/>
                <a:gd name="connsiteX4-49" fmla="*/ 221456 w 330942"/>
                <a:gd name="connsiteY4-50" fmla="*/ 19969 h 398587"/>
                <a:gd name="connsiteX0-51" fmla="*/ 221456 w 329987"/>
                <a:gd name="connsiteY0-52" fmla="*/ 20954 h 399572"/>
                <a:gd name="connsiteX1-53" fmla="*/ 323850 w 329987"/>
                <a:gd name="connsiteY1-54" fmla="*/ 90010 h 399572"/>
                <a:gd name="connsiteX2-55" fmla="*/ 104775 w 329987"/>
                <a:gd name="connsiteY2-56" fmla="*/ 399572 h 399572"/>
                <a:gd name="connsiteX3-57" fmla="*/ 0 w 329987"/>
                <a:gd name="connsiteY3-58" fmla="*/ 340042 h 399572"/>
                <a:gd name="connsiteX4-59" fmla="*/ 221456 w 329987"/>
                <a:gd name="connsiteY4-60" fmla="*/ 20954 h 399572"/>
                <a:gd name="connsiteX0-61" fmla="*/ 232114 w 340645"/>
                <a:gd name="connsiteY0-62" fmla="*/ 20954 h 401996"/>
                <a:gd name="connsiteX1-63" fmla="*/ 334508 w 340645"/>
                <a:gd name="connsiteY1-64" fmla="*/ 90010 h 401996"/>
                <a:gd name="connsiteX2-65" fmla="*/ 115433 w 340645"/>
                <a:gd name="connsiteY2-66" fmla="*/ 399572 h 401996"/>
                <a:gd name="connsiteX3-67" fmla="*/ 10658 w 340645"/>
                <a:gd name="connsiteY3-68" fmla="*/ 340042 h 401996"/>
                <a:gd name="connsiteX4-69" fmla="*/ 232114 w 340645"/>
                <a:gd name="connsiteY4-70" fmla="*/ 20954 h 401996"/>
                <a:gd name="connsiteX0-71" fmla="*/ 231960 w 340491"/>
                <a:gd name="connsiteY0-72" fmla="*/ 20954 h 434427"/>
                <a:gd name="connsiteX1-73" fmla="*/ 334354 w 340491"/>
                <a:gd name="connsiteY1-74" fmla="*/ 90010 h 434427"/>
                <a:gd name="connsiteX2-75" fmla="*/ 115279 w 340491"/>
                <a:gd name="connsiteY2-76" fmla="*/ 399572 h 434427"/>
                <a:gd name="connsiteX3-77" fmla="*/ 10504 w 340491"/>
                <a:gd name="connsiteY3-78" fmla="*/ 340042 h 434427"/>
                <a:gd name="connsiteX4-79" fmla="*/ 231960 w 340491"/>
                <a:gd name="connsiteY4-80" fmla="*/ 20954 h 434427"/>
                <a:gd name="connsiteX0-81" fmla="*/ 236128 w 344659"/>
                <a:gd name="connsiteY0-82" fmla="*/ 20954 h 431274"/>
                <a:gd name="connsiteX1-83" fmla="*/ 338522 w 344659"/>
                <a:gd name="connsiteY1-84" fmla="*/ 90010 h 431274"/>
                <a:gd name="connsiteX2-85" fmla="*/ 119447 w 344659"/>
                <a:gd name="connsiteY2-86" fmla="*/ 399572 h 431274"/>
                <a:gd name="connsiteX3-87" fmla="*/ 14672 w 344659"/>
                <a:gd name="connsiteY3-88" fmla="*/ 340042 h 431274"/>
                <a:gd name="connsiteX4-89" fmla="*/ 236128 w 344659"/>
                <a:gd name="connsiteY4-90" fmla="*/ 20954 h 431274"/>
                <a:gd name="connsiteX0-91" fmla="*/ 237542 w 346073"/>
                <a:gd name="connsiteY0-92" fmla="*/ 20954 h 432326"/>
                <a:gd name="connsiteX1-93" fmla="*/ 339936 w 346073"/>
                <a:gd name="connsiteY1-94" fmla="*/ 90010 h 432326"/>
                <a:gd name="connsiteX2-95" fmla="*/ 120861 w 346073"/>
                <a:gd name="connsiteY2-96" fmla="*/ 399572 h 432326"/>
                <a:gd name="connsiteX3-97" fmla="*/ 16086 w 346073"/>
                <a:gd name="connsiteY3-98" fmla="*/ 340042 h 432326"/>
                <a:gd name="connsiteX4-99" fmla="*/ 237542 w 346073"/>
                <a:gd name="connsiteY4-100" fmla="*/ 20954 h 432326"/>
                <a:gd name="connsiteX0-101" fmla="*/ 229809 w 338340"/>
                <a:gd name="connsiteY0-102" fmla="*/ 20954 h 427405"/>
                <a:gd name="connsiteX1-103" fmla="*/ 332203 w 338340"/>
                <a:gd name="connsiteY1-104" fmla="*/ 90010 h 427405"/>
                <a:gd name="connsiteX2-105" fmla="*/ 113128 w 338340"/>
                <a:gd name="connsiteY2-106" fmla="*/ 399572 h 427405"/>
                <a:gd name="connsiteX3-107" fmla="*/ 8353 w 338340"/>
                <a:gd name="connsiteY3-108" fmla="*/ 340042 h 427405"/>
                <a:gd name="connsiteX4-109" fmla="*/ 229809 w 338340"/>
                <a:gd name="connsiteY4-110" fmla="*/ 20954 h 427405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338340" h="427405">
                  <a:moveTo>
                    <a:pt x="229809" y="20954"/>
                  </a:moveTo>
                  <a:cubicBezTo>
                    <a:pt x="287753" y="-41752"/>
                    <a:pt x="359985" y="52703"/>
                    <a:pt x="332203" y="90010"/>
                  </a:cubicBezTo>
                  <a:lnTo>
                    <a:pt x="113128" y="399572"/>
                  </a:lnTo>
                  <a:cubicBezTo>
                    <a:pt x="63915" y="460691"/>
                    <a:pt x="-28158" y="412272"/>
                    <a:pt x="8353" y="340042"/>
                  </a:cubicBezTo>
                  <a:lnTo>
                    <a:pt x="229809" y="20954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38" name="AutoShape 18"/>
          <p:cNvSpPr>
            <a:spLocks noChangeArrowheads="1"/>
          </p:cNvSpPr>
          <p:nvPr/>
        </p:nvSpPr>
        <p:spPr bwMode="auto">
          <a:xfrm>
            <a:off x="4586288" y="847725"/>
            <a:ext cx="547687" cy="727075"/>
          </a:xfrm>
          <a:prstGeom prst="rightArrow">
            <a:avLst>
              <a:gd name="adj1" fmla="val 50111"/>
              <a:gd name="adj2" fmla="val 63157"/>
            </a:avLst>
          </a:prstGeom>
          <a:solidFill>
            <a:srgbClr val="C7636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noProof="1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/>
          <p:cNvGrpSpPr/>
          <p:nvPr/>
        </p:nvGrpSpPr>
        <p:grpSpPr>
          <a:xfrm>
            <a:off x="6407912" y="1938339"/>
            <a:ext cx="1124036" cy="1166611"/>
            <a:chOff x="6407912" y="1938339"/>
            <a:chExt cx="1124036" cy="116661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6407912" y="2011582"/>
              <a:ext cx="1100685" cy="109336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5" name="组合 24"/>
            <p:cNvGrpSpPr/>
            <p:nvPr/>
          </p:nvGrpSpPr>
          <p:grpSpPr>
            <a:xfrm>
              <a:off x="7092280" y="1938339"/>
              <a:ext cx="439668" cy="1042599"/>
              <a:chOff x="4852412" y="2376567"/>
              <a:chExt cx="439668" cy="1042599"/>
            </a:xfrm>
          </p:grpSpPr>
          <p:sp>
            <p:nvSpPr>
              <p:cNvPr id="26" name="TextBox 25"/>
              <p:cNvSpPr txBox="1"/>
              <p:nvPr/>
            </p:nvSpPr>
            <p:spPr>
              <a:xfrm>
                <a:off x="5059248" y="237656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852412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28" name="TextBox 27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2258632" y="2525489"/>
            <a:ext cx="1136625" cy="1174644"/>
            <a:chOff x="5277103" y="2170182"/>
            <a:chExt cx="1136625" cy="1174644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0" name="Rectangle 14"/>
            <p:cNvSpPr>
              <a:spLocks noChangeArrowheads="1"/>
            </p:cNvSpPr>
            <p:nvPr/>
          </p:nvSpPr>
          <p:spPr bwMode="auto">
            <a:xfrm>
              <a:off x="5277103" y="2251459"/>
              <a:ext cx="1105215" cy="109336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" name="组合 30"/>
            <p:cNvGrpSpPr/>
            <p:nvPr/>
          </p:nvGrpSpPr>
          <p:grpSpPr>
            <a:xfrm>
              <a:off x="5963012" y="2170182"/>
              <a:ext cx="450716" cy="999702"/>
              <a:chOff x="4847180" y="2285147"/>
              <a:chExt cx="450716" cy="999702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5065064" y="228514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4847180" y="2557939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4" name="组合 33"/>
          <p:cNvGrpSpPr/>
          <p:nvPr/>
        </p:nvGrpSpPr>
        <p:grpSpPr>
          <a:xfrm>
            <a:off x="1544321" y="2804742"/>
            <a:ext cx="1105511" cy="1161271"/>
            <a:chOff x="4160177" y="2389634"/>
            <a:chExt cx="1105511" cy="116127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5" name="Rectangle 14"/>
            <p:cNvSpPr>
              <a:spLocks noChangeArrowheads="1"/>
            </p:cNvSpPr>
            <p:nvPr/>
          </p:nvSpPr>
          <p:spPr bwMode="auto">
            <a:xfrm>
              <a:off x="4160177" y="2457538"/>
              <a:ext cx="1100684" cy="109336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200">
                <a:solidFill>
                  <a:prstClr val="black">
                    <a:alpha val="99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6" name="组合 35"/>
            <p:cNvGrpSpPr/>
            <p:nvPr/>
          </p:nvGrpSpPr>
          <p:grpSpPr>
            <a:xfrm>
              <a:off x="4852412" y="2389634"/>
              <a:ext cx="413276" cy="1034979"/>
              <a:chOff x="4742304" y="2384187"/>
              <a:chExt cx="413276" cy="1034979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4922748" y="238418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742304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9" name="组合 38"/>
          <p:cNvGrpSpPr/>
          <p:nvPr/>
        </p:nvGrpSpPr>
        <p:grpSpPr>
          <a:xfrm>
            <a:off x="4225590" y="1113415"/>
            <a:ext cx="2182322" cy="2270180"/>
            <a:chOff x="256115" y="1446863"/>
            <a:chExt cx="1710329" cy="177918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0" name="组合 39"/>
            <p:cNvGrpSpPr/>
            <p:nvPr/>
          </p:nvGrpSpPr>
          <p:grpSpPr>
            <a:xfrm>
              <a:off x="256115" y="1446863"/>
              <a:ext cx="1710329" cy="1779185"/>
              <a:chOff x="1064646" y="1034182"/>
              <a:chExt cx="1710329" cy="1779185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42" name="Rectangle 14"/>
              <p:cNvSpPr>
                <a:spLocks noChangeArrowheads="1"/>
              </p:cNvSpPr>
              <p:nvPr/>
            </p:nvSpPr>
            <p:spPr bwMode="auto">
              <a:xfrm>
                <a:off x="1064646" y="1122637"/>
                <a:ext cx="1702045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414935" y="1034182"/>
                <a:ext cx="360040" cy="410058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1279500" y="1939546"/>
              <a:ext cx="434179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组合 23"/>
          <p:cNvGrpSpPr/>
          <p:nvPr/>
        </p:nvGrpSpPr>
        <p:grpSpPr>
          <a:xfrm>
            <a:off x="5780612" y="1295225"/>
            <a:ext cx="1775466" cy="1809725"/>
            <a:chOff x="5868144" y="1411938"/>
            <a:chExt cx="1775466" cy="180972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25" name="组合 24"/>
            <p:cNvGrpSpPr/>
            <p:nvPr/>
          </p:nvGrpSpPr>
          <p:grpSpPr>
            <a:xfrm>
              <a:off x="5868144" y="1411938"/>
              <a:ext cx="1775466" cy="1809725"/>
              <a:chOff x="2819776" y="2850257"/>
              <a:chExt cx="1775466" cy="1809725"/>
            </a:xfrm>
          </p:grpSpPr>
          <p:sp>
            <p:nvSpPr>
              <p:cNvPr id="27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4235202" y="2850257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>
            <a:xfrm>
              <a:off x="6884307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644657" y="1541299"/>
            <a:ext cx="1790026" cy="1803528"/>
            <a:chOff x="3995936" y="1418338"/>
            <a:chExt cx="1790026" cy="1803528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30" name="组合 29"/>
            <p:cNvGrpSpPr/>
            <p:nvPr/>
          </p:nvGrpSpPr>
          <p:grpSpPr>
            <a:xfrm>
              <a:off x="3995936" y="1418338"/>
              <a:ext cx="1790026" cy="1803528"/>
              <a:chOff x="981036" y="2856454"/>
              <a:chExt cx="1790026" cy="1803528"/>
            </a:xfrm>
          </p:grpSpPr>
          <p:sp>
            <p:nvSpPr>
              <p:cNvPr id="32" name="Rectangle 14"/>
              <p:cNvSpPr>
                <a:spLocks noChangeArrowheads="1"/>
              </p:cNvSpPr>
              <p:nvPr/>
            </p:nvSpPr>
            <p:spPr bwMode="auto">
              <a:xfrm>
                <a:off x="981036" y="2969252"/>
                <a:ext cx="1709052" cy="169073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411022" y="2856454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019288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3530633" y="1746749"/>
            <a:ext cx="1781816" cy="1804156"/>
            <a:chOff x="2064048" y="1427813"/>
            <a:chExt cx="1781816" cy="180415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35" name="组合 34"/>
            <p:cNvGrpSpPr/>
            <p:nvPr/>
          </p:nvGrpSpPr>
          <p:grpSpPr>
            <a:xfrm>
              <a:off x="2064048" y="1427813"/>
              <a:ext cx="1781816" cy="1804156"/>
              <a:chOff x="2819776" y="1027832"/>
              <a:chExt cx="1781816" cy="1804156"/>
            </a:xfrm>
          </p:grpSpPr>
          <p:sp>
            <p:nvSpPr>
              <p:cNvPr id="37" name="Rectangle 14"/>
              <p:cNvSpPr>
                <a:spLocks noChangeArrowheads="1"/>
              </p:cNvSpPr>
              <p:nvPr/>
            </p:nvSpPr>
            <p:spPr bwMode="auto">
              <a:xfrm>
                <a:off x="2819776" y="1141258"/>
                <a:ext cx="1702045" cy="1690730"/>
              </a:xfrm>
              <a:prstGeom prst="rect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241552" y="102783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3181331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2458133" y="1934163"/>
            <a:ext cx="1786932" cy="1797806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0" name="组合 39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42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1252012" y="1939546"/>
              <a:ext cx="461665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4" name="TextBox 43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>
            <p:custDataLst>
              <p:tags r:id="rId1"/>
            </p:custDataLst>
          </p:nvPr>
        </p:nvSpPr>
        <p:spPr bwMode="auto">
          <a:xfrm>
            <a:off x="608013" y="2298700"/>
            <a:ext cx="2516187" cy="1965325"/>
          </a:xfrm>
          <a:prstGeom prst="rect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/>
          <a:p>
            <a:pPr algn="just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精益求精、拒绝平庸的做事精神。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11"/>
          <p:cNvSpPr/>
          <p:nvPr>
            <p:custDataLst>
              <p:tags r:id="rId2"/>
            </p:custDataLst>
          </p:nvPr>
        </p:nvSpPr>
        <p:spPr bwMode="auto">
          <a:xfrm>
            <a:off x="3214688" y="2298700"/>
            <a:ext cx="2516187" cy="1965325"/>
          </a:xfrm>
          <a:prstGeom prst="rect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/>
          <a:p>
            <a:pPr algn="just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精益求精、拒绝平庸的做事精神，帮助您实现美观、精致、严谨。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13"/>
          <p:cNvSpPr/>
          <p:nvPr>
            <p:custDataLst>
              <p:tags r:id="rId3"/>
            </p:custDataLst>
          </p:nvPr>
        </p:nvSpPr>
        <p:spPr bwMode="auto">
          <a:xfrm>
            <a:off x="5810250" y="2298700"/>
            <a:ext cx="2516188" cy="1965325"/>
          </a:xfrm>
          <a:prstGeom prst="rect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/>
          <a:p>
            <a:pPr algn="just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</a:t>
            </a:r>
            <a:r>
              <a: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坚持精益求</a:t>
            </a: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神。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653" name="组合 18"/>
          <p:cNvGrpSpPr/>
          <p:nvPr/>
        </p:nvGrpSpPr>
        <p:grpSpPr bwMode="auto">
          <a:xfrm>
            <a:off x="608013" y="873125"/>
            <a:ext cx="2516187" cy="1382713"/>
            <a:chOff x="579595" y="873123"/>
            <a:chExt cx="2516672" cy="1382468"/>
          </a:xfrm>
        </p:grpSpPr>
        <p:sp>
          <p:nvSpPr>
            <p:cNvPr id="2" name="Rectangle 4"/>
            <p:cNvSpPr/>
            <p:nvPr>
              <p:custDataLst>
                <p:tags r:id="rId4"/>
              </p:custDataLst>
            </p:nvPr>
          </p:nvSpPr>
          <p:spPr bwMode="auto">
            <a:xfrm>
              <a:off x="579595" y="873123"/>
              <a:ext cx="2516672" cy="138246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marL="0" lvl="1" defTabSz="698500" eaLnBrk="1" fontAlgn="auto" hangingPunct="1">
                <a:lnSpc>
                  <a:spcPct val="90000"/>
                </a:lnSpc>
                <a:spcBef>
                  <a:spcPts val="610"/>
                </a:spcBef>
                <a:spcAft>
                  <a:spcPts val="0"/>
                </a:spcAft>
                <a:buSzPct val="90000"/>
                <a:defRPr/>
              </a:pPr>
              <a:r>
                <a:rPr lang="zh-CN" altLang="en-US" sz="28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Rounded Rectangle 100"/>
            <p:cNvSpPr/>
            <p:nvPr>
              <p:custDataLst>
                <p:tags r:id="rId5"/>
              </p:custDataLst>
            </p:nvPr>
          </p:nvSpPr>
          <p:spPr bwMode="auto">
            <a:xfrm>
              <a:off x="2195982" y="966769"/>
              <a:ext cx="768498" cy="536480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12" tIns="46607" rIns="46607" bIns="93212" anchor="b"/>
            <a:lstStyle/>
            <a:p>
              <a:pPr algn="ctr" defTabSz="931545" eaLnBrk="1" hangingPunct="1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7654" name="组合 19"/>
          <p:cNvGrpSpPr/>
          <p:nvPr/>
        </p:nvGrpSpPr>
        <p:grpSpPr bwMode="auto">
          <a:xfrm>
            <a:off x="3214688" y="873125"/>
            <a:ext cx="2516187" cy="1382713"/>
            <a:chOff x="3194425" y="873123"/>
            <a:chExt cx="2516672" cy="1382468"/>
          </a:xfrm>
        </p:grpSpPr>
        <p:sp>
          <p:nvSpPr>
            <p:cNvPr id="4" name="Rectangle 10"/>
            <p:cNvSpPr/>
            <p:nvPr>
              <p:custDataLst>
                <p:tags r:id="rId6"/>
              </p:custDataLst>
            </p:nvPr>
          </p:nvSpPr>
          <p:spPr bwMode="auto">
            <a:xfrm>
              <a:off x="3194425" y="873123"/>
              <a:ext cx="2516672" cy="138246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marL="0" lvl="1" defTabSz="698500" eaLnBrk="1" fontAlgn="auto" hangingPunct="1">
                <a:lnSpc>
                  <a:spcPct val="90000"/>
                </a:lnSpc>
                <a:spcBef>
                  <a:spcPts val="610"/>
                </a:spcBef>
                <a:spcAft>
                  <a:spcPts val="0"/>
                </a:spcAft>
                <a:buSzPct val="90000"/>
                <a:defRPr/>
              </a:pPr>
              <a:r>
                <a:rPr lang="zh-CN" altLang="en-US" sz="28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9" name="Group 15"/>
            <p:cNvGrpSpPr/>
            <p:nvPr>
              <p:custDataLst>
                <p:tags r:id="rId7"/>
              </p:custDataLst>
            </p:nvPr>
          </p:nvGrpSpPr>
          <p:grpSpPr>
            <a:xfrm flipH="1">
              <a:off x="4849956" y="1005534"/>
              <a:ext cx="667008" cy="455268"/>
              <a:chOff x="8369398" y="1851899"/>
              <a:chExt cx="756170" cy="516124"/>
            </a:xfrm>
            <a:solidFill>
              <a:schemeClr val="bg1"/>
            </a:solidFill>
          </p:grpSpPr>
          <p:sp>
            <p:nvSpPr>
              <p:cNvPr id="10" name="Rounded Rectangle 307"/>
              <p:cNvSpPr/>
              <p:nvPr/>
            </p:nvSpPr>
            <p:spPr bwMode="auto">
              <a:xfrm rot="1411326">
                <a:off x="8816737" y="2158724"/>
                <a:ext cx="308831" cy="209299"/>
              </a:xfrm>
              <a:custGeom>
                <a:avLst/>
                <a:gdLst/>
                <a:ahLst/>
                <a:cxnLst/>
                <a:rect l="l" t="t" r="r" b="b"/>
                <a:pathLst>
                  <a:path w="308831" h="209299">
                    <a:moveTo>
                      <a:pt x="6932" y="0"/>
                    </a:moveTo>
                    <a:lnTo>
                      <a:pt x="62731" y="5004"/>
                    </a:lnTo>
                    <a:cubicBezTo>
                      <a:pt x="73820" y="4021"/>
                      <a:pt x="83149" y="12888"/>
                      <a:pt x="85697" y="24169"/>
                    </a:cubicBezTo>
                    <a:lnTo>
                      <a:pt x="85452" y="33272"/>
                    </a:lnTo>
                    <a:cubicBezTo>
                      <a:pt x="85954" y="32635"/>
                      <a:pt x="86485" y="32624"/>
                      <a:pt x="87017" y="32624"/>
                    </a:cubicBezTo>
                    <a:lnTo>
                      <a:pt x="270296" y="32624"/>
                    </a:lnTo>
                    <a:cubicBezTo>
                      <a:pt x="291578" y="32624"/>
                      <a:pt x="308831" y="49877"/>
                      <a:pt x="308831" y="71159"/>
                    </a:cubicBezTo>
                    <a:lnTo>
                      <a:pt x="308831" y="146071"/>
                    </a:lnTo>
                    <a:cubicBezTo>
                      <a:pt x="308831" y="167353"/>
                      <a:pt x="291578" y="184606"/>
                      <a:pt x="270296" y="184606"/>
                    </a:cubicBezTo>
                    <a:lnTo>
                      <a:pt x="87017" y="184606"/>
                    </a:lnTo>
                    <a:lnTo>
                      <a:pt x="81440" y="182295"/>
                    </a:lnTo>
                    <a:lnTo>
                      <a:pt x="81438" y="182371"/>
                    </a:lnTo>
                    <a:cubicBezTo>
                      <a:pt x="82699" y="196467"/>
                      <a:pt x="69880" y="211811"/>
                      <a:pt x="54012" y="208953"/>
                    </a:cubicBezTo>
                    <a:lnTo>
                      <a:pt x="0" y="208054"/>
                    </a:lnTo>
                    <a:cubicBezTo>
                      <a:pt x="11559" y="178614"/>
                      <a:pt x="19544" y="140965"/>
                      <a:pt x="23432" y="105100"/>
                    </a:cubicBezTo>
                    <a:cubicBezTo>
                      <a:pt x="23221" y="71020"/>
                      <a:pt x="17126" y="34619"/>
                      <a:pt x="69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Oval 247"/>
              <p:cNvSpPr/>
              <p:nvPr/>
            </p:nvSpPr>
            <p:spPr bwMode="auto">
              <a:xfrm>
                <a:off x="8369398" y="1851899"/>
                <a:ext cx="482863" cy="482862"/>
              </a:xfrm>
              <a:custGeom>
                <a:avLst/>
                <a:gdLst/>
                <a:ahLst/>
                <a:cxnLst/>
                <a:rect l="l" t="t" r="r" b="b"/>
                <a:pathLst>
                  <a:path w="573170" h="573170">
                    <a:moveTo>
                      <a:pt x="286585" y="47056"/>
                    </a:moveTo>
                    <a:cubicBezTo>
                      <a:pt x="154297" y="47056"/>
                      <a:pt x="47056" y="154297"/>
                      <a:pt x="47056" y="286585"/>
                    </a:cubicBezTo>
                    <a:cubicBezTo>
                      <a:pt x="47056" y="418873"/>
                      <a:pt x="154297" y="526114"/>
                      <a:pt x="286585" y="526114"/>
                    </a:cubicBezTo>
                    <a:cubicBezTo>
                      <a:pt x="418873" y="526114"/>
                      <a:pt x="526114" y="418873"/>
                      <a:pt x="526114" y="286585"/>
                    </a:cubicBezTo>
                    <a:cubicBezTo>
                      <a:pt x="526114" y="154297"/>
                      <a:pt x="418873" y="47056"/>
                      <a:pt x="286585" y="47056"/>
                    </a:cubicBezTo>
                    <a:close/>
                    <a:moveTo>
                      <a:pt x="286585" y="0"/>
                    </a:moveTo>
                    <a:cubicBezTo>
                      <a:pt x="444862" y="0"/>
                      <a:pt x="573170" y="128308"/>
                      <a:pt x="573170" y="286585"/>
                    </a:cubicBezTo>
                    <a:cubicBezTo>
                      <a:pt x="573170" y="444862"/>
                      <a:pt x="444862" y="573170"/>
                      <a:pt x="286585" y="573170"/>
                    </a:cubicBezTo>
                    <a:cubicBezTo>
                      <a:pt x="128308" y="573170"/>
                      <a:pt x="0" y="444862"/>
                      <a:pt x="0" y="286585"/>
                    </a:cubicBezTo>
                    <a:cubicBezTo>
                      <a:pt x="0" y="128308"/>
                      <a:pt x="128308" y="0"/>
                      <a:pt x="28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Freeform 257"/>
              <p:cNvSpPr/>
              <p:nvPr/>
            </p:nvSpPr>
            <p:spPr bwMode="black">
              <a:xfrm>
                <a:off x="8477432" y="1892946"/>
                <a:ext cx="187186" cy="125197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93247" tIns="46623" rIns="93247" bIns="46623"/>
              <a:lstStyle/>
              <a:p>
                <a:pPr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3" name="Group 19"/>
              <p:cNvGrpSpPr/>
              <p:nvPr/>
            </p:nvGrpSpPr>
            <p:grpSpPr bwMode="black">
              <a:xfrm>
                <a:off x="8459235" y="1994058"/>
                <a:ext cx="303219" cy="246679"/>
                <a:chOff x="5184779" y="225425"/>
                <a:chExt cx="1500184" cy="1220787"/>
              </a:xfrm>
              <a:grpFill/>
            </p:grpSpPr>
            <p:sp>
              <p:nvSpPr>
                <p:cNvPr id="14" name="Freeform 86"/>
                <p:cNvSpPr>
                  <a:spLocks noEditPoints="1"/>
                </p:cNvSpPr>
                <p:nvPr/>
              </p:nvSpPr>
              <p:spPr bwMode="black">
                <a:xfrm>
                  <a:off x="5184779" y="344490"/>
                  <a:ext cx="1095376" cy="1101722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5" name="Oval 87"/>
                <p:cNvSpPr>
                  <a:spLocks noChangeArrowheads="1"/>
                </p:cNvSpPr>
                <p:nvPr/>
              </p:nvSpPr>
              <p:spPr bwMode="black">
                <a:xfrm>
                  <a:off x="5630869" y="812799"/>
                  <a:ext cx="203201" cy="20320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6" name="Freeform 88"/>
                <p:cNvSpPr>
                  <a:spLocks noEditPoints="1"/>
                </p:cNvSpPr>
                <p:nvPr/>
              </p:nvSpPr>
              <p:spPr bwMode="black">
                <a:xfrm>
                  <a:off x="6129339" y="225425"/>
                  <a:ext cx="555624" cy="598489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27655" name="组合 20"/>
          <p:cNvGrpSpPr/>
          <p:nvPr/>
        </p:nvGrpSpPr>
        <p:grpSpPr bwMode="auto">
          <a:xfrm>
            <a:off x="5810250" y="873125"/>
            <a:ext cx="2516188" cy="1382713"/>
            <a:chOff x="5829269" y="873123"/>
            <a:chExt cx="2516672" cy="1382468"/>
          </a:xfrm>
        </p:grpSpPr>
        <p:sp>
          <p:nvSpPr>
            <p:cNvPr id="6" name="Rectangle 12"/>
            <p:cNvSpPr/>
            <p:nvPr>
              <p:custDataLst>
                <p:tags r:id="rId8"/>
              </p:custDataLst>
            </p:nvPr>
          </p:nvSpPr>
          <p:spPr bwMode="auto">
            <a:xfrm>
              <a:off x="5829269" y="873123"/>
              <a:ext cx="2516672" cy="138246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marL="0" lvl="1" defTabSz="698500" eaLnBrk="1" fontAlgn="auto" hangingPunct="1">
                <a:lnSpc>
                  <a:spcPct val="90000"/>
                </a:lnSpc>
                <a:spcBef>
                  <a:spcPts val="610"/>
                </a:spcBef>
                <a:spcAft>
                  <a:spcPts val="0"/>
                </a:spcAft>
                <a:buSzPct val="90000"/>
                <a:defRPr/>
              </a:pPr>
              <a:r>
                <a:rPr lang="zh-CN" altLang="en-US" sz="28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Rectangle 92166"/>
            <p:cNvSpPr/>
            <p:nvPr>
              <p:custDataLst>
                <p:tags r:id="rId9"/>
              </p:custDataLst>
            </p:nvPr>
          </p:nvSpPr>
          <p:spPr bwMode="auto">
            <a:xfrm flipV="1">
              <a:off x="7779094" y="981054"/>
              <a:ext cx="433471" cy="506323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组合 60"/>
          <p:cNvGrpSpPr/>
          <p:nvPr/>
        </p:nvGrpSpPr>
        <p:grpSpPr bwMode="auto">
          <a:xfrm>
            <a:off x="1752600" y="1076325"/>
            <a:ext cx="6175375" cy="3144838"/>
            <a:chOff x="1752824" y="1076029"/>
            <a:chExt cx="6174776" cy="3145831"/>
          </a:xfrm>
        </p:grpSpPr>
        <p:sp>
          <p:nvSpPr>
            <p:cNvPr id="18" name="Right Arrow 57"/>
            <p:cNvSpPr>
              <a:spLocks noChangeArrowheads="1"/>
            </p:cNvSpPr>
            <p:nvPr/>
          </p:nvSpPr>
          <p:spPr bwMode="auto">
            <a:xfrm flipH="1">
              <a:off x="4899000" y="3027713"/>
              <a:ext cx="1436433" cy="929067"/>
            </a:xfrm>
            <a:prstGeom prst="rightArrow">
              <a:avLst>
                <a:gd name="adj1" fmla="val 50000"/>
                <a:gd name="adj2" fmla="val 59414"/>
              </a:avLst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" name="AutoShape 2"/>
            <p:cNvSpPr>
              <a:spLocks noChangeArrowheads="1"/>
            </p:cNvSpPr>
            <p:nvPr/>
          </p:nvSpPr>
          <p:spPr bwMode="auto">
            <a:xfrm rot="16200000">
              <a:off x="1054600" y="2061581"/>
              <a:ext cx="2839346" cy="953995"/>
            </a:xfrm>
            <a:custGeom>
              <a:avLst/>
              <a:gdLst>
                <a:gd name="T0" fmla="*/ 4693469 w 21600"/>
                <a:gd name="T1" fmla="*/ 800894 h 21600"/>
                <a:gd name="T2" fmla="*/ 2438400 w 21600"/>
                <a:gd name="T3" fmla="*/ 1601787 h 21600"/>
                <a:gd name="T4" fmla="*/ 183332 w 21600"/>
                <a:gd name="T5" fmla="*/ 800894 h 21600"/>
                <a:gd name="T6" fmla="*/ 24384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12 w 21600"/>
                <a:gd name="T13" fmla="*/ 2612 h 21600"/>
                <a:gd name="T14" fmla="*/ 18988 w 21600"/>
                <a:gd name="T15" fmla="*/ 1898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24" y="21600"/>
                  </a:lnTo>
                  <a:lnTo>
                    <a:pt x="1997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" name="AutoShape 3"/>
            <p:cNvSpPr>
              <a:spLocks noChangeArrowheads="1"/>
            </p:cNvSpPr>
            <p:nvPr/>
          </p:nvSpPr>
          <p:spPr bwMode="auto">
            <a:xfrm rot="16200000">
              <a:off x="2961797" y="2017910"/>
              <a:ext cx="2839346" cy="955582"/>
            </a:xfrm>
            <a:custGeom>
              <a:avLst/>
              <a:gdLst>
                <a:gd name="T0" fmla="*/ 4693469 w 21600"/>
                <a:gd name="T1" fmla="*/ 800100 h 21600"/>
                <a:gd name="T2" fmla="*/ 2438400 w 21600"/>
                <a:gd name="T3" fmla="*/ 1600200 h 21600"/>
                <a:gd name="T4" fmla="*/ 183332 w 21600"/>
                <a:gd name="T5" fmla="*/ 800100 h 21600"/>
                <a:gd name="T6" fmla="*/ 243840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12 w 21600"/>
                <a:gd name="T13" fmla="*/ 2612 h 21600"/>
                <a:gd name="T14" fmla="*/ 18988 w 21600"/>
                <a:gd name="T15" fmla="*/ 1898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24" y="21600"/>
                  </a:lnTo>
                  <a:lnTo>
                    <a:pt x="19976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686" name="Freeform 132"/>
            <p:cNvSpPr/>
            <p:nvPr/>
          </p:nvSpPr>
          <p:spPr bwMode="gray">
            <a:xfrm>
              <a:off x="4097380" y="2149186"/>
              <a:ext cx="568121" cy="133517"/>
            </a:xfrm>
            <a:custGeom>
              <a:avLst/>
              <a:gdLst>
                <a:gd name="T0" fmla="*/ 2147483646 w 364"/>
                <a:gd name="T1" fmla="*/ 2147483646 h 86"/>
                <a:gd name="T2" fmla="*/ 2147483646 w 364"/>
                <a:gd name="T3" fmla="*/ 2147483646 h 86"/>
                <a:gd name="T4" fmla="*/ 2147483646 w 364"/>
                <a:gd name="T5" fmla="*/ 2147483646 h 86"/>
                <a:gd name="T6" fmla="*/ 2147483646 w 364"/>
                <a:gd name="T7" fmla="*/ 2147483646 h 86"/>
                <a:gd name="T8" fmla="*/ 2147483646 w 364"/>
                <a:gd name="T9" fmla="*/ 2147483646 h 86"/>
                <a:gd name="T10" fmla="*/ 2147483646 w 364"/>
                <a:gd name="T11" fmla="*/ 2147483646 h 86"/>
                <a:gd name="T12" fmla="*/ 2147483646 w 364"/>
                <a:gd name="T13" fmla="*/ 2147483646 h 86"/>
                <a:gd name="T14" fmla="*/ 2147483646 w 364"/>
                <a:gd name="T15" fmla="*/ 2147483646 h 86"/>
                <a:gd name="T16" fmla="*/ 2147483646 w 364"/>
                <a:gd name="T17" fmla="*/ 2147483646 h 86"/>
                <a:gd name="T18" fmla="*/ 2147483646 w 364"/>
                <a:gd name="T19" fmla="*/ 2147483646 h 86"/>
                <a:gd name="T20" fmla="*/ 2147483646 w 364"/>
                <a:gd name="T21" fmla="*/ 2147483646 h 86"/>
                <a:gd name="T22" fmla="*/ 2147483646 w 364"/>
                <a:gd name="T23" fmla="*/ 2147483646 h 86"/>
                <a:gd name="T24" fmla="*/ 2147483646 w 364"/>
                <a:gd name="T25" fmla="*/ 2147483646 h 86"/>
                <a:gd name="T26" fmla="*/ 2147483646 w 364"/>
                <a:gd name="T27" fmla="*/ 2147483646 h 86"/>
                <a:gd name="T28" fmla="*/ 0 w 364"/>
                <a:gd name="T29" fmla="*/ 2147483646 h 86"/>
                <a:gd name="T30" fmla="*/ 2147483646 w 364"/>
                <a:gd name="T31" fmla="*/ 2147483646 h 86"/>
                <a:gd name="T32" fmla="*/ 2147483646 w 364"/>
                <a:gd name="T33" fmla="*/ 2147483646 h 86"/>
                <a:gd name="T34" fmla="*/ 2147483646 w 364"/>
                <a:gd name="T35" fmla="*/ 0 h 86"/>
                <a:gd name="T36" fmla="*/ 2147483646 w 364"/>
                <a:gd name="T37" fmla="*/ 2147483646 h 86"/>
                <a:gd name="T38" fmla="*/ 2147483646 w 364"/>
                <a:gd name="T39" fmla="*/ 2147483646 h 86"/>
                <a:gd name="T40" fmla="*/ 2147483646 w 364"/>
                <a:gd name="T41" fmla="*/ 2147483646 h 86"/>
                <a:gd name="T42" fmla="*/ 2147483646 w 364"/>
                <a:gd name="T43" fmla="*/ 2147483646 h 86"/>
                <a:gd name="T44" fmla="*/ 2147483646 w 364"/>
                <a:gd name="T45" fmla="*/ 2147483646 h 86"/>
                <a:gd name="T46" fmla="*/ 2147483646 w 364"/>
                <a:gd name="T47" fmla="*/ 0 h 86"/>
                <a:gd name="T48" fmla="*/ 2147483646 w 364"/>
                <a:gd name="T49" fmla="*/ 2147483646 h 86"/>
                <a:gd name="T50" fmla="*/ 2147483646 w 364"/>
                <a:gd name="T51" fmla="*/ 2147483646 h 86"/>
                <a:gd name="T52" fmla="*/ 2147483646 w 364"/>
                <a:gd name="T53" fmla="*/ 2147483646 h 86"/>
                <a:gd name="T54" fmla="*/ 2147483646 w 364"/>
                <a:gd name="T55" fmla="*/ 2147483646 h 86"/>
                <a:gd name="T56" fmla="*/ 2147483646 w 364"/>
                <a:gd name="T57" fmla="*/ 2147483646 h 86"/>
                <a:gd name="T58" fmla="*/ 2147483646 w 364"/>
                <a:gd name="T59" fmla="*/ 2147483646 h 86"/>
                <a:gd name="T60" fmla="*/ 2147483646 w 364"/>
                <a:gd name="T61" fmla="*/ 2147483646 h 86"/>
                <a:gd name="T62" fmla="*/ 2147483646 w 364"/>
                <a:gd name="T63" fmla="*/ 2147483646 h 86"/>
                <a:gd name="T64" fmla="*/ 2147483646 w 364"/>
                <a:gd name="T65" fmla="*/ 2147483646 h 86"/>
                <a:gd name="T66" fmla="*/ 2147483646 w 364"/>
                <a:gd name="T67" fmla="*/ 2147483646 h 86"/>
                <a:gd name="T68" fmla="*/ 2147483646 w 364"/>
                <a:gd name="T69" fmla="*/ 2147483646 h 86"/>
                <a:gd name="T70" fmla="*/ 2147483646 w 364"/>
                <a:gd name="T71" fmla="*/ 2147483646 h 86"/>
                <a:gd name="T72" fmla="*/ 2147483646 w 364"/>
                <a:gd name="T73" fmla="*/ 2147483646 h 86"/>
                <a:gd name="T74" fmla="*/ 2147483646 w 364"/>
                <a:gd name="T75" fmla="*/ 2147483646 h 86"/>
                <a:gd name="T76" fmla="*/ 2147483646 w 364"/>
                <a:gd name="T77" fmla="*/ 2147483646 h 86"/>
                <a:gd name="T78" fmla="*/ 2147483646 w 364"/>
                <a:gd name="T79" fmla="*/ 2147483646 h 86"/>
                <a:gd name="T80" fmla="*/ 2147483646 w 364"/>
                <a:gd name="T81" fmla="*/ 2147483646 h 86"/>
                <a:gd name="T82" fmla="*/ 2147483646 w 364"/>
                <a:gd name="T83" fmla="*/ 2147483646 h 86"/>
                <a:gd name="T84" fmla="*/ 2147483646 w 364"/>
                <a:gd name="T85" fmla="*/ 2147483646 h 86"/>
                <a:gd name="T86" fmla="*/ 2147483646 w 364"/>
                <a:gd name="T87" fmla="*/ 2147483646 h 86"/>
                <a:gd name="T88" fmla="*/ 2147483646 w 364"/>
                <a:gd name="T89" fmla="*/ 2147483646 h 86"/>
                <a:gd name="T90" fmla="*/ 2147483646 w 364"/>
                <a:gd name="T91" fmla="*/ 2147483646 h 86"/>
                <a:gd name="T92" fmla="*/ 2147483646 w 364"/>
                <a:gd name="T93" fmla="*/ 2147483646 h 86"/>
                <a:gd name="T94" fmla="*/ 2147483646 w 364"/>
                <a:gd name="T95" fmla="*/ 2147483646 h 86"/>
                <a:gd name="T96" fmla="*/ 2147483646 w 364"/>
                <a:gd name="T97" fmla="*/ 2147483646 h 86"/>
                <a:gd name="T98" fmla="*/ 2147483646 w 364"/>
                <a:gd name="T99" fmla="*/ 2147483646 h 86"/>
                <a:gd name="T100" fmla="*/ 2147483646 w 364"/>
                <a:gd name="T101" fmla="*/ 2147483646 h 86"/>
                <a:gd name="T102" fmla="*/ 2147483646 w 364"/>
                <a:gd name="T103" fmla="*/ 2147483646 h 86"/>
                <a:gd name="T104" fmla="*/ 2147483646 w 364"/>
                <a:gd name="T105" fmla="*/ 2147483646 h 86"/>
                <a:gd name="T106" fmla="*/ 2147483646 w 364"/>
                <a:gd name="T107" fmla="*/ 2147483646 h 86"/>
                <a:gd name="T108" fmla="*/ 2147483646 w 364"/>
                <a:gd name="T109" fmla="*/ 2147483646 h 86"/>
                <a:gd name="T110" fmla="*/ 2147483646 w 364"/>
                <a:gd name="T111" fmla="*/ 2147483646 h 86"/>
                <a:gd name="T112" fmla="*/ 2147483646 w 364"/>
                <a:gd name="T113" fmla="*/ 2147483646 h 86"/>
                <a:gd name="T114" fmla="*/ 2147483646 w 364"/>
                <a:gd name="T115" fmla="*/ 2147483646 h 8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4"/>
                <a:gd name="T175" fmla="*/ 0 h 86"/>
                <a:gd name="T176" fmla="*/ 364 w 364"/>
                <a:gd name="T177" fmla="*/ 86 h 8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4" h="86">
                  <a:moveTo>
                    <a:pt x="296" y="6"/>
                  </a:moveTo>
                  <a:lnTo>
                    <a:pt x="334" y="44"/>
                  </a:lnTo>
                  <a:lnTo>
                    <a:pt x="296" y="82"/>
                  </a:lnTo>
                  <a:lnTo>
                    <a:pt x="326" y="82"/>
                  </a:lnTo>
                  <a:lnTo>
                    <a:pt x="364" y="44"/>
                  </a:lnTo>
                  <a:lnTo>
                    <a:pt x="326" y="6"/>
                  </a:lnTo>
                  <a:lnTo>
                    <a:pt x="296" y="6"/>
                  </a:lnTo>
                  <a:lnTo>
                    <a:pt x="180" y="56"/>
                  </a:lnTo>
                  <a:lnTo>
                    <a:pt x="178" y="54"/>
                  </a:lnTo>
                  <a:lnTo>
                    <a:pt x="154" y="54"/>
                  </a:lnTo>
                  <a:lnTo>
                    <a:pt x="152" y="58"/>
                  </a:lnTo>
                  <a:lnTo>
                    <a:pt x="162" y="64"/>
                  </a:lnTo>
                  <a:lnTo>
                    <a:pt x="158" y="70"/>
                  </a:lnTo>
                  <a:lnTo>
                    <a:pt x="148" y="64"/>
                  </a:lnTo>
                  <a:lnTo>
                    <a:pt x="138" y="70"/>
                  </a:lnTo>
                  <a:lnTo>
                    <a:pt x="128" y="74"/>
                  </a:lnTo>
                  <a:lnTo>
                    <a:pt x="128" y="86"/>
                  </a:lnTo>
                  <a:lnTo>
                    <a:pt x="120" y="86"/>
                  </a:lnTo>
                  <a:lnTo>
                    <a:pt x="120" y="74"/>
                  </a:lnTo>
                  <a:lnTo>
                    <a:pt x="114" y="72"/>
                  </a:lnTo>
                  <a:lnTo>
                    <a:pt x="108" y="70"/>
                  </a:lnTo>
                  <a:lnTo>
                    <a:pt x="100" y="76"/>
                  </a:lnTo>
                  <a:lnTo>
                    <a:pt x="96" y="72"/>
                  </a:lnTo>
                  <a:lnTo>
                    <a:pt x="102" y="64"/>
                  </a:lnTo>
                  <a:lnTo>
                    <a:pt x="96" y="56"/>
                  </a:lnTo>
                  <a:lnTo>
                    <a:pt x="96" y="54"/>
                  </a:lnTo>
                  <a:lnTo>
                    <a:pt x="70" y="54"/>
                  </a:lnTo>
                  <a:lnTo>
                    <a:pt x="68" y="58"/>
                  </a:lnTo>
                  <a:lnTo>
                    <a:pt x="78" y="64"/>
                  </a:lnTo>
                  <a:lnTo>
                    <a:pt x="74" y="70"/>
                  </a:lnTo>
                  <a:lnTo>
                    <a:pt x="64" y="64"/>
                  </a:lnTo>
                  <a:lnTo>
                    <a:pt x="56" y="70"/>
                  </a:lnTo>
                  <a:lnTo>
                    <a:pt x="46" y="74"/>
                  </a:lnTo>
                  <a:lnTo>
                    <a:pt x="44" y="86"/>
                  </a:lnTo>
                  <a:lnTo>
                    <a:pt x="36" y="86"/>
                  </a:lnTo>
                  <a:lnTo>
                    <a:pt x="36" y="74"/>
                  </a:lnTo>
                  <a:lnTo>
                    <a:pt x="30" y="72"/>
                  </a:lnTo>
                  <a:lnTo>
                    <a:pt x="24" y="70"/>
                  </a:lnTo>
                  <a:lnTo>
                    <a:pt x="16" y="76"/>
                  </a:lnTo>
                  <a:lnTo>
                    <a:pt x="12" y="72"/>
                  </a:lnTo>
                  <a:lnTo>
                    <a:pt x="18" y="64"/>
                  </a:lnTo>
                  <a:lnTo>
                    <a:pt x="14" y="56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10" y="40"/>
                  </a:lnTo>
                  <a:lnTo>
                    <a:pt x="10" y="34"/>
                  </a:lnTo>
                  <a:lnTo>
                    <a:pt x="14" y="28"/>
                  </a:lnTo>
                  <a:lnTo>
                    <a:pt x="4" y="20"/>
                  </a:lnTo>
                  <a:lnTo>
                    <a:pt x="8" y="16"/>
                  </a:lnTo>
                  <a:lnTo>
                    <a:pt x="18" y="20"/>
                  </a:lnTo>
                  <a:lnTo>
                    <a:pt x="26" y="14"/>
                  </a:lnTo>
                  <a:lnTo>
                    <a:pt x="36" y="12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52" y="14"/>
                  </a:lnTo>
                  <a:lnTo>
                    <a:pt x="58" y="16"/>
                  </a:lnTo>
                  <a:lnTo>
                    <a:pt x="64" y="8"/>
                  </a:lnTo>
                  <a:lnTo>
                    <a:pt x="70" y="14"/>
                  </a:lnTo>
                  <a:lnTo>
                    <a:pt x="64" y="22"/>
                  </a:lnTo>
                  <a:lnTo>
                    <a:pt x="68" y="28"/>
                  </a:lnTo>
                  <a:lnTo>
                    <a:pt x="70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102" y="20"/>
                  </a:lnTo>
                  <a:lnTo>
                    <a:pt x="110" y="14"/>
                  </a:lnTo>
                  <a:lnTo>
                    <a:pt x="120" y="12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28" y="12"/>
                  </a:lnTo>
                  <a:lnTo>
                    <a:pt x="136" y="14"/>
                  </a:lnTo>
                  <a:lnTo>
                    <a:pt x="142" y="16"/>
                  </a:lnTo>
                  <a:lnTo>
                    <a:pt x="148" y="8"/>
                  </a:lnTo>
                  <a:lnTo>
                    <a:pt x="154" y="14"/>
                  </a:lnTo>
                  <a:lnTo>
                    <a:pt x="148" y="22"/>
                  </a:lnTo>
                  <a:lnTo>
                    <a:pt x="152" y="28"/>
                  </a:lnTo>
                  <a:lnTo>
                    <a:pt x="154" y="32"/>
                  </a:lnTo>
                  <a:lnTo>
                    <a:pt x="178" y="32"/>
                  </a:lnTo>
                  <a:lnTo>
                    <a:pt x="180" y="28"/>
                  </a:lnTo>
                  <a:lnTo>
                    <a:pt x="172" y="20"/>
                  </a:lnTo>
                  <a:lnTo>
                    <a:pt x="174" y="16"/>
                  </a:lnTo>
                  <a:lnTo>
                    <a:pt x="186" y="20"/>
                  </a:lnTo>
                  <a:lnTo>
                    <a:pt x="194" y="14"/>
                  </a:lnTo>
                  <a:lnTo>
                    <a:pt x="204" y="12"/>
                  </a:lnTo>
                  <a:lnTo>
                    <a:pt x="206" y="0"/>
                  </a:lnTo>
                  <a:lnTo>
                    <a:pt x="212" y="0"/>
                  </a:lnTo>
                  <a:lnTo>
                    <a:pt x="212" y="12"/>
                  </a:lnTo>
                  <a:lnTo>
                    <a:pt x="218" y="14"/>
                  </a:lnTo>
                  <a:lnTo>
                    <a:pt x="224" y="16"/>
                  </a:lnTo>
                  <a:lnTo>
                    <a:pt x="232" y="8"/>
                  </a:lnTo>
                  <a:lnTo>
                    <a:pt x="238" y="14"/>
                  </a:lnTo>
                  <a:lnTo>
                    <a:pt x="232" y="22"/>
                  </a:lnTo>
                  <a:lnTo>
                    <a:pt x="236" y="28"/>
                  </a:lnTo>
                  <a:lnTo>
                    <a:pt x="238" y="32"/>
                  </a:lnTo>
                  <a:lnTo>
                    <a:pt x="276" y="32"/>
                  </a:lnTo>
                  <a:lnTo>
                    <a:pt x="250" y="6"/>
                  </a:lnTo>
                  <a:lnTo>
                    <a:pt x="280" y="6"/>
                  </a:lnTo>
                  <a:lnTo>
                    <a:pt x="320" y="44"/>
                  </a:lnTo>
                  <a:lnTo>
                    <a:pt x="280" y="82"/>
                  </a:lnTo>
                  <a:lnTo>
                    <a:pt x="250" y="82"/>
                  </a:lnTo>
                  <a:lnTo>
                    <a:pt x="278" y="54"/>
                  </a:lnTo>
                  <a:lnTo>
                    <a:pt x="238" y="54"/>
                  </a:lnTo>
                  <a:lnTo>
                    <a:pt x="236" y="58"/>
                  </a:lnTo>
                  <a:lnTo>
                    <a:pt x="244" y="64"/>
                  </a:lnTo>
                  <a:lnTo>
                    <a:pt x="242" y="70"/>
                  </a:lnTo>
                  <a:lnTo>
                    <a:pt x="230" y="64"/>
                  </a:lnTo>
                  <a:lnTo>
                    <a:pt x="222" y="70"/>
                  </a:lnTo>
                  <a:lnTo>
                    <a:pt x="212" y="74"/>
                  </a:lnTo>
                  <a:lnTo>
                    <a:pt x="210" y="86"/>
                  </a:lnTo>
                  <a:lnTo>
                    <a:pt x="204" y="86"/>
                  </a:lnTo>
                  <a:lnTo>
                    <a:pt x="204" y="74"/>
                  </a:lnTo>
                  <a:lnTo>
                    <a:pt x="198" y="72"/>
                  </a:lnTo>
                  <a:lnTo>
                    <a:pt x="192" y="70"/>
                  </a:lnTo>
                  <a:lnTo>
                    <a:pt x="184" y="76"/>
                  </a:lnTo>
                  <a:lnTo>
                    <a:pt x="178" y="72"/>
                  </a:lnTo>
                  <a:lnTo>
                    <a:pt x="184" y="64"/>
                  </a:lnTo>
                  <a:lnTo>
                    <a:pt x="180" y="56"/>
                  </a:lnTo>
                  <a:lnTo>
                    <a:pt x="296" y="6"/>
                  </a:lnTo>
                  <a:lnTo>
                    <a:pt x="26" y="50"/>
                  </a:lnTo>
                  <a:lnTo>
                    <a:pt x="26" y="44"/>
                  </a:lnTo>
                  <a:lnTo>
                    <a:pt x="26" y="38"/>
                  </a:lnTo>
                  <a:lnTo>
                    <a:pt x="28" y="32"/>
                  </a:lnTo>
                  <a:lnTo>
                    <a:pt x="34" y="28"/>
                  </a:lnTo>
                  <a:lnTo>
                    <a:pt x="40" y="28"/>
                  </a:lnTo>
                  <a:lnTo>
                    <a:pt x="46" y="28"/>
                  </a:lnTo>
                  <a:lnTo>
                    <a:pt x="50" y="30"/>
                  </a:lnTo>
                  <a:lnTo>
                    <a:pt x="54" y="36"/>
                  </a:lnTo>
                  <a:lnTo>
                    <a:pt x="56" y="42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2" y="58"/>
                  </a:lnTo>
                  <a:lnTo>
                    <a:pt x="36" y="58"/>
                  </a:lnTo>
                  <a:lnTo>
                    <a:pt x="30" y="54"/>
                  </a:lnTo>
                  <a:lnTo>
                    <a:pt x="26" y="50"/>
                  </a:lnTo>
                  <a:lnTo>
                    <a:pt x="296" y="6"/>
                  </a:lnTo>
                  <a:lnTo>
                    <a:pt x="110" y="50"/>
                  </a:lnTo>
                  <a:lnTo>
                    <a:pt x="108" y="44"/>
                  </a:lnTo>
                  <a:lnTo>
                    <a:pt x="110" y="38"/>
                  </a:lnTo>
                  <a:lnTo>
                    <a:pt x="112" y="32"/>
                  </a:lnTo>
                  <a:lnTo>
                    <a:pt x="118" y="28"/>
                  </a:lnTo>
                  <a:lnTo>
                    <a:pt x="124" y="28"/>
                  </a:lnTo>
                  <a:lnTo>
                    <a:pt x="128" y="28"/>
                  </a:lnTo>
                  <a:lnTo>
                    <a:pt x="134" y="30"/>
                  </a:lnTo>
                  <a:lnTo>
                    <a:pt x="138" y="36"/>
                  </a:lnTo>
                  <a:lnTo>
                    <a:pt x="140" y="42"/>
                  </a:lnTo>
                  <a:lnTo>
                    <a:pt x="138" y="48"/>
                  </a:lnTo>
                  <a:lnTo>
                    <a:pt x="136" y="52"/>
                  </a:lnTo>
                  <a:lnTo>
                    <a:pt x="132" y="56"/>
                  </a:lnTo>
                  <a:lnTo>
                    <a:pt x="126" y="58"/>
                  </a:lnTo>
                  <a:lnTo>
                    <a:pt x="120" y="58"/>
                  </a:lnTo>
                  <a:lnTo>
                    <a:pt x="114" y="54"/>
                  </a:lnTo>
                  <a:lnTo>
                    <a:pt x="110" y="50"/>
                  </a:lnTo>
                  <a:lnTo>
                    <a:pt x="296" y="6"/>
                  </a:lnTo>
                  <a:lnTo>
                    <a:pt x="194" y="50"/>
                  </a:lnTo>
                  <a:lnTo>
                    <a:pt x="192" y="44"/>
                  </a:lnTo>
                  <a:lnTo>
                    <a:pt x="194" y="38"/>
                  </a:lnTo>
                  <a:lnTo>
                    <a:pt x="196" y="32"/>
                  </a:lnTo>
                  <a:lnTo>
                    <a:pt x="200" y="28"/>
                  </a:lnTo>
                  <a:lnTo>
                    <a:pt x="206" y="28"/>
                  </a:lnTo>
                  <a:lnTo>
                    <a:pt x="212" y="28"/>
                  </a:lnTo>
                  <a:lnTo>
                    <a:pt x="218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0" y="52"/>
                  </a:lnTo>
                  <a:lnTo>
                    <a:pt x="214" y="56"/>
                  </a:lnTo>
                  <a:lnTo>
                    <a:pt x="208" y="58"/>
                  </a:lnTo>
                  <a:lnTo>
                    <a:pt x="202" y="58"/>
                  </a:lnTo>
                  <a:lnTo>
                    <a:pt x="198" y="54"/>
                  </a:lnTo>
                  <a:lnTo>
                    <a:pt x="194" y="50"/>
                  </a:lnTo>
                  <a:lnTo>
                    <a:pt x="29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3177" tIns="46590" rIns="93177" bIns="46590"/>
            <a:lstStyle/>
            <a:p>
              <a:endParaRPr lang="zh-CN" altLang="en-US"/>
            </a:p>
          </p:txBody>
        </p:sp>
        <p:grpSp>
          <p:nvGrpSpPr>
            <p:cNvPr id="28687" name="Group 167"/>
            <p:cNvGrpSpPr/>
            <p:nvPr/>
          </p:nvGrpSpPr>
          <p:grpSpPr bwMode="auto">
            <a:xfrm>
              <a:off x="2290749" y="2232161"/>
              <a:ext cx="367397" cy="301983"/>
              <a:chOff x="2830513" y="1652588"/>
              <a:chExt cx="419100" cy="346075"/>
            </a:xfrm>
          </p:grpSpPr>
          <p:sp>
            <p:nvSpPr>
              <p:cNvPr id="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2830725" y="1652511"/>
                <a:ext cx="418278" cy="345774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/>
              <a:lstStyle/>
              <a:p>
                <a:pPr defTabSz="69723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rgbClr val="FFFFFF"/>
                  </a:solidFill>
                  <a:latin typeface="Segoe UI Light" panose="020B0502040204020203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717" name="Freeform 5"/>
              <p:cNvSpPr/>
              <p:nvPr/>
            </p:nvSpPr>
            <p:spPr bwMode="auto">
              <a:xfrm>
                <a:off x="2856068" y="1684423"/>
                <a:ext cx="161507" cy="224897"/>
              </a:xfrm>
              <a:custGeom>
                <a:avLst/>
                <a:gdLst>
                  <a:gd name="T0" fmla="*/ 2147483646 w 102"/>
                  <a:gd name="T1" fmla="*/ 2147483646 h 142"/>
                  <a:gd name="T2" fmla="*/ 2147483646 w 102"/>
                  <a:gd name="T3" fmla="*/ 2147483646 h 142"/>
                  <a:gd name="T4" fmla="*/ 2147483646 w 102"/>
                  <a:gd name="T5" fmla="*/ 2147483646 h 142"/>
                  <a:gd name="T6" fmla="*/ 0 w 102"/>
                  <a:gd name="T7" fmla="*/ 2147483646 h 142"/>
                  <a:gd name="T8" fmla="*/ 0 w 102"/>
                  <a:gd name="T9" fmla="*/ 2147483646 h 142"/>
                  <a:gd name="T10" fmla="*/ 2147483646 w 102"/>
                  <a:gd name="T11" fmla="*/ 2147483646 h 142"/>
                  <a:gd name="T12" fmla="*/ 2147483646 w 102"/>
                  <a:gd name="T13" fmla="*/ 0 h 142"/>
                  <a:gd name="T14" fmla="*/ 2147483646 w 102"/>
                  <a:gd name="T15" fmla="*/ 0 h 142"/>
                  <a:gd name="T16" fmla="*/ 2147483646 w 102"/>
                  <a:gd name="T17" fmla="*/ 2147483646 h 142"/>
                  <a:gd name="T18" fmla="*/ 2147483646 w 102"/>
                  <a:gd name="T19" fmla="*/ 2147483646 h 142"/>
                  <a:gd name="T20" fmla="*/ 2147483646 w 102"/>
                  <a:gd name="T21" fmla="*/ 2147483646 h 142"/>
                  <a:gd name="T22" fmla="*/ 2147483646 w 102"/>
                  <a:gd name="T23" fmla="*/ 2147483646 h 142"/>
                  <a:gd name="T24" fmla="*/ 2147483646 w 102"/>
                  <a:gd name="T25" fmla="*/ 2147483646 h 142"/>
                  <a:gd name="T26" fmla="*/ 2147483646 w 102"/>
                  <a:gd name="T27" fmla="*/ 2147483646 h 142"/>
                  <a:gd name="T28" fmla="*/ 2147483646 w 102"/>
                  <a:gd name="T29" fmla="*/ 2147483646 h 142"/>
                  <a:gd name="T30" fmla="*/ 2147483646 w 102"/>
                  <a:gd name="T31" fmla="*/ 2147483646 h 142"/>
                  <a:gd name="T32" fmla="*/ 2147483646 w 102"/>
                  <a:gd name="T33" fmla="*/ 2147483646 h 142"/>
                  <a:gd name="T34" fmla="*/ 2147483646 w 102"/>
                  <a:gd name="T35" fmla="*/ 2147483646 h 142"/>
                  <a:gd name="T36" fmla="*/ 2147483646 w 102"/>
                  <a:gd name="T37" fmla="*/ 2147483646 h 142"/>
                  <a:gd name="T38" fmla="*/ 2147483646 w 102"/>
                  <a:gd name="T39" fmla="*/ 2147483646 h 142"/>
                  <a:gd name="T40" fmla="*/ 2147483646 w 102"/>
                  <a:gd name="T41" fmla="*/ 2147483646 h 142"/>
                  <a:gd name="T42" fmla="*/ 2147483646 w 102"/>
                  <a:gd name="T43" fmla="*/ 2147483646 h 142"/>
                  <a:gd name="T44" fmla="*/ 2147483646 w 102"/>
                  <a:gd name="T45" fmla="*/ 2147483646 h 142"/>
                  <a:gd name="T46" fmla="*/ 2147483646 w 102"/>
                  <a:gd name="T47" fmla="*/ 2147483646 h 142"/>
                  <a:gd name="T48" fmla="*/ 2147483646 w 102"/>
                  <a:gd name="T49" fmla="*/ 2147483646 h 142"/>
                  <a:gd name="T50" fmla="*/ 2147483646 w 102"/>
                  <a:gd name="T51" fmla="*/ 2147483646 h 142"/>
                  <a:gd name="T52" fmla="*/ 2147483646 w 102"/>
                  <a:gd name="T53" fmla="*/ 2147483646 h 142"/>
                  <a:gd name="T54" fmla="*/ 2147483646 w 102"/>
                  <a:gd name="T55" fmla="*/ 2147483646 h 142"/>
                  <a:gd name="T56" fmla="*/ 2147483646 w 102"/>
                  <a:gd name="T57" fmla="*/ 2147483646 h 142"/>
                  <a:gd name="T58" fmla="*/ 2147483646 w 102"/>
                  <a:gd name="T59" fmla="*/ 2147483646 h 142"/>
                  <a:gd name="T60" fmla="*/ 2147483646 w 102"/>
                  <a:gd name="T61" fmla="*/ 2147483646 h 142"/>
                  <a:gd name="T62" fmla="*/ 2147483646 w 102"/>
                  <a:gd name="T63" fmla="*/ 2147483646 h 142"/>
                  <a:gd name="T64" fmla="*/ 2147483646 w 102"/>
                  <a:gd name="T65" fmla="*/ 2147483646 h 142"/>
                  <a:gd name="T66" fmla="*/ 2147483646 w 102"/>
                  <a:gd name="T67" fmla="*/ 2147483646 h 142"/>
                  <a:gd name="T68" fmla="*/ 2147483646 w 102"/>
                  <a:gd name="T69" fmla="*/ 2147483646 h 142"/>
                  <a:gd name="T70" fmla="*/ 2147483646 w 102"/>
                  <a:gd name="T71" fmla="*/ 2147483646 h 142"/>
                  <a:gd name="T72" fmla="*/ 2147483646 w 102"/>
                  <a:gd name="T73" fmla="*/ 2147483646 h 142"/>
                  <a:gd name="T74" fmla="*/ 2147483646 w 102"/>
                  <a:gd name="T75" fmla="*/ 2147483646 h 142"/>
                  <a:gd name="T76" fmla="*/ 2147483646 w 102"/>
                  <a:gd name="T77" fmla="*/ 2147483646 h 142"/>
                  <a:gd name="T78" fmla="*/ 2147483646 w 102"/>
                  <a:gd name="T79" fmla="*/ 2147483646 h 142"/>
                  <a:gd name="T80" fmla="*/ 2147483646 w 102"/>
                  <a:gd name="T81" fmla="*/ 2147483646 h 142"/>
                  <a:gd name="T82" fmla="*/ 2147483646 w 102"/>
                  <a:gd name="T83" fmla="*/ 2147483646 h 142"/>
                  <a:gd name="T84" fmla="*/ 2147483646 w 102"/>
                  <a:gd name="T85" fmla="*/ 2147483646 h 142"/>
                  <a:gd name="T86" fmla="*/ 2147483646 w 102"/>
                  <a:gd name="T87" fmla="*/ 2147483646 h 142"/>
                  <a:gd name="T88" fmla="*/ 2147483646 w 102"/>
                  <a:gd name="T89" fmla="*/ 2147483646 h 142"/>
                  <a:gd name="T90" fmla="*/ 2147483646 w 102"/>
                  <a:gd name="T91" fmla="*/ 2147483646 h 142"/>
                  <a:gd name="T92" fmla="*/ 2147483646 w 102"/>
                  <a:gd name="T93" fmla="*/ 2147483646 h 142"/>
                  <a:gd name="T94" fmla="*/ 2147483646 w 102"/>
                  <a:gd name="T95" fmla="*/ 2147483646 h 142"/>
                  <a:gd name="T96" fmla="*/ 2147483646 w 102"/>
                  <a:gd name="T97" fmla="*/ 2147483646 h 142"/>
                  <a:gd name="T98" fmla="*/ 2147483646 w 102"/>
                  <a:gd name="T99" fmla="*/ 2147483646 h 142"/>
                  <a:gd name="T100" fmla="*/ 2147483646 w 102"/>
                  <a:gd name="T101" fmla="*/ 2147483646 h 142"/>
                  <a:gd name="T102" fmla="*/ 2147483646 w 102"/>
                  <a:gd name="T103" fmla="*/ 2147483646 h 142"/>
                  <a:gd name="T104" fmla="*/ 2147483646 w 102"/>
                  <a:gd name="T105" fmla="*/ 2147483646 h 142"/>
                  <a:gd name="T106" fmla="*/ 2147483646 w 102"/>
                  <a:gd name="T107" fmla="*/ 2147483646 h 142"/>
                  <a:gd name="T108" fmla="*/ 2147483646 w 102"/>
                  <a:gd name="T109" fmla="*/ 2147483646 h 142"/>
                  <a:gd name="T110" fmla="*/ 2147483646 w 102"/>
                  <a:gd name="T111" fmla="*/ 2147483646 h 142"/>
                  <a:gd name="T112" fmla="*/ 2147483646 w 102"/>
                  <a:gd name="T113" fmla="*/ 2147483646 h 142"/>
                  <a:gd name="T114" fmla="*/ 2147483646 w 102"/>
                  <a:gd name="T115" fmla="*/ 2147483646 h 142"/>
                  <a:gd name="T116" fmla="*/ 2147483646 w 102"/>
                  <a:gd name="T117" fmla="*/ 2147483646 h 142"/>
                  <a:gd name="T118" fmla="*/ 2147483646 w 102"/>
                  <a:gd name="T119" fmla="*/ 2147483646 h 142"/>
                  <a:gd name="T120" fmla="*/ 2147483646 w 102"/>
                  <a:gd name="T121" fmla="*/ 2147483646 h 1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02"/>
                  <a:gd name="T184" fmla="*/ 0 h 142"/>
                  <a:gd name="T185" fmla="*/ 102 w 102"/>
                  <a:gd name="T186" fmla="*/ 142 h 1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02" h="142">
                    <a:moveTo>
                      <a:pt x="94" y="142"/>
                    </a:moveTo>
                    <a:lnTo>
                      <a:pt x="6" y="142"/>
                    </a:lnTo>
                    <a:lnTo>
                      <a:pt x="2" y="140"/>
                    </a:lnTo>
                    <a:lnTo>
                      <a:pt x="0" y="134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94" y="0"/>
                    </a:lnTo>
                    <a:lnTo>
                      <a:pt x="100" y="2"/>
                    </a:lnTo>
                    <a:lnTo>
                      <a:pt x="102" y="8"/>
                    </a:lnTo>
                    <a:lnTo>
                      <a:pt x="102" y="134"/>
                    </a:lnTo>
                    <a:lnTo>
                      <a:pt x="100" y="140"/>
                    </a:lnTo>
                    <a:lnTo>
                      <a:pt x="94" y="142"/>
                    </a:lnTo>
                    <a:lnTo>
                      <a:pt x="86" y="74"/>
                    </a:lnTo>
                    <a:lnTo>
                      <a:pt x="88" y="72"/>
                    </a:lnTo>
                    <a:lnTo>
                      <a:pt x="90" y="70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70"/>
                    </a:lnTo>
                    <a:lnTo>
                      <a:pt x="14" y="72"/>
                    </a:lnTo>
                    <a:lnTo>
                      <a:pt x="18" y="74"/>
                    </a:lnTo>
                    <a:lnTo>
                      <a:pt x="86" y="74"/>
                    </a:lnTo>
                    <a:lnTo>
                      <a:pt x="94" y="142"/>
                    </a:lnTo>
                    <a:lnTo>
                      <a:pt x="86" y="48"/>
                    </a:lnTo>
                    <a:lnTo>
                      <a:pt x="88" y="46"/>
                    </a:lnTo>
                    <a:lnTo>
                      <a:pt x="90" y="44"/>
                    </a:lnTo>
                    <a:lnTo>
                      <a:pt x="88" y="40"/>
                    </a:lnTo>
                    <a:lnTo>
                      <a:pt x="86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4"/>
                    </a:lnTo>
                    <a:lnTo>
                      <a:pt x="14" y="46"/>
                    </a:lnTo>
                    <a:lnTo>
                      <a:pt x="18" y="48"/>
                    </a:lnTo>
                    <a:lnTo>
                      <a:pt x="86" y="48"/>
                    </a:lnTo>
                    <a:lnTo>
                      <a:pt x="94" y="142"/>
                    </a:lnTo>
                    <a:lnTo>
                      <a:pt x="86" y="100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8" y="92"/>
                    </a:lnTo>
                    <a:lnTo>
                      <a:pt x="86" y="92"/>
                    </a:lnTo>
                    <a:lnTo>
                      <a:pt x="88" y="94"/>
                    </a:lnTo>
                    <a:lnTo>
                      <a:pt x="90" y="96"/>
                    </a:lnTo>
                    <a:lnTo>
                      <a:pt x="88" y="100"/>
                    </a:lnTo>
                    <a:lnTo>
                      <a:pt x="86" y="100"/>
                    </a:lnTo>
                    <a:lnTo>
                      <a:pt x="94" y="142"/>
                    </a:lnTo>
                    <a:lnTo>
                      <a:pt x="86" y="128"/>
                    </a:lnTo>
                    <a:lnTo>
                      <a:pt x="18" y="128"/>
                    </a:lnTo>
                    <a:lnTo>
                      <a:pt x="14" y="126"/>
                    </a:lnTo>
                    <a:lnTo>
                      <a:pt x="14" y="124"/>
                    </a:lnTo>
                    <a:lnTo>
                      <a:pt x="14" y="120"/>
                    </a:lnTo>
                    <a:lnTo>
                      <a:pt x="18" y="120"/>
                    </a:lnTo>
                    <a:lnTo>
                      <a:pt x="86" y="120"/>
                    </a:lnTo>
                    <a:lnTo>
                      <a:pt x="88" y="120"/>
                    </a:lnTo>
                    <a:lnTo>
                      <a:pt x="90" y="124"/>
                    </a:lnTo>
                    <a:lnTo>
                      <a:pt x="88" y="126"/>
                    </a:lnTo>
                    <a:lnTo>
                      <a:pt x="86" y="128"/>
                    </a:lnTo>
                    <a:lnTo>
                      <a:pt x="94" y="1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8718" name="Freeform 6"/>
              <p:cNvSpPr/>
              <p:nvPr/>
            </p:nvSpPr>
            <p:spPr bwMode="auto">
              <a:xfrm>
                <a:off x="2830513" y="1652588"/>
                <a:ext cx="419100" cy="346075"/>
              </a:xfrm>
              <a:custGeom>
                <a:avLst/>
                <a:gdLst>
                  <a:gd name="T0" fmla="*/ 2147483646 w 264"/>
                  <a:gd name="T1" fmla="*/ 2147483646 h 218"/>
                  <a:gd name="T2" fmla="*/ 2147483646 w 264"/>
                  <a:gd name="T3" fmla="*/ 2147483646 h 218"/>
                  <a:gd name="T4" fmla="*/ 2147483646 w 264"/>
                  <a:gd name="T5" fmla="*/ 2147483646 h 218"/>
                  <a:gd name="T6" fmla="*/ 2147483646 w 264"/>
                  <a:gd name="T7" fmla="*/ 2147483646 h 218"/>
                  <a:gd name="T8" fmla="*/ 2147483646 w 264"/>
                  <a:gd name="T9" fmla="*/ 2147483646 h 218"/>
                  <a:gd name="T10" fmla="*/ 2147483646 w 264"/>
                  <a:gd name="T11" fmla="*/ 2147483646 h 218"/>
                  <a:gd name="T12" fmla="*/ 2147483646 w 264"/>
                  <a:gd name="T13" fmla="*/ 2147483646 h 218"/>
                  <a:gd name="T14" fmla="*/ 2147483646 w 264"/>
                  <a:gd name="T15" fmla="*/ 2147483646 h 218"/>
                  <a:gd name="T16" fmla="*/ 2147483646 w 264"/>
                  <a:gd name="T17" fmla="*/ 2147483646 h 218"/>
                  <a:gd name="T18" fmla="*/ 2147483646 w 264"/>
                  <a:gd name="T19" fmla="*/ 2147483646 h 218"/>
                  <a:gd name="T20" fmla="*/ 2147483646 w 264"/>
                  <a:gd name="T21" fmla="*/ 2147483646 h 218"/>
                  <a:gd name="T22" fmla="*/ 2147483646 w 264"/>
                  <a:gd name="T23" fmla="*/ 2147483646 h 218"/>
                  <a:gd name="T24" fmla="*/ 2147483646 w 264"/>
                  <a:gd name="T25" fmla="*/ 2147483646 h 218"/>
                  <a:gd name="T26" fmla="*/ 2147483646 w 264"/>
                  <a:gd name="T27" fmla="*/ 2147483646 h 218"/>
                  <a:gd name="T28" fmla="*/ 2147483646 w 264"/>
                  <a:gd name="T29" fmla="*/ 2147483646 h 218"/>
                  <a:gd name="T30" fmla="*/ 2147483646 w 264"/>
                  <a:gd name="T31" fmla="*/ 2147483646 h 218"/>
                  <a:gd name="T32" fmla="*/ 2147483646 w 264"/>
                  <a:gd name="T33" fmla="*/ 2147483646 h 218"/>
                  <a:gd name="T34" fmla="*/ 2147483646 w 264"/>
                  <a:gd name="T35" fmla="*/ 2147483646 h 218"/>
                  <a:gd name="T36" fmla="*/ 2147483646 w 264"/>
                  <a:gd name="T37" fmla="*/ 2147483646 h 218"/>
                  <a:gd name="T38" fmla="*/ 2147483646 w 264"/>
                  <a:gd name="T39" fmla="*/ 2147483646 h 218"/>
                  <a:gd name="T40" fmla="*/ 2147483646 w 264"/>
                  <a:gd name="T41" fmla="*/ 2147483646 h 218"/>
                  <a:gd name="T42" fmla="*/ 2147483646 w 264"/>
                  <a:gd name="T43" fmla="*/ 2147483646 h 218"/>
                  <a:gd name="T44" fmla="*/ 2147483646 w 264"/>
                  <a:gd name="T45" fmla="*/ 2147483646 h 218"/>
                  <a:gd name="T46" fmla="*/ 2147483646 w 264"/>
                  <a:gd name="T47" fmla="*/ 2147483646 h 218"/>
                  <a:gd name="T48" fmla="*/ 2147483646 w 264"/>
                  <a:gd name="T49" fmla="*/ 2147483646 h 218"/>
                  <a:gd name="T50" fmla="*/ 2147483646 w 264"/>
                  <a:gd name="T51" fmla="*/ 2147483646 h 218"/>
                  <a:gd name="T52" fmla="*/ 2147483646 w 264"/>
                  <a:gd name="T53" fmla="*/ 2147483646 h 218"/>
                  <a:gd name="T54" fmla="*/ 2147483646 w 264"/>
                  <a:gd name="T55" fmla="*/ 2147483646 h 218"/>
                  <a:gd name="T56" fmla="*/ 2147483646 w 264"/>
                  <a:gd name="T57" fmla="*/ 2147483646 h 218"/>
                  <a:gd name="T58" fmla="*/ 2147483646 w 264"/>
                  <a:gd name="T59" fmla="*/ 2147483646 h 218"/>
                  <a:gd name="T60" fmla="*/ 2147483646 w 264"/>
                  <a:gd name="T61" fmla="*/ 2147483646 h 218"/>
                  <a:gd name="T62" fmla="*/ 2147483646 w 264"/>
                  <a:gd name="T63" fmla="*/ 2147483646 h 218"/>
                  <a:gd name="T64" fmla="*/ 2147483646 w 264"/>
                  <a:gd name="T65" fmla="*/ 2147483646 h 218"/>
                  <a:gd name="T66" fmla="*/ 2147483646 w 264"/>
                  <a:gd name="T67" fmla="*/ 2147483646 h 218"/>
                  <a:gd name="T68" fmla="*/ 0 w 264"/>
                  <a:gd name="T69" fmla="*/ 2147483646 h 218"/>
                  <a:gd name="T70" fmla="*/ 2147483646 w 264"/>
                  <a:gd name="T71" fmla="*/ 2147483646 h 218"/>
                  <a:gd name="T72" fmla="*/ 2147483646 w 264"/>
                  <a:gd name="T73" fmla="*/ 0 h 218"/>
                  <a:gd name="T74" fmla="*/ 2147483646 w 264"/>
                  <a:gd name="T75" fmla="*/ 2147483646 h 218"/>
                  <a:gd name="T76" fmla="*/ 2147483646 w 264"/>
                  <a:gd name="T77" fmla="*/ 2147483646 h 218"/>
                  <a:gd name="T78" fmla="*/ 2147483646 w 264"/>
                  <a:gd name="T79" fmla="*/ 2147483646 h 218"/>
                  <a:gd name="T80" fmla="*/ 2147483646 w 264"/>
                  <a:gd name="T81" fmla="*/ 2147483646 h 21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64"/>
                  <a:gd name="T124" fmla="*/ 0 h 218"/>
                  <a:gd name="T125" fmla="*/ 264 w 264"/>
                  <a:gd name="T126" fmla="*/ 218 h 21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64" h="218">
                    <a:moveTo>
                      <a:pt x="238" y="116"/>
                    </a:moveTo>
                    <a:lnTo>
                      <a:pt x="172" y="108"/>
                    </a:lnTo>
                    <a:lnTo>
                      <a:pt x="198" y="168"/>
                    </a:lnTo>
                    <a:lnTo>
                      <a:pt x="206" y="144"/>
                    </a:lnTo>
                    <a:lnTo>
                      <a:pt x="254" y="180"/>
                    </a:lnTo>
                    <a:lnTo>
                      <a:pt x="256" y="180"/>
                    </a:lnTo>
                    <a:lnTo>
                      <a:pt x="260" y="178"/>
                    </a:lnTo>
                    <a:lnTo>
                      <a:pt x="262" y="176"/>
                    </a:lnTo>
                    <a:lnTo>
                      <a:pt x="262" y="174"/>
                    </a:lnTo>
                    <a:lnTo>
                      <a:pt x="264" y="172"/>
                    </a:lnTo>
                    <a:lnTo>
                      <a:pt x="262" y="168"/>
                    </a:lnTo>
                    <a:lnTo>
                      <a:pt x="216" y="134"/>
                    </a:lnTo>
                    <a:lnTo>
                      <a:pt x="238" y="116"/>
                    </a:lnTo>
                    <a:lnTo>
                      <a:pt x="156" y="14"/>
                    </a:lnTo>
                    <a:lnTo>
                      <a:pt x="176" y="14"/>
                    </a:lnTo>
                    <a:lnTo>
                      <a:pt x="176" y="16"/>
                    </a:lnTo>
                    <a:lnTo>
                      <a:pt x="156" y="16"/>
                    </a:lnTo>
                    <a:lnTo>
                      <a:pt x="156" y="14"/>
                    </a:lnTo>
                    <a:lnTo>
                      <a:pt x="238" y="116"/>
                    </a:lnTo>
                    <a:lnTo>
                      <a:pt x="156" y="18"/>
                    </a:lnTo>
                    <a:lnTo>
                      <a:pt x="176" y="18"/>
                    </a:lnTo>
                    <a:lnTo>
                      <a:pt x="176" y="32"/>
                    </a:lnTo>
                    <a:lnTo>
                      <a:pt x="156" y="32"/>
                    </a:lnTo>
                    <a:lnTo>
                      <a:pt x="156" y="18"/>
                    </a:lnTo>
                    <a:lnTo>
                      <a:pt x="238" y="116"/>
                    </a:lnTo>
                    <a:lnTo>
                      <a:pt x="142" y="30"/>
                    </a:lnTo>
                    <a:lnTo>
                      <a:pt x="118" y="30"/>
                    </a:lnTo>
                    <a:lnTo>
                      <a:pt x="118" y="28"/>
                    </a:lnTo>
                    <a:lnTo>
                      <a:pt x="142" y="28"/>
                    </a:lnTo>
                    <a:lnTo>
                      <a:pt x="142" y="30"/>
                    </a:lnTo>
                    <a:lnTo>
                      <a:pt x="238" y="116"/>
                    </a:lnTo>
                    <a:lnTo>
                      <a:pt x="192" y="30"/>
                    </a:lnTo>
                    <a:lnTo>
                      <a:pt x="198" y="22"/>
                    </a:lnTo>
                    <a:lnTo>
                      <a:pt x="192" y="16"/>
                    </a:lnTo>
                    <a:lnTo>
                      <a:pt x="198" y="16"/>
                    </a:lnTo>
                    <a:lnTo>
                      <a:pt x="200" y="20"/>
                    </a:lnTo>
                    <a:lnTo>
                      <a:pt x="202" y="16"/>
                    </a:lnTo>
                    <a:lnTo>
                      <a:pt x="206" y="16"/>
                    </a:lnTo>
                    <a:lnTo>
                      <a:pt x="202" y="22"/>
                    </a:lnTo>
                    <a:lnTo>
                      <a:pt x="208" y="30"/>
                    </a:lnTo>
                    <a:lnTo>
                      <a:pt x="202" y="30"/>
                    </a:lnTo>
                    <a:lnTo>
                      <a:pt x="200" y="26"/>
                    </a:lnTo>
                    <a:lnTo>
                      <a:pt x="196" y="30"/>
                    </a:lnTo>
                    <a:lnTo>
                      <a:pt x="192" y="30"/>
                    </a:lnTo>
                    <a:lnTo>
                      <a:pt x="238" y="116"/>
                    </a:lnTo>
                    <a:lnTo>
                      <a:pt x="216" y="40"/>
                    </a:lnTo>
                    <a:lnTo>
                      <a:pt x="8" y="40"/>
                    </a:lnTo>
                    <a:lnTo>
                      <a:pt x="8" y="196"/>
                    </a:lnTo>
                    <a:lnTo>
                      <a:pt x="10" y="202"/>
                    </a:lnTo>
                    <a:lnTo>
                      <a:pt x="12" y="206"/>
                    </a:lnTo>
                    <a:lnTo>
                      <a:pt x="18" y="210"/>
                    </a:lnTo>
                    <a:lnTo>
                      <a:pt x="24" y="210"/>
                    </a:lnTo>
                    <a:lnTo>
                      <a:pt x="202" y="210"/>
                    </a:lnTo>
                    <a:lnTo>
                      <a:pt x="208" y="210"/>
                    </a:lnTo>
                    <a:lnTo>
                      <a:pt x="212" y="206"/>
                    </a:lnTo>
                    <a:lnTo>
                      <a:pt x="216" y="202"/>
                    </a:lnTo>
                    <a:lnTo>
                      <a:pt x="216" y="196"/>
                    </a:lnTo>
                    <a:lnTo>
                      <a:pt x="216" y="162"/>
                    </a:lnTo>
                    <a:lnTo>
                      <a:pt x="224" y="168"/>
                    </a:lnTo>
                    <a:lnTo>
                      <a:pt x="224" y="196"/>
                    </a:lnTo>
                    <a:lnTo>
                      <a:pt x="222" y="204"/>
                    </a:lnTo>
                    <a:lnTo>
                      <a:pt x="218" y="212"/>
                    </a:lnTo>
                    <a:lnTo>
                      <a:pt x="210" y="216"/>
                    </a:lnTo>
                    <a:lnTo>
                      <a:pt x="202" y="218"/>
                    </a:lnTo>
                    <a:lnTo>
                      <a:pt x="24" y="218"/>
                    </a:lnTo>
                    <a:lnTo>
                      <a:pt x="14" y="216"/>
                    </a:lnTo>
                    <a:lnTo>
                      <a:pt x="8" y="212"/>
                    </a:lnTo>
                    <a:lnTo>
                      <a:pt x="2" y="204"/>
                    </a:lnTo>
                    <a:lnTo>
                      <a:pt x="0" y="196"/>
                    </a:lnTo>
                    <a:lnTo>
                      <a:pt x="0" y="24"/>
                    </a:lnTo>
                    <a:lnTo>
                      <a:pt x="2" y="14"/>
                    </a:lnTo>
                    <a:lnTo>
                      <a:pt x="8" y="8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202" y="0"/>
                    </a:lnTo>
                    <a:lnTo>
                      <a:pt x="210" y="2"/>
                    </a:lnTo>
                    <a:lnTo>
                      <a:pt x="218" y="8"/>
                    </a:lnTo>
                    <a:lnTo>
                      <a:pt x="222" y="14"/>
                    </a:lnTo>
                    <a:lnTo>
                      <a:pt x="224" y="24"/>
                    </a:lnTo>
                    <a:lnTo>
                      <a:pt x="224" y="108"/>
                    </a:lnTo>
                    <a:lnTo>
                      <a:pt x="216" y="106"/>
                    </a:lnTo>
                    <a:lnTo>
                      <a:pt x="216" y="40"/>
                    </a:lnTo>
                    <a:lnTo>
                      <a:pt x="238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0" name="Right Arrow 76"/>
            <p:cNvSpPr>
              <a:spLocks noChangeArrowheads="1"/>
            </p:cNvSpPr>
            <p:nvPr/>
          </p:nvSpPr>
          <p:spPr bwMode="auto">
            <a:xfrm>
              <a:off x="5028037" y="1162052"/>
              <a:ext cx="1436433" cy="927454"/>
            </a:xfrm>
            <a:prstGeom prst="rightArrow">
              <a:avLst>
                <a:gd name="adj1" fmla="val 50000"/>
                <a:gd name="adj2" fmla="val 49985"/>
              </a:avLst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grpSp>
          <p:nvGrpSpPr>
            <p:cNvPr id="13" name="Group 43"/>
            <p:cNvGrpSpPr/>
            <p:nvPr/>
          </p:nvGrpSpPr>
          <p:grpSpPr bwMode="auto">
            <a:xfrm>
              <a:off x="2830109" y="1495399"/>
              <a:ext cx="3300395" cy="2138073"/>
              <a:chOff x="1824" y="1245"/>
              <a:chExt cx="3983" cy="2386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14" name="Right Arrow 57"/>
              <p:cNvSpPr>
                <a:spLocks noChangeArrowheads="1"/>
              </p:cNvSpPr>
              <p:nvPr/>
            </p:nvSpPr>
            <p:spPr bwMode="auto">
              <a:xfrm rot="10800000" flipH="1">
                <a:off x="1824" y="1824"/>
                <a:ext cx="1275" cy="1074"/>
              </a:xfrm>
              <a:prstGeom prst="rightArrow">
                <a:avLst>
                  <a:gd name="adj1" fmla="val 50000"/>
                  <a:gd name="adj2" fmla="val 59358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" name="Freeform 262"/>
              <p:cNvSpPr/>
              <p:nvPr/>
            </p:nvSpPr>
            <p:spPr bwMode="gray">
              <a:xfrm>
                <a:off x="2683" y="2269"/>
                <a:ext cx="196" cy="184"/>
              </a:xfrm>
              <a:custGeom>
                <a:avLst/>
                <a:gdLst>
                  <a:gd name="T0" fmla="*/ 202954 w 210"/>
                  <a:gd name="T1" fmla="*/ 2670 h 206"/>
                  <a:gd name="T2" fmla="*/ 5799 w 210"/>
                  <a:gd name="T3" fmla="*/ 136164 h 206"/>
                  <a:gd name="T4" fmla="*/ 0 w 210"/>
                  <a:gd name="T5" fmla="*/ 138835 h 206"/>
                  <a:gd name="T6" fmla="*/ 5799 w 210"/>
                  <a:gd name="T7" fmla="*/ 141505 h 206"/>
                  <a:gd name="T8" fmla="*/ 295734 w 210"/>
                  <a:gd name="T9" fmla="*/ 224272 h 206"/>
                  <a:gd name="T10" fmla="*/ 301533 w 210"/>
                  <a:gd name="T11" fmla="*/ 226942 h 206"/>
                  <a:gd name="T12" fmla="*/ 298633 w 210"/>
                  <a:gd name="T13" fmla="*/ 221601 h 206"/>
                  <a:gd name="T14" fmla="*/ 205854 w 210"/>
                  <a:gd name="T15" fmla="*/ 8009 h 206"/>
                  <a:gd name="T16" fmla="*/ 202954 w 210"/>
                  <a:gd name="T17" fmla="*/ 0 h 206"/>
                  <a:gd name="T18" fmla="*/ 202954 w 210"/>
                  <a:gd name="T19" fmla="*/ 8009 h 206"/>
                  <a:gd name="T20" fmla="*/ 165263 w 210"/>
                  <a:gd name="T21" fmla="*/ 130825 h 206"/>
                  <a:gd name="T22" fmla="*/ 168162 w 210"/>
                  <a:gd name="T23" fmla="*/ 133495 h 206"/>
                  <a:gd name="T24" fmla="*/ 295734 w 210"/>
                  <a:gd name="T25" fmla="*/ 218931 h 206"/>
                  <a:gd name="T26" fmla="*/ 298633 w 210"/>
                  <a:gd name="T27" fmla="*/ 216262 h 206"/>
                  <a:gd name="T28" fmla="*/ 84081 w 210"/>
                  <a:gd name="T29" fmla="*/ 269660 h 206"/>
                  <a:gd name="T30" fmla="*/ 89880 w 210"/>
                  <a:gd name="T31" fmla="*/ 272330 h 206"/>
                  <a:gd name="T32" fmla="*/ 8698 w 210"/>
                  <a:gd name="T33" fmla="*/ 136164 h 206"/>
                  <a:gd name="T34" fmla="*/ 5799 w 210"/>
                  <a:gd name="T35" fmla="*/ 141505 h 206"/>
                  <a:gd name="T36" fmla="*/ 168162 w 210"/>
                  <a:gd name="T37" fmla="*/ 130825 h 206"/>
                  <a:gd name="T38" fmla="*/ 165263 w 210"/>
                  <a:gd name="T39" fmla="*/ 128155 h 206"/>
                  <a:gd name="T40" fmla="*/ 86980 w 210"/>
                  <a:gd name="T41" fmla="*/ 266990 h 206"/>
                  <a:gd name="T42" fmla="*/ 92779 w 210"/>
                  <a:gd name="T43" fmla="*/ 269660 h 206"/>
                  <a:gd name="T44" fmla="*/ 171061 w 210"/>
                  <a:gd name="T45" fmla="*/ 128155 h 206"/>
                  <a:gd name="T46" fmla="*/ 173961 w 210"/>
                  <a:gd name="T47" fmla="*/ 125485 h 206"/>
                  <a:gd name="T48" fmla="*/ 168162 w 210"/>
                  <a:gd name="T49" fmla="*/ 125485 h 206"/>
                  <a:gd name="T50" fmla="*/ 5799 w 210"/>
                  <a:gd name="T51" fmla="*/ 136164 h 206"/>
                  <a:gd name="T52" fmla="*/ 2899 w 210"/>
                  <a:gd name="T53" fmla="*/ 136164 h 206"/>
                  <a:gd name="T54" fmla="*/ 2899 w 210"/>
                  <a:gd name="T55" fmla="*/ 138835 h 206"/>
                  <a:gd name="T56" fmla="*/ 84081 w 210"/>
                  <a:gd name="T57" fmla="*/ 275000 h 206"/>
                  <a:gd name="T58" fmla="*/ 86980 w 210"/>
                  <a:gd name="T59" fmla="*/ 275000 h 206"/>
                  <a:gd name="T60" fmla="*/ 298633 w 210"/>
                  <a:gd name="T61" fmla="*/ 221601 h 206"/>
                  <a:gd name="T62" fmla="*/ 304432 w 210"/>
                  <a:gd name="T63" fmla="*/ 218931 h 206"/>
                  <a:gd name="T64" fmla="*/ 298633 w 210"/>
                  <a:gd name="T65" fmla="*/ 216262 h 206"/>
                  <a:gd name="T66" fmla="*/ 171061 w 210"/>
                  <a:gd name="T67" fmla="*/ 128155 h 206"/>
                  <a:gd name="T68" fmla="*/ 171061 w 210"/>
                  <a:gd name="T69" fmla="*/ 130825 h 206"/>
                  <a:gd name="T70" fmla="*/ 208753 w 210"/>
                  <a:gd name="T71" fmla="*/ 8009 h 206"/>
                  <a:gd name="T72" fmla="*/ 202954 w 210"/>
                  <a:gd name="T73" fmla="*/ 8009 h 206"/>
                  <a:gd name="T74" fmla="*/ 292834 w 210"/>
                  <a:gd name="T75" fmla="*/ 224272 h 206"/>
                  <a:gd name="T76" fmla="*/ 295734 w 210"/>
                  <a:gd name="T77" fmla="*/ 218931 h 206"/>
                  <a:gd name="T78" fmla="*/ 5799 w 210"/>
                  <a:gd name="T79" fmla="*/ 136164 h 206"/>
                  <a:gd name="T80" fmla="*/ 8698 w 210"/>
                  <a:gd name="T81" fmla="*/ 141505 h 206"/>
                  <a:gd name="T82" fmla="*/ 205854 w 210"/>
                  <a:gd name="T83" fmla="*/ 5340 h 206"/>
                  <a:gd name="T84" fmla="*/ 202954 w 210"/>
                  <a:gd name="T85" fmla="*/ 2670 h 20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10"/>
                  <a:gd name="T130" fmla="*/ 0 h 206"/>
                  <a:gd name="T131" fmla="*/ 210 w 210"/>
                  <a:gd name="T132" fmla="*/ 206 h 20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10" h="206">
                    <a:moveTo>
                      <a:pt x="140" y="2"/>
                    </a:moveTo>
                    <a:lnTo>
                      <a:pt x="4" y="102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204" y="168"/>
                    </a:lnTo>
                    <a:lnTo>
                      <a:pt x="208" y="170"/>
                    </a:lnTo>
                    <a:lnTo>
                      <a:pt x="206" y="166"/>
                    </a:lnTo>
                    <a:lnTo>
                      <a:pt x="142" y="6"/>
                    </a:lnTo>
                    <a:lnTo>
                      <a:pt x="140" y="0"/>
                    </a:lnTo>
                    <a:lnTo>
                      <a:pt x="140" y="6"/>
                    </a:lnTo>
                    <a:lnTo>
                      <a:pt x="114" y="98"/>
                    </a:lnTo>
                    <a:lnTo>
                      <a:pt x="116" y="100"/>
                    </a:lnTo>
                    <a:lnTo>
                      <a:pt x="204" y="164"/>
                    </a:lnTo>
                    <a:lnTo>
                      <a:pt x="206" y="162"/>
                    </a:lnTo>
                    <a:lnTo>
                      <a:pt x="58" y="202"/>
                    </a:lnTo>
                    <a:lnTo>
                      <a:pt x="62" y="204"/>
                    </a:lnTo>
                    <a:lnTo>
                      <a:pt x="6" y="102"/>
                    </a:lnTo>
                    <a:lnTo>
                      <a:pt x="4" y="106"/>
                    </a:lnTo>
                    <a:lnTo>
                      <a:pt x="116" y="98"/>
                    </a:lnTo>
                    <a:lnTo>
                      <a:pt x="114" y="96"/>
                    </a:lnTo>
                    <a:lnTo>
                      <a:pt x="60" y="200"/>
                    </a:lnTo>
                    <a:lnTo>
                      <a:pt x="64" y="202"/>
                    </a:lnTo>
                    <a:lnTo>
                      <a:pt x="118" y="96"/>
                    </a:lnTo>
                    <a:lnTo>
                      <a:pt x="120" y="94"/>
                    </a:lnTo>
                    <a:lnTo>
                      <a:pt x="116" y="94"/>
                    </a:lnTo>
                    <a:lnTo>
                      <a:pt x="4" y="102"/>
                    </a:lnTo>
                    <a:lnTo>
                      <a:pt x="2" y="102"/>
                    </a:lnTo>
                    <a:lnTo>
                      <a:pt x="2" y="104"/>
                    </a:lnTo>
                    <a:lnTo>
                      <a:pt x="58" y="206"/>
                    </a:lnTo>
                    <a:lnTo>
                      <a:pt x="60" y="206"/>
                    </a:lnTo>
                    <a:lnTo>
                      <a:pt x="206" y="166"/>
                    </a:lnTo>
                    <a:lnTo>
                      <a:pt x="210" y="164"/>
                    </a:lnTo>
                    <a:lnTo>
                      <a:pt x="206" y="162"/>
                    </a:lnTo>
                    <a:lnTo>
                      <a:pt x="118" y="96"/>
                    </a:lnTo>
                    <a:lnTo>
                      <a:pt x="118" y="98"/>
                    </a:lnTo>
                    <a:lnTo>
                      <a:pt x="144" y="6"/>
                    </a:lnTo>
                    <a:lnTo>
                      <a:pt x="140" y="6"/>
                    </a:lnTo>
                    <a:lnTo>
                      <a:pt x="202" y="168"/>
                    </a:lnTo>
                    <a:lnTo>
                      <a:pt x="204" y="164"/>
                    </a:lnTo>
                    <a:lnTo>
                      <a:pt x="4" y="102"/>
                    </a:lnTo>
                    <a:lnTo>
                      <a:pt x="6" y="106"/>
                    </a:lnTo>
                    <a:lnTo>
                      <a:pt x="142" y="4"/>
                    </a:lnTo>
                    <a:lnTo>
                      <a:pt x="140" y="2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</a:ln>
            </p:spPr>
            <p:txBody>
              <a:bodyPr anchor="ctr"/>
              <a:lstStyle/>
              <a:p>
                <a:pPr defTabSz="69723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>
                  <a:solidFill>
                    <a:prstClr val="black"/>
                  </a:solidFill>
                  <a:latin typeface="Segoe UI Light" panose="020B0502040204020203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" name="Text Box 44"/>
              <p:cNvSpPr txBox="1">
                <a:spLocks noChangeArrowheads="1"/>
              </p:cNvSpPr>
              <p:nvPr/>
            </p:nvSpPr>
            <p:spPr bwMode="auto">
              <a:xfrm>
                <a:off x="1841" y="2208"/>
                <a:ext cx="907" cy="316"/>
              </a:xfrm>
              <a:prstGeom prst="rect">
                <a:avLst/>
              </a:prstGeom>
              <a:noFill/>
              <a:ln w="9525" algn="ctr">
                <a:noFill/>
                <a:miter lim="800000"/>
              </a:ln>
            </p:spPr>
            <p:txBody>
              <a:bodyPr lIns="84003" tIns="0" rIns="0" bIns="42001" anchor="ctr"/>
              <a:lstStyle/>
              <a:p>
                <a:pPr algn="ctr" defTabSz="8382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文本</a:t>
                </a:r>
                <a:endParaRPr lang="en-US" sz="12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Text Box 44"/>
              <p:cNvSpPr txBox="1">
                <a:spLocks noChangeArrowheads="1"/>
              </p:cNvSpPr>
              <p:nvPr/>
            </p:nvSpPr>
            <p:spPr bwMode="auto">
              <a:xfrm>
                <a:off x="4705" y="1245"/>
                <a:ext cx="907" cy="316"/>
              </a:xfrm>
              <a:prstGeom prst="rect">
                <a:avLst/>
              </a:prstGeom>
              <a:noFill/>
              <a:ln w="9525" algn="ctr">
                <a:noFill/>
                <a:miter lim="800000"/>
              </a:ln>
            </p:spPr>
            <p:txBody>
              <a:bodyPr lIns="84003" tIns="0" rIns="0" bIns="42001" anchor="ctr"/>
              <a:lstStyle>
                <a:defPPr>
                  <a:defRPr lang="zh-CN"/>
                </a:defPPr>
                <a:lvl1pPr algn="ctr" defTabSz="838200">
                  <a:defRPr sz="12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dirty="0">
                    <a:solidFill>
                      <a:prstClr val="white"/>
                    </a:solidFill>
                  </a:rPr>
                  <a:t>添加文本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Text Box 44"/>
              <p:cNvSpPr txBox="1">
                <a:spLocks noChangeArrowheads="1"/>
              </p:cNvSpPr>
              <p:nvPr/>
            </p:nvSpPr>
            <p:spPr bwMode="auto">
              <a:xfrm>
                <a:off x="4900" y="3315"/>
                <a:ext cx="907" cy="316"/>
              </a:xfrm>
              <a:prstGeom prst="rect">
                <a:avLst/>
              </a:prstGeom>
              <a:noFill/>
              <a:ln w="9525" algn="ctr">
                <a:noFill/>
                <a:miter lim="800000"/>
              </a:ln>
            </p:spPr>
            <p:txBody>
              <a:bodyPr lIns="84003" tIns="0" rIns="0" bIns="42001" anchor="ctr"/>
              <a:lstStyle>
                <a:defPPr>
                  <a:defRPr lang="zh-CN"/>
                </a:defPPr>
                <a:lvl1pPr algn="ctr" defTabSz="838200">
                  <a:defRPr sz="12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dirty="0">
                    <a:solidFill>
                      <a:prstClr val="white"/>
                    </a:solidFill>
                  </a:rPr>
                  <a:t>添加文本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8692" name="TextBox 20"/>
            <p:cNvSpPr txBox="1">
              <a:spLocks noChangeArrowheads="1"/>
            </p:cNvSpPr>
            <p:nvPr/>
          </p:nvSpPr>
          <p:spPr bwMode="auto">
            <a:xfrm>
              <a:off x="5232884" y="2129076"/>
              <a:ext cx="1295323" cy="209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</a:t>
              </a:r>
              <a:endParaRPr lang="en-US" altLang="zh-CN" sz="900" b="1">
                <a:solidFill>
                  <a:srgbClr val="000000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28693" name="TextBox 21"/>
            <p:cNvSpPr txBox="1">
              <a:spLocks noChangeArrowheads="1"/>
            </p:cNvSpPr>
            <p:nvPr/>
          </p:nvSpPr>
          <p:spPr bwMode="auto">
            <a:xfrm>
              <a:off x="5232884" y="2345571"/>
              <a:ext cx="1295323" cy="3475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</a:t>
              </a:r>
              <a:endParaRPr lang="en-US" altLang="zh-CN" sz="900" b="1">
                <a:solidFill>
                  <a:srgbClr val="000000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212705" y="1662969"/>
              <a:ext cx="739184" cy="347571"/>
            </a:xfrm>
            <a:prstGeom prst="rect">
              <a:avLst/>
            </a:prstGeom>
            <a:noFill/>
          </p:spPr>
          <p:txBody>
            <a:bodyPr lIns="69898" tIns="34945" rIns="69898" bIns="34945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观、精致、严谨</a:t>
              </a:r>
              <a:endParaRPr lang="en-US" sz="900" b="1" dirty="0">
                <a:gradFill>
                  <a:gsLst>
                    <a:gs pos="0">
                      <a:srgbClr val="EFEFEF"/>
                    </a:gs>
                    <a:gs pos="100000">
                      <a:srgbClr val="EFEFEF"/>
                    </a:gs>
                  </a:gsLst>
                  <a:lin ang="5400000" scaled="0"/>
                </a:gradFill>
                <a:latin typeface="Segoe UI" panose="020B0502040204020203"/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221754" y="3107908"/>
              <a:ext cx="693347" cy="486071"/>
            </a:xfrm>
            <a:prstGeom prst="rect">
              <a:avLst/>
            </a:prstGeom>
            <a:noFill/>
          </p:spPr>
          <p:txBody>
            <a:bodyPr lIns="69898" tIns="34945" rIns="69898" bIns="34945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顶尖的</a:t>
              </a:r>
              <a:r>
                <a:rPr lang="en-US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</a:t>
              </a:r>
              <a:endParaRPr lang="en-US" sz="900" b="1" dirty="0">
                <a:gradFill>
                  <a:gsLst>
                    <a:gs pos="0">
                      <a:srgbClr val="EFEFEF"/>
                    </a:gs>
                    <a:gs pos="100000">
                      <a:srgbClr val="EFEFEF"/>
                    </a:gs>
                  </a:gsLst>
                  <a:lin ang="5400000" scaled="0"/>
                </a:gradFill>
                <a:latin typeface="Segoe UI" panose="020B0502040204020203"/>
                <a:ea typeface="+mn-ea"/>
              </a:endParaRPr>
            </a:p>
          </p:txBody>
        </p:sp>
        <p:sp>
          <p:nvSpPr>
            <p:cNvPr id="28696" name="TextBox 24"/>
            <p:cNvSpPr txBox="1">
              <a:spLocks noChangeArrowheads="1"/>
            </p:cNvSpPr>
            <p:nvPr/>
          </p:nvSpPr>
          <p:spPr bwMode="auto">
            <a:xfrm>
              <a:off x="4136965" y="3149543"/>
              <a:ext cx="676515" cy="486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拒绝平庸的做事精神</a:t>
              </a:r>
              <a:endParaRPr lang="en-US" altLang="zh-CN" sz="9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140731" y="1674220"/>
              <a:ext cx="718887" cy="347571"/>
            </a:xfrm>
            <a:prstGeom prst="rect">
              <a:avLst/>
            </a:prstGeom>
            <a:noFill/>
          </p:spPr>
          <p:txBody>
            <a:bodyPr lIns="69898" tIns="34945" rIns="69898" bIns="34945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</a:t>
              </a:r>
              <a:r>
                <a:rPr lang="zh-CN" altLang="en-US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</a:t>
              </a:r>
              <a:r>
                <a:rPr lang="zh-CN" altLang="zh-CN" sz="9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神</a:t>
              </a:r>
              <a:endParaRPr lang="en-US" sz="900" b="1" dirty="0">
                <a:gradFill>
                  <a:gsLst>
                    <a:gs pos="0">
                      <a:srgbClr val="EFEFEF"/>
                    </a:gs>
                    <a:gs pos="100000">
                      <a:srgbClr val="EFEFEF"/>
                    </a:gs>
                  </a:gsLst>
                  <a:lin ang="5400000" scaled="0"/>
                </a:gradFill>
                <a:latin typeface="Segoe UI" panose="020B0502040204020203"/>
                <a:ea typeface="+mn-ea"/>
              </a:endParaRPr>
            </a:p>
          </p:txBody>
        </p:sp>
        <p:pic>
          <p:nvPicPr>
            <p:cNvPr id="28698" name="Picture 8"/>
            <p:cNvPicPr/>
            <p:nvPr/>
          </p:nvPicPr>
          <p:blipFill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4239" y="1673324"/>
              <a:ext cx="206459" cy="161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99" name="Picture 10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926" y="1661489"/>
              <a:ext cx="206459" cy="181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700" name="Picture 11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4525" y="3130704"/>
              <a:ext cx="206459" cy="194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701" name="Picture 56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4239" y="3114574"/>
              <a:ext cx="206459" cy="194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702" name="Picture 12"/>
            <p:cNvPicPr/>
            <p:nvPr/>
          </p:nvPicPr>
          <p:blipFill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93" y="2106199"/>
              <a:ext cx="206459" cy="202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703" name="Picture 66"/>
            <p:cNvPicPr/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93" y="2399103"/>
              <a:ext cx="158845" cy="206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5" name="Group 9"/>
            <p:cNvGrpSpPr/>
            <p:nvPr/>
          </p:nvGrpSpPr>
          <p:grpSpPr bwMode="auto">
            <a:xfrm>
              <a:off x="1752824" y="4043878"/>
              <a:ext cx="5776221" cy="177982"/>
              <a:chOff x="1141412" y="6400800"/>
              <a:chExt cx="9550400" cy="228600"/>
            </a:xfrm>
            <a:solidFill>
              <a:schemeClr val="accent6"/>
            </a:solidFill>
          </p:grpSpPr>
          <p:sp>
            <p:nvSpPr>
              <p:cNvPr id="36" name="Rectangle 5"/>
              <p:cNvSpPr/>
              <p:nvPr/>
            </p:nvSpPr>
            <p:spPr>
              <a:xfrm>
                <a:off x="1141412" y="6400800"/>
                <a:ext cx="3150141" cy="2286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本内容</a:t>
                </a:r>
                <a:endParaRPr lang="en-US" sz="12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7" name="Rectangle 54"/>
              <p:cNvSpPr/>
              <p:nvPr/>
            </p:nvSpPr>
            <p:spPr>
              <a:xfrm>
                <a:off x="4342336" y="6400800"/>
                <a:ext cx="3148553" cy="2286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本内容</a:t>
                </a:r>
                <a:endParaRPr lang="en-US" sz="12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70"/>
              <p:cNvSpPr/>
              <p:nvPr/>
            </p:nvSpPr>
            <p:spPr>
              <a:xfrm>
                <a:off x="7541672" y="6400800"/>
                <a:ext cx="3150140" cy="2286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Segoe UI" panose="020B0502040204020203" pitchFamily="34" charset="0"/>
                  </a:rPr>
                  <a:t>添加文本内容</a:t>
                </a:r>
                <a:endParaRPr lang="en-US" sz="120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28705" name="Picture 4"/>
            <p:cNvPicPr>
              <a:picLocks noChangeArrowheads="1"/>
            </p:cNvPicPr>
            <p:nvPr/>
          </p:nvPicPr>
          <p:blipFill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93" y="2693142"/>
              <a:ext cx="184185" cy="206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706" name="TextBox 39"/>
            <p:cNvSpPr txBox="1">
              <a:spLocks noChangeArrowheads="1"/>
            </p:cNvSpPr>
            <p:nvPr/>
          </p:nvSpPr>
          <p:spPr bwMode="auto">
            <a:xfrm>
              <a:off x="5232884" y="2637408"/>
              <a:ext cx="1284741" cy="4615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9898" tIns="34945" rIns="69898" bIns="34945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9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帮助您实现美观、精致、严谨。</a:t>
              </a:r>
              <a:endParaRPr lang="en-US" altLang="zh-CN" sz="9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8707" name="Group 9"/>
            <p:cNvGrpSpPr/>
            <p:nvPr/>
          </p:nvGrpSpPr>
          <p:grpSpPr bwMode="auto">
            <a:xfrm>
              <a:off x="6335435" y="2029697"/>
              <a:ext cx="1592165" cy="1008894"/>
              <a:chOff x="4688742" y="3040064"/>
              <a:chExt cx="2110590" cy="1245837"/>
            </a:xfrm>
          </p:grpSpPr>
          <p:grpSp>
            <p:nvGrpSpPr>
              <p:cNvPr id="28708" name="Group 58"/>
              <p:cNvGrpSpPr/>
              <p:nvPr/>
            </p:nvGrpSpPr>
            <p:grpSpPr bwMode="auto">
              <a:xfrm>
                <a:off x="4889071" y="3040064"/>
                <a:ext cx="1672961" cy="1245837"/>
                <a:chOff x="1502854" y="2458945"/>
                <a:chExt cx="3104981" cy="2296712"/>
              </a:xfrm>
            </p:grpSpPr>
            <p:sp>
              <p:nvSpPr>
                <p:cNvPr id="46" name="Oval 2"/>
                <p:cNvSpPr/>
                <p:nvPr/>
              </p:nvSpPr>
              <p:spPr bwMode="auto">
                <a:xfrm>
                  <a:off x="1502195" y="2460587"/>
                  <a:ext cx="3104760" cy="21473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88679" h="1722978">
                      <a:moveTo>
                        <a:pt x="1568924" y="0"/>
                      </a:moveTo>
                      <a:cubicBezTo>
                        <a:pt x="1889013" y="0"/>
                        <a:pt x="2148497" y="259484"/>
                        <a:pt x="2148497" y="579573"/>
                      </a:cubicBezTo>
                      <a:cubicBezTo>
                        <a:pt x="2148497" y="628390"/>
                        <a:pt x="2142461" y="675798"/>
                        <a:pt x="2129199" y="720614"/>
                      </a:cubicBezTo>
                      <a:cubicBezTo>
                        <a:pt x="2337950" y="784181"/>
                        <a:pt x="2488679" y="978799"/>
                        <a:pt x="2488679" y="1208622"/>
                      </a:cubicBezTo>
                      <a:cubicBezTo>
                        <a:pt x="2488679" y="1492693"/>
                        <a:pt x="2258394" y="1722978"/>
                        <a:pt x="1974323" y="1722978"/>
                      </a:cubicBezTo>
                      <a:lnTo>
                        <a:pt x="1974313" y="1722977"/>
                      </a:lnTo>
                      <a:lnTo>
                        <a:pt x="563842" y="1722977"/>
                      </a:lnTo>
                      <a:cubicBezTo>
                        <a:pt x="563839" y="1722978"/>
                        <a:pt x="563836" y="1722978"/>
                        <a:pt x="563832" y="1722978"/>
                      </a:cubicBezTo>
                      <a:cubicBezTo>
                        <a:pt x="252436" y="1722978"/>
                        <a:pt x="0" y="1470542"/>
                        <a:pt x="0" y="1159146"/>
                      </a:cubicBezTo>
                      <a:cubicBezTo>
                        <a:pt x="0" y="944117"/>
                        <a:pt x="120370" y="757203"/>
                        <a:pt x="298654" y="664433"/>
                      </a:cubicBezTo>
                      <a:cubicBezTo>
                        <a:pt x="297817" y="661589"/>
                        <a:pt x="297788" y="658721"/>
                        <a:pt x="297788" y="655847"/>
                      </a:cubicBezTo>
                      <a:cubicBezTo>
                        <a:pt x="297788" y="426683"/>
                        <a:pt x="483562" y="240909"/>
                        <a:pt x="712726" y="240909"/>
                      </a:cubicBezTo>
                      <a:cubicBezTo>
                        <a:pt x="838046" y="240909"/>
                        <a:pt x="950390" y="296465"/>
                        <a:pt x="1025124" y="385461"/>
                      </a:cubicBezTo>
                      <a:cubicBezTo>
                        <a:pt x="1102977" y="160464"/>
                        <a:pt x="1317212" y="0"/>
                        <a:pt x="1568924" y="0"/>
                      </a:cubicBezTo>
                      <a:close/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7" name="Freeform 69"/>
                <p:cNvSpPr/>
                <p:nvPr/>
              </p:nvSpPr>
              <p:spPr bwMode="auto">
                <a:xfrm>
                  <a:off x="3029190" y="3284813"/>
                  <a:ext cx="1519182" cy="310892"/>
                </a:xfrm>
                <a:custGeom>
                  <a:avLst/>
                  <a:gdLst>
                    <a:gd name="connsiteX0" fmla="*/ 0 w 1159668"/>
                    <a:gd name="connsiteY0" fmla="*/ 150019 h 150019"/>
                    <a:gd name="connsiteX1" fmla="*/ 1123950 w 1159668"/>
                    <a:gd name="connsiteY1" fmla="*/ 0 h 150019"/>
                    <a:gd name="connsiteX2" fmla="*/ 1159668 w 1159668"/>
                    <a:gd name="connsiteY2" fmla="*/ 11906 h 150019"/>
                    <a:gd name="connsiteX3" fmla="*/ 0 w 1159668"/>
                    <a:gd name="connsiteY3" fmla="*/ 150019 h 150019"/>
                    <a:gd name="connsiteX0-1" fmla="*/ 0 w 1159668"/>
                    <a:gd name="connsiteY0-2" fmla="*/ 150019 h 150019"/>
                    <a:gd name="connsiteX1-3" fmla="*/ 1123950 w 1159668"/>
                    <a:gd name="connsiteY1-4" fmla="*/ 0 h 150019"/>
                    <a:gd name="connsiteX2-5" fmla="*/ 1159668 w 1159668"/>
                    <a:gd name="connsiteY2-6" fmla="*/ 11906 h 150019"/>
                    <a:gd name="connsiteX3-7" fmla="*/ 245268 w 1159668"/>
                    <a:gd name="connsiteY3-8" fmla="*/ 114300 h 150019"/>
                    <a:gd name="connsiteX4" fmla="*/ 0 w 1159668"/>
                    <a:gd name="connsiteY4" fmla="*/ 150019 h 150019"/>
                    <a:gd name="connsiteX0-9" fmla="*/ 0 w 1159668"/>
                    <a:gd name="connsiteY0-10" fmla="*/ 150019 h 169069"/>
                    <a:gd name="connsiteX1-11" fmla="*/ 1123950 w 1159668"/>
                    <a:gd name="connsiteY1-12" fmla="*/ 0 h 169069"/>
                    <a:gd name="connsiteX2-13" fmla="*/ 1159668 w 1159668"/>
                    <a:gd name="connsiteY2-14" fmla="*/ 11906 h 169069"/>
                    <a:gd name="connsiteX3-15" fmla="*/ 16668 w 1159668"/>
                    <a:gd name="connsiteY3-16" fmla="*/ 169069 h 169069"/>
                    <a:gd name="connsiteX4-17" fmla="*/ 0 w 1159668"/>
                    <a:gd name="connsiteY4-18" fmla="*/ 150019 h 169069"/>
                    <a:gd name="connsiteX0-19" fmla="*/ 0 w 1159668"/>
                    <a:gd name="connsiteY0-20" fmla="*/ 150019 h 169069"/>
                    <a:gd name="connsiteX1-21" fmla="*/ 26193 w 1159668"/>
                    <a:gd name="connsiteY1-22" fmla="*/ 135731 h 169069"/>
                    <a:gd name="connsiteX2-23" fmla="*/ 1123950 w 1159668"/>
                    <a:gd name="connsiteY2-24" fmla="*/ 0 h 169069"/>
                    <a:gd name="connsiteX3-25" fmla="*/ 1159668 w 1159668"/>
                    <a:gd name="connsiteY3-26" fmla="*/ 11906 h 169069"/>
                    <a:gd name="connsiteX4-27" fmla="*/ 16668 w 1159668"/>
                    <a:gd name="connsiteY4-28" fmla="*/ 169069 h 169069"/>
                    <a:gd name="connsiteX5" fmla="*/ 0 w 1159668"/>
                    <a:gd name="connsiteY5" fmla="*/ 150019 h 169069"/>
                    <a:gd name="connsiteX0-29" fmla="*/ 0 w 1171575"/>
                    <a:gd name="connsiteY0-30" fmla="*/ 150019 h 169069"/>
                    <a:gd name="connsiteX1-31" fmla="*/ 26193 w 1171575"/>
                    <a:gd name="connsiteY1-32" fmla="*/ 135731 h 169069"/>
                    <a:gd name="connsiteX2-33" fmla="*/ 1123950 w 1171575"/>
                    <a:gd name="connsiteY2-34" fmla="*/ 0 h 169069"/>
                    <a:gd name="connsiteX3-35" fmla="*/ 1171575 w 1171575"/>
                    <a:gd name="connsiteY3-36" fmla="*/ 14287 h 169069"/>
                    <a:gd name="connsiteX4-37" fmla="*/ 16668 w 1171575"/>
                    <a:gd name="connsiteY4-38" fmla="*/ 169069 h 169069"/>
                    <a:gd name="connsiteX5-39" fmla="*/ 0 w 1171575"/>
                    <a:gd name="connsiteY5-40" fmla="*/ 150019 h 169069"/>
                    <a:gd name="connsiteX0-41" fmla="*/ 0 w 1171575"/>
                    <a:gd name="connsiteY0-42" fmla="*/ 150019 h 169069"/>
                    <a:gd name="connsiteX1-43" fmla="*/ 19049 w 1171575"/>
                    <a:gd name="connsiteY1-44" fmla="*/ 128587 h 169069"/>
                    <a:gd name="connsiteX2-45" fmla="*/ 1123950 w 1171575"/>
                    <a:gd name="connsiteY2-46" fmla="*/ 0 h 169069"/>
                    <a:gd name="connsiteX3-47" fmla="*/ 1171575 w 1171575"/>
                    <a:gd name="connsiteY3-48" fmla="*/ 14287 h 169069"/>
                    <a:gd name="connsiteX4-49" fmla="*/ 16668 w 1171575"/>
                    <a:gd name="connsiteY4-50" fmla="*/ 169069 h 169069"/>
                    <a:gd name="connsiteX5-51" fmla="*/ 0 w 1171575"/>
                    <a:gd name="connsiteY5-52" fmla="*/ 150019 h 169069"/>
                    <a:gd name="connsiteX0-53" fmla="*/ 0 w 1190625"/>
                    <a:gd name="connsiteY0-54" fmla="*/ 150019 h 169069"/>
                    <a:gd name="connsiteX1-55" fmla="*/ 19049 w 1190625"/>
                    <a:gd name="connsiteY1-56" fmla="*/ 128587 h 169069"/>
                    <a:gd name="connsiteX2-57" fmla="*/ 1123950 w 1190625"/>
                    <a:gd name="connsiteY2-58" fmla="*/ 0 h 169069"/>
                    <a:gd name="connsiteX3-59" fmla="*/ 1190625 w 1190625"/>
                    <a:gd name="connsiteY3-60" fmla="*/ 16668 h 169069"/>
                    <a:gd name="connsiteX4-61" fmla="*/ 16668 w 1190625"/>
                    <a:gd name="connsiteY4-62" fmla="*/ 169069 h 169069"/>
                    <a:gd name="connsiteX5-63" fmla="*/ 0 w 1190625"/>
                    <a:gd name="connsiteY5-64" fmla="*/ 150019 h 169069"/>
                    <a:gd name="connsiteX0-65" fmla="*/ 0 w 1190625"/>
                    <a:gd name="connsiteY0-66" fmla="*/ 150019 h 169069"/>
                    <a:gd name="connsiteX1-67" fmla="*/ 7142 w 1190625"/>
                    <a:gd name="connsiteY1-68" fmla="*/ 138112 h 169069"/>
                    <a:gd name="connsiteX2-69" fmla="*/ 1123950 w 1190625"/>
                    <a:gd name="connsiteY2-70" fmla="*/ 0 h 169069"/>
                    <a:gd name="connsiteX3-71" fmla="*/ 1190625 w 1190625"/>
                    <a:gd name="connsiteY3-72" fmla="*/ 16668 h 169069"/>
                    <a:gd name="connsiteX4-73" fmla="*/ 16668 w 1190625"/>
                    <a:gd name="connsiteY4-74" fmla="*/ 169069 h 169069"/>
                    <a:gd name="connsiteX5-75" fmla="*/ 0 w 1190625"/>
                    <a:gd name="connsiteY5-76" fmla="*/ 150019 h 169069"/>
                    <a:gd name="connsiteX0-77" fmla="*/ 0 w 1190625"/>
                    <a:gd name="connsiteY0-78" fmla="*/ 150019 h 161925"/>
                    <a:gd name="connsiteX1-79" fmla="*/ 7142 w 1190625"/>
                    <a:gd name="connsiteY1-80" fmla="*/ 138112 h 161925"/>
                    <a:gd name="connsiteX2-81" fmla="*/ 1123950 w 1190625"/>
                    <a:gd name="connsiteY2-82" fmla="*/ 0 h 161925"/>
                    <a:gd name="connsiteX3-83" fmla="*/ 1190625 w 1190625"/>
                    <a:gd name="connsiteY3-84" fmla="*/ 16668 h 161925"/>
                    <a:gd name="connsiteX4-85" fmla="*/ 21430 w 1190625"/>
                    <a:gd name="connsiteY4-86" fmla="*/ 161925 h 161925"/>
                    <a:gd name="connsiteX5-87" fmla="*/ 0 w 1190625"/>
                    <a:gd name="connsiteY5-88" fmla="*/ 150019 h 161925"/>
                    <a:gd name="connsiteX0-89" fmla="*/ 0 w 1202531"/>
                    <a:gd name="connsiteY0-90" fmla="*/ 150019 h 161925"/>
                    <a:gd name="connsiteX1-91" fmla="*/ 7142 w 1202531"/>
                    <a:gd name="connsiteY1-92" fmla="*/ 138112 h 161925"/>
                    <a:gd name="connsiteX2-93" fmla="*/ 1123950 w 1202531"/>
                    <a:gd name="connsiteY2-94" fmla="*/ 0 h 161925"/>
                    <a:gd name="connsiteX3-95" fmla="*/ 1202531 w 1202531"/>
                    <a:gd name="connsiteY3-96" fmla="*/ 26193 h 161925"/>
                    <a:gd name="connsiteX4-97" fmla="*/ 21430 w 1202531"/>
                    <a:gd name="connsiteY4-98" fmla="*/ 161925 h 161925"/>
                    <a:gd name="connsiteX5-99" fmla="*/ 0 w 1202531"/>
                    <a:gd name="connsiteY5-100" fmla="*/ 150019 h 161925"/>
                    <a:gd name="connsiteX0-101" fmla="*/ 0 w 1202531"/>
                    <a:gd name="connsiteY0-102" fmla="*/ 150019 h 173831"/>
                    <a:gd name="connsiteX1-103" fmla="*/ 7142 w 1202531"/>
                    <a:gd name="connsiteY1-104" fmla="*/ 138112 h 173831"/>
                    <a:gd name="connsiteX2-105" fmla="*/ 1123950 w 1202531"/>
                    <a:gd name="connsiteY2-106" fmla="*/ 0 h 173831"/>
                    <a:gd name="connsiteX3-107" fmla="*/ 1202531 w 1202531"/>
                    <a:gd name="connsiteY3-108" fmla="*/ 26193 h 173831"/>
                    <a:gd name="connsiteX4-109" fmla="*/ 19048 w 1202531"/>
                    <a:gd name="connsiteY4-110" fmla="*/ 173831 h 173831"/>
                    <a:gd name="connsiteX5-111" fmla="*/ 0 w 1202531"/>
                    <a:gd name="connsiteY5-112" fmla="*/ 150019 h 173831"/>
                    <a:gd name="connsiteX0-113" fmla="*/ 0 w 1202531"/>
                    <a:gd name="connsiteY0-114" fmla="*/ 150019 h 188118"/>
                    <a:gd name="connsiteX1-115" fmla="*/ 7142 w 1202531"/>
                    <a:gd name="connsiteY1-116" fmla="*/ 138112 h 188118"/>
                    <a:gd name="connsiteX2-117" fmla="*/ 1123950 w 1202531"/>
                    <a:gd name="connsiteY2-118" fmla="*/ 0 h 188118"/>
                    <a:gd name="connsiteX3-119" fmla="*/ 1202531 w 1202531"/>
                    <a:gd name="connsiteY3-120" fmla="*/ 26193 h 188118"/>
                    <a:gd name="connsiteX4-121" fmla="*/ 16666 w 1202531"/>
                    <a:gd name="connsiteY4-122" fmla="*/ 188118 h 188118"/>
                    <a:gd name="connsiteX5-123" fmla="*/ 0 w 1202531"/>
                    <a:gd name="connsiteY5-124" fmla="*/ 150019 h 188118"/>
                    <a:gd name="connsiteX0-125" fmla="*/ 0 w 1214437"/>
                    <a:gd name="connsiteY0-126" fmla="*/ 150019 h 188118"/>
                    <a:gd name="connsiteX1-127" fmla="*/ 7142 w 1214437"/>
                    <a:gd name="connsiteY1-128" fmla="*/ 138112 h 188118"/>
                    <a:gd name="connsiteX2-129" fmla="*/ 1123950 w 1214437"/>
                    <a:gd name="connsiteY2-130" fmla="*/ 0 h 188118"/>
                    <a:gd name="connsiteX3-131" fmla="*/ 1214437 w 1214437"/>
                    <a:gd name="connsiteY3-132" fmla="*/ 28574 h 188118"/>
                    <a:gd name="connsiteX4-133" fmla="*/ 16666 w 1214437"/>
                    <a:gd name="connsiteY4-134" fmla="*/ 188118 h 188118"/>
                    <a:gd name="connsiteX5-135" fmla="*/ 0 w 1214437"/>
                    <a:gd name="connsiteY5-136" fmla="*/ 150019 h 188118"/>
                    <a:gd name="connsiteX0-137" fmla="*/ 0 w 1214437"/>
                    <a:gd name="connsiteY0-138" fmla="*/ 150019 h 233361"/>
                    <a:gd name="connsiteX1-139" fmla="*/ 7142 w 1214437"/>
                    <a:gd name="connsiteY1-140" fmla="*/ 138112 h 233361"/>
                    <a:gd name="connsiteX2-141" fmla="*/ 1123950 w 1214437"/>
                    <a:gd name="connsiteY2-142" fmla="*/ 0 h 233361"/>
                    <a:gd name="connsiteX3-143" fmla="*/ 1214437 w 1214437"/>
                    <a:gd name="connsiteY3-144" fmla="*/ 28574 h 233361"/>
                    <a:gd name="connsiteX4-145" fmla="*/ 11903 w 1214437"/>
                    <a:gd name="connsiteY4-146" fmla="*/ 233361 h 233361"/>
                    <a:gd name="connsiteX5-147" fmla="*/ 0 w 1214437"/>
                    <a:gd name="connsiteY5-148" fmla="*/ 150019 h 233361"/>
                    <a:gd name="connsiteX0-149" fmla="*/ 0 w 1214437"/>
                    <a:gd name="connsiteY0-150" fmla="*/ 183357 h 233361"/>
                    <a:gd name="connsiteX1-151" fmla="*/ 7142 w 1214437"/>
                    <a:gd name="connsiteY1-152" fmla="*/ 138112 h 233361"/>
                    <a:gd name="connsiteX2-153" fmla="*/ 1123950 w 1214437"/>
                    <a:gd name="connsiteY2-154" fmla="*/ 0 h 233361"/>
                    <a:gd name="connsiteX3-155" fmla="*/ 1214437 w 1214437"/>
                    <a:gd name="connsiteY3-156" fmla="*/ 28574 h 233361"/>
                    <a:gd name="connsiteX4-157" fmla="*/ 11903 w 1214437"/>
                    <a:gd name="connsiteY4-158" fmla="*/ 233361 h 233361"/>
                    <a:gd name="connsiteX5-159" fmla="*/ 0 w 1214437"/>
                    <a:gd name="connsiteY5-160" fmla="*/ 183357 h 233361"/>
                    <a:gd name="connsiteX0-161" fmla="*/ 0 w 1214437"/>
                    <a:gd name="connsiteY0-162" fmla="*/ 183357 h 233361"/>
                    <a:gd name="connsiteX1-163" fmla="*/ 2380 w 1214437"/>
                    <a:gd name="connsiteY1-164" fmla="*/ 188118 h 233361"/>
                    <a:gd name="connsiteX2-165" fmla="*/ 1123950 w 1214437"/>
                    <a:gd name="connsiteY2-166" fmla="*/ 0 h 233361"/>
                    <a:gd name="connsiteX3-167" fmla="*/ 1214437 w 1214437"/>
                    <a:gd name="connsiteY3-168" fmla="*/ 28574 h 233361"/>
                    <a:gd name="connsiteX4-169" fmla="*/ 11903 w 1214437"/>
                    <a:gd name="connsiteY4-170" fmla="*/ 233361 h 233361"/>
                    <a:gd name="connsiteX5-171" fmla="*/ 0 w 1214437"/>
                    <a:gd name="connsiteY5-172" fmla="*/ 183357 h 233361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17" y="connsiteY4-18"/>
                    </a:cxn>
                    <a:cxn ang="0">
                      <a:pos x="connsiteX5-39" y="connsiteY5-40"/>
                    </a:cxn>
                  </a:cxnLst>
                  <a:rect l="l" t="t" r="r" b="b"/>
                  <a:pathLst>
                    <a:path w="1214437" h="233361">
                      <a:moveTo>
                        <a:pt x="0" y="183357"/>
                      </a:moveTo>
                      <a:cubicBezTo>
                        <a:pt x="2381" y="180976"/>
                        <a:pt x="-1" y="190499"/>
                        <a:pt x="2380" y="188118"/>
                      </a:cubicBezTo>
                      <a:lnTo>
                        <a:pt x="1123950" y="0"/>
                      </a:lnTo>
                      <a:lnTo>
                        <a:pt x="1214437" y="28574"/>
                      </a:lnTo>
                      <a:lnTo>
                        <a:pt x="11903" y="233361"/>
                      </a:lnTo>
                      <a:lnTo>
                        <a:pt x="0" y="1833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8" name="Freeform 77"/>
                <p:cNvSpPr/>
                <p:nvPr/>
              </p:nvSpPr>
              <p:spPr bwMode="auto">
                <a:xfrm flipH="1">
                  <a:off x="1775570" y="3284813"/>
                  <a:ext cx="1331728" cy="310892"/>
                </a:xfrm>
                <a:custGeom>
                  <a:avLst/>
                  <a:gdLst>
                    <a:gd name="connsiteX0" fmla="*/ 0 w 1159668"/>
                    <a:gd name="connsiteY0" fmla="*/ 150019 h 150019"/>
                    <a:gd name="connsiteX1" fmla="*/ 1123950 w 1159668"/>
                    <a:gd name="connsiteY1" fmla="*/ 0 h 150019"/>
                    <a:gd name="connsiteX2" fmla="*/ 1159668 w 1159668"/>
                    <a:gd name="connsiteY2" fmla="*/ 11906 h 150019"/>
                    <a:gd name="connsiteX3" fmla="*/ 0 w 1159668"/>
                    <a:gd name="connsiteY3" fmla="*/ 150019 h 150019"/>
                    <a:gd name="connsiteX0-1" fmla="*/ 0 w 1159668"/>
                    <a:gd name="connsiteY0-2" fmla="*/ 150019 h 150019"/>
                    <a:gd name="connsiteX1-3" fmla="*/ 1123950 w 1159668"/>
                    <a:gd name="connsiteY1-4" fmla="*/ 0 h 150019"/>
                    <a:gd name="connsiteX2-5" fmla="*/ 1159668 w 1159668"/>
                    <a:gd name="connsiteY2-6" fmla="*/ 11906 h 150019"/>
                    <a:gd name="connsiteX3-7" fmla="*/ 245268 w 1159668"/>
                    <a:gd name="connsiteY3-8" fmla="*/ 114300 h 150019"/>
                    <a:gd name="connsiteX4" fmla="*/ 0 w 1159668"/>
                    <a:gd name="connsiteY4" fmla="*/ 150019 h 150019"/>
                    <a:gd name="connsiteX0-9" fmla="*/ 0 w 1159668"/>
                    <a:gd name="connsiteY0-10" fmla="*/ 150019 h 169069"/>
                    <a:gd name="connsiteX1-11" fmla="*/ 1123950 w 1159668"/>
                    <a:gd name="connsiteY1-12" fmla="*/ 0 h 169069"/>
                    <a:gd name="connsiteX2-13" fmla="*/ 1159668 w 1159668"/>
                    <a:gd name="connsiteY2-14" fmla="*/ 11906 h 169069"/>
                    <a:gd name="connsiteX3-15" fmla="*/ 16668 w 1159668"/>
                    <a:gd name="connsiteY3-16" fmla="*/ 169069 h 169069"/>
                    <a:gd name="connsiteX4-17" fmla="*/ 0 w 1159668"/>
                    <a:gd name="connsiteY4-18" fmla="*/ 150019 h 169069"/>
                    <a:gd name="connsiteX0-19" fmla="*/ 0 w 1159668"/>
                    <a:gd name="connsiteY0-20" fmla="*/ 150019 h 169069"/>
                    <a:gd name="connsiteX1-21" fmla="*/ 26193 w 1159668"/>
                    <a:gd name="connsiteY1-22" fmla="*/ 135731 h 169069"/>
                    <a:gd name="connsiteX2-23" fmla="*/ 1123950 w 1159668"/>
                    <a:gd name="connsiteY2-24" fmla="*/ 0 h 169069"/>
                    <a:gd name="connsiteX3-25" fmla="*/ 1159668 w 1159668"/>
                    <a:gd name="connsiteY3-26" fmla="*/ 11906 h 169069"/>
                    <a:gd name="connsiteX4-27" fmla="*/ 16668 w 1159668"/>
                    <a:gd name="connsiteY4-28" fmla="*/ 169069 h 169069"/>
                    <a:gd name="connsiteX5" fmla="*/ 0 w 1159668"/>
                    <a:gd name="connsiteY5" fmla="*/ 150019 h 169069"/>
                    <a:gd name="connsiteX0-29" fmla="*/ 0 w 1171575"/>
                    <a:gd name="connsiteY0-30" fmla="*/ 150019 h 169069"/>
                    <a:gd name="connsiteX1-31" fmla="*/ 26193 w 1171575"/>
                    <a:gd name="connsiteY1-32" fmla="*/ 135731 h 169069"/>
                    <a:gd name="connsiteX2-33" fmla="*/ 1123950 w 1171575"/>
                    <a:gd name="connsiteY2-34" fmla="*/ 0 h 169069"/>
                    <a:gd name="connsiteX3-35" fmla="*/ 1171575 w 1171575"/>
                    <a:gd name="connsiteY3-36" fmla="*/ 14287 h 169069"/>
                    <a:gd name="connsiteX4-37" fmla="*/ 16668 w 1171575"/>
                    <a:gd name="connsiteY4-38" fmla="*/ 169069 h 169069"/>
                    <a:gd name="connsiteX5-39" fmla="*/ 0 w 1171575"/>
                    <a:gd name="connsiteY5-40" fmla="*/ 150019 h 169069"/>
                    <a:gd name="connsiteX0-41" fmla="*/ 0 w 1171575"/>
                    <a:gd name="connsiteY0-42" fmla="*/ 150019 h 169069"/>
                    <a:gd name="connsiteX1-43" fmla="*/ 19049 w 1171575"/>
                    <a:gd name="connsiteY1-44" fmla="*/ 128587 h 169069"/>
                    <a:gd name="connsiteX2-45" fmla="*/ 1123950 w 1171575"/>
                    <a:gd name="connsiteY2-46" fmla="*/ 0 h 169069"/>
                    <a:gd name="connsiteX3-47" fmla="*/ 1171575 w 1171575"/>
                    <a:gd name="connsiteY3-48" fmla="*/ 14287 h 169069"/>
                    <a:gd name="connsiteX4-49" fmla="*/ 16668 w 1171575"/>
                    <a:gd name="connsiteY4-50" fmla="*/ 169069 h 169069"/>
                    <a:gd name="connsiteX5-51" fmla="*/ 0 w 1171575"/>
                    <a:gd name="connsiteY5-52" fmla="*/ 150019 h 169069"/>
                    <a:gd name="connsiteX0-53" fmla="*/ 0 w 1190625"/>
                    <a:gd name="connsiteY0-54" fmla="*/ 150019 h 169069"/>
                    <a:gd name="connsiteX1-55" fmla="*/ 19049 w 1190625"/>
                    <a:gd name="connsiteY1-56" fmla="*/ 128587 h 169069"/>
                    <a:gd name="connsiteX2-57" fmla="*/ 1123950 w 1190625"/>
                    <a:gd name="connsiteY2-58" fmla="*/ 0 h 169069"/>
                    <a:gd name="connsiteX3-59" fmla="*/ 1190625 w 1190625"/>
                    <a:gd name="connsiteY3-60" fmla="*/ 16668 h 169069"/>
                    <a:gd name="connsiteX4-61" fmla="*/ 16668 w 1190625"/>
                    <a:gd name="connsiteY4-62" fmla="*/ 169069 h 169069"/>
                    <a:gd name="connsiteX5-63" fmla="*/ 0 w 1190625"/>
                    <a:gd name="connsiteY5-64" fmla="*/ 150019 h 169069"/>
                    <a:gd name="connsiteX0-65" fmla="*/ 0 w 1190625"/>
                    <a:gd name="connsiteY0-66" fmla="*/ 150019 h 169069"/>
                    <a:gd name="connsiteX1-67" fmla="*/ 7142 w 1190625"/>
                    <a:gd name="connsiteY1-68" fmla="*/ 138112 h 169069"/>
                    <a:gd name="connsiteX2-69" fmla="*/ 1123950 w 1190625"/>
                    <a:gd name="connsiteY2-70" fmla="*/ 0 h 169069"/>
                    <a:gd name="connsiteX3-71" fmla="*/ 1190625 w 1190625"/>
                    <a:gd name="connsiteY3-72" fmla="*/ 16668 h 169069"/>
                    <a:gd name="connsiteX4-73" fmla="*/ 16668 w 1190625"/>
                    <a:gd name="connsiteY4-74" fmla="*/ 169069 h 169069"/>
                    <a:gd name="connsiteX5-75" fmla="*/ 0 w 1190625"/>
                    <a:gd name="connsiteY5-76" fmla="*/ 150019 h 169069"/>
                    <a:gd name="connsiteX0-77" fmla="*/ 0 w 1190625"/>
                    <a:gd name="connsiteY0-78" fmla="*/ 150019 h 161925"/>
                    <a:gd name="connsiteX1-79" fmla="*/ 7142 w 1190625"/>
                    <a:gd name="connsiteY1-80" fmla="*/ 138112 h 161925"/>
                    <a:gd name="connsiteX2-81" fmla="*/ 1123950 w 1190625"/>
                    <a:gd name="connsiteY2-82" fmla="*/ 0 h 161925"/>
                    <a:gd name="connsiteX3-83" fmla="*/ 1190625 w 1190625"/>
                    <a:gd name="connsiteY3-84" fmla="*/ 16668 h 161925"/>
                    <a:gd name="connsiteX4-85" fmla="*/ 21430 w 1190625"/>
                    <a:gd name="connsiteY4-86" fmla="*/ 161925 h 161925"/>
                    <a:gd name="connsiteX5-87" fmla="*/ 0 w 1190625"/>
                    <a:gd name="connsiteY5-88" fmla="*/ 150019 h 161925"/>
                    <a:gd name="connsiteX0-89" fmla="*/ 88107 w 1278732"/>
                    <a:gd name="connsiteY0-90" fmla="*/ 150019 h 226219"/>
                    <a:gd name="connsiteX1-91" fmla="*/ 95249 w 1278732"/>
                    <a:gd name="connsiteY1-92" fmla="*/ 138112 h 226219"/>
                    <a:gd name="connsiteX2-93" fmla="*/ 1212057 w 1278732"/>
                    <a:gd name="connsiteY2-94" fmla="*/ 0 h 226219"/>
                    <a:gd name="connsiteX3-95" fmla="*/ 1278732 w 1278732"/>
                    <a:gd name="connsiteY3-96" fmla="*/ 16668 h 226219"/>
                    <a:gd name="connsiteX4-97" fmla="*/ 0 w 1278732"/>
                    <a:gd name="connsiteY4-98" fmla="*/ 226219 h 226219"/>
                    <a:gd name="connsiteX5-99" fmla="*/ 88107 w 1278732"/>
                    <a:gd name="connsiteY5-100" fmla="*/ 150019 h 226219"/>
                    <a:gd name="connsiteX0-101" fmla="*/ 14289 w 1278732"/>
                    <a:gd name="connsiteY0-102" fmla="*/ 197644 h 226219"/>
                    <a:gd name="connsiteX1-103" fmla="*/ 95249 w 1278732"/>
                    <a:gd name="connsiteY1-104" fmla="*/ 138112 h 226219"/>
                    <a:gd name="connsiteX2-105" fmla="*/ 1212057 w 1278732"/>
                    <a:gd name="connsiteY2-106" fmla="*/ 0 h 226219"/>
                    <a:gd name="connsiteX3-107" fmla="*/ 1278732 w 1278732"/>
                    <a:gd name="connsiteY3-108" fmla="*/ 16668 h 226219"/>
                    <a:gd name="connsiteX4-109" fmla="*/ 0 w 1278732"/>
                    <a:gd name="connsiteY4-110" fmla="*/ 226219 h 226219"/>
                    <a:gd name="connsiteX5-111" fmla="*/ 14289 w 1278732"/>
                    <a:gd name="connsiteY5-112" fmla="*/ 197644 h 226219"/>
                    <a:gd name="connsiteX0-113" fmla="*/ 14289 w 1278732"/>
                    <a:gd name="connsiteY0-114" fmla="*/ 197644 h 226219"/>
                    <a:gd name="connsiteX1-115" fmla="*/ 1212057 w 1278732"/>
                    <a:gd name="connsiteY1-116" fmla="*/ 0 h 226219"/>
                    <a:gd name="connsiteX2-117" fmla="*/ 1278732 w 1278732"/>
                    <a:gd name="connsiteY2-118" fmla="*/ 16668 h 226219"/>
                    <a:gd name="connsiteX3-119" fmla="*/ 0 w 1278732"/>
                    <a:gd name="connsiteY3-120" fmla="*/ 226219 h 226219"/>
                    <a:gd name="connsiteX4-121" fmla="*/ 14289 w 1278732"/>
                    <a:gd name="connsiteY4-122" fmla="*/ 197644 h 226219"/>
                    <a:gd name="connsiteX0-123" fmla="*/ 14289 w 1278732"/>
                    <a:gd name="connsiteY0-124" fmla="*/ 197644 h 233363"/>
                    <a:gd name="connsiteX1-125" fmla="*/ 1212057 w 1278732"/>
                    <a:gd name="connsiteY1-126" fmla="*/ 0 h 233363"/>
                    <a:gd name="connsiteX2-127" fmla="*/ 1278732 w 1278732"/>
                    <a:gd name="connsiteY2-128" fmla="*/ 16668 h 233363"/>
                    <a:gd name="connsiteX3-129" fmla="*/ 13567 w 1278732"/>
                    <a:gd name="connsiteY3-130" fmla="*/ 233363 h 233363"/>
                    <a:gd name="connsiteX4-131" fmla="*/ 0 w 1278732"/>
                    <a:gd name="connsiteY4-132" fmla="*/ 226219 h 233363"/>
                    <a:gd name="connsiteX5-133" fmla="*/ 14289 w 1278732"/>
                    <a:gd name="connsiteY5-134" fmla="*/ 197644 h 233363"/>
                    <a:gd name="connsiteX0-135" fmla="*/ 14289 w 1288404"/>
                    <a:gd name="connsiteY0-136" fmla="*/ 197644 h 233363"/>
                    <a:gd name="connsiteX1-137" fmla="*/ 1212057 w 1288404"/>
                    <a:gd name="connsiteY1-138" fmla="*/ 0 h 233363"/>
                    <a:gd name="connsiteX2-139" fmla="*/ 1288404 w 1288404"/>
                    <a:gd name="connsiteY2-140" fmla="*/ 23812 h 233363"/>
                    <a:gd name="connsiteX3-141" fmla="*/ 13567 w 1288404"/>
                    <a:gd name="connsiteY3-142" fmla="*/ 233363 h 233363"/>
                    <a:gd name="connsiteX4-143" fmla="*/ 0 w 1288404"/>
                    <a:gd name="connsiteY4-144" fmla="*/ 226219 h 233363"/>
                    <a:gd name="connsiteX5-145" fmla="*/ 14289 w 1288404"/>
                    <a:gd name="connsiteY5-146" fmla="*/ 197644 h 233363"/>
                    <a:gd name="connsiteX0-147" fmla="*/ 14289 w 1288404"/>
                    <a:gd name="connsiteY0-148" fmla="*/ 197644 h 247650"/>
                    <a:gd name="connsiteX1-149" fmla="*/ 1212057 w 1288404"/>
                    <a:gd name="connsiteY1-150" fmla="*/ 0 h 247650"/>
                    <a:gd name="connsiteX2-151" fmla="*/ 1288404 w 1288404"/>
                    <a:gd name="connsiteY2-152" fmla="*/ 23812 h 247650"/>
                    <a:gd name="connsiteX3-153" fmla="*/ 11149 w 1288404"/>
                    <a:gd name="connsiteY3-154" fmla="*/ 247650 h 247650"/>
                    <a:gd name="connsiteX4-155" fmla="*/ 0 w 1288404"/>
                    <a:gd name="connsiteY4-156" fmla="*/ 226219 h 247650"/>
                    <a:gd name="connsiteX5-157" fmla="*/ 14289 w 1288404"/>
                    <a:gd name="connsiteY5-158" fmla="*/ 197644 h 247650"/>
                    <a:gd name="connsiteX0-159" fmla="*/ 14289 w 1295658"/>
                    <a:gd name="connsiteY0-160" fmla="*/ 197644 h 247650"/>
                    <a:gd name="connsiteX1-161" fmla="*/ 1212057 w 1295658"/>
                    <a:gd name="connsiteY1-162" fmla="*/ 0 h 247650"/>
                    <a:gd name="connsiteX2-163" fmla="*/ 1295658 w 1295658"/>
                    <a:gd name="connsiteY2-164" fmla="*/ 28575 h 247650"/>
                    <a:gd name="connsiteX3-165" fmla="*/ 11149 w 1295658"/>
                    <a:gd name="connsiteY3-166" fmla="*/ 247650 h 247650"/>
                    <a:gd name="connsiteX4-167" fmla="*/ 0 w 1295658"/>
                    <a:gd name="connsiteY4-168" fmla="*/ 226219 h 247650"/>
                    <a:gd name="connsiteX5-169" fmla="*/ 14289 w 1295658"/>
                    <a:gd name="connsiteY5-170" fmla="*/ 197644 h 247650"/>
                    <a:gd name="connsiteX0-171" fmla="*/ 14289 w 1295658"/>
                    <a:gd name="connsiteY0-172" fmla="*/ 197644 h 300037"/>
                    <a:gd name="connsiteX1-173" fmla="*/ 1212057 w 1295658"/>
                    <a:gd name="connsiteY1-174" fmla="*/ 0 h 300037"/>
                    <a:gd name="connsiteX2-175" fmla="*/ 1295658 w 1295658"/>
                    <a:gd name="connsiteY2-176" fmla="*/ 28575 h 300037"/>
                    <a:gd name="connsiteX3-177" fmla="*/ 28074 w 1295658"/>
                    <a:gd name="connsiteY3-178" fmla="*/ 300037 h 300037"/>
                    <a:gd name="connsiteX4-179" fmla="*/ 11149 w 1295658"/>
                    <a:gd name="connsiteY4-180" fmla="*/ 247650 h 300037"/>
                    <a:gd name="connsiteX5-181" fmla="*/ 0 w 1295658"/>
                    <a:gd name="connsiteY5-182" fmla="*/ 226219 h 300037"/>
                    <a:gd name="connsiteX6" fmla="*/ 14289 w 1295658"/>
                    <a:gd name="connsiteY6" fmla="*/ 197644 h 300037"/>
                    <a:gd name="connsiteX0-183" fmla="*/ 11871 w 1295658"/>
                    <a:gd name="connsiteY0-184" fmla="*/ 252413 h 300037"/>
                    <a:gd name="connsiteX1-185" fmla="*/ 1212057 w 1295658"/>
                    <a:gd name="connsiteY1-186" fmla="*/ 0 h 300037"/>
                    <a:gd name="connsiteX2-187" fmla="*/ 1295658 w 1295658"/>
                    <a:gd name="connsiteY2-188" fmla="*/ 28575 h 300037"/>
                    <a:gd name="connsiteX3-189" fmla="*/ 28074 w 1295658"/>
                    <a:gd name="connsiteY3-190" fmla="*/ 300037 h 300037"/>
                    <a:gd name="connsiteX4-191" fmla="*/ 11149 w 1295658"/>
                    <a:gd name="connsiteY4-192" fmla="*/ 247650 h 300037"/>
                    <a:gd name="connsiteX5-193" fmla="*/ 0 w 1295658"/>
                    <a:gd name="connsiteY5-194" fmla="*/ 226219 h 300037"/>
                    <a:gd name="connsiteX6-195" fmla="*/ 11871 w 1295658"/>
                    <a:gd name="connsiteY6-196" fmla="*/ 252413 h 300037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17" y="connsiteY4-18"/>
                    </a:cxn>
                    <a:cxn ang="0">
                      <a:pos x="connsiteX5-39" y="connsiteY5-40"/>
                    </a:cxn>
                    <a:cxn ang="0">
                      <a:pos x="connsiteX6-195" y="connsiteY6-196"/>
                    </a:cxn>
                  </a:cxnLst>
                  <a:rect l="l" t="t" r="r" b="b"/>
                  <a:pathLst>
                    <a:path w="1295658" h="300037">
                      <a:moveTo>
                        <a:pt x="11871" y="252413"/>
                      </a:moveTo>
                      <a:cubicBezTo>
                        <a:pt x="213880" y="214710"/>
                        <a:pt x="1001317" y="30163"/>
                        <a:pt x="1212057" y="0"/>
                      </a:cubicBezTo>
                      <a:lnTo>
                        <a:pt x="1295658" y="28575"/>
                      </a:lnTo>
                      <a:cubicBezTo>
                        <a:pt x="871518" y="100012"/>
                        <a:pt x="452214" y="228600"/>
                        <a:pt x="28074" y="300037"/>
                      </a:cubicBezTo>
                      <a:lnTo>
                        <a:pt x="11149" y="247650"/>
                      </a:lnTo>
                      <a:lnTo>
                        <a:pt x="0" y="226219"/>
                      </a:lnTo>
                      <a:lnTo>
                        <a:pt x="11871" y="25241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9" name="Freeform 78"/>
                <p:cNvSpPr/>
                <p:nvPr/>
              </p:nvSpPr>
              <p:spPr bwMode="auto">
                <a:xfrm rot="17682794">
                  <a:off x="2346873" y="3972270"/>
                  <a:ext cx="1243570" cy="324146"/>
                </a:xfrm>
                <a:custGeom>
                  <a:avLst/>
                  <a:gdLst>
                    <a:gd name="connsiteX0" fmla="*/ 0 w 1159668"/>
                    <a:gd name="connsiteY0" fmla="*/ 150019 h 150019"/>
                    <a:gd name="connsiteX1" fmla="*/ 1123950 w 1159668"/>
                    <a:gd name="connsiteY1" fmla="*/ 0 h 150019"/>
                    <a:gd name="connsiteX2" fmla="*/ 1159668 w 1159668"/>
                    <a:gd name="connsiteY2" fmla="*/ 11906 h 150019"/>
                    <a:gd name="connsiteX3" fmla="*/ 0 w 1159668"/>
                    <a:gd name="connsiteY3" fmla="*/ 150019 h 150019"/>
                    <a:gd name="connsiteX0-1" fmla="*/ 0 w 1159668"/>
                    <a:gd name="connsiteY0-2" fmla="*/ 150019 h 150019"/>
                    <a:gd name="connsiteX1-3" fmla="*/ 1123950 w 1159668"/>
                    <a:gd name="connsiteY1-4" fmla="*/ 0 h 150019"/>
                    <a:gd name="connsiteX2-5" fmla="*/ 1159668 w 1159668"/>
                    <a:gd name="connsiteY2-6" fmla="*/ 11906 h 150019"/>
                    <a:gd name="connsiteX3-7" fmla="*/ 245268 w 1159668"/>
                    <a:gd name="connsiteY3-8" fmla="*/ 114300 h 150019"/>
                    <a:gd name="connsiteX4" fmla="*/ 0 w 1159668"/>
                    <a:gd name="connsiteY4" fmla="*/ 150019 h 150019"/>
                    <a:gd name="connsiteX0-9" fmla="*/ 0 w 1159668"/>
                    <a:gd name="connsiteY0-10" fmla="*/ 150019 h 169069"/>
                    <a:gd name="connsiteX1-11" fmla="*/ 1123950 w 1159668"/>
                    <a:gd name="connsiteY1-12" fmla="*/ 0 h 169069"/>
                    <a:gd name="connsiteX2-13" fmla="*/ 1159668 w 1159668"/>
                    <a:gd name="connsiteY2-14" fmla="*/ 11906 h 169069"/>
                    <a:gd name="connsiteX3-15" fmla="*/ 16668 w 1159668"/>
                    <a:gd name="connsiteY3-16" fmla="*/ 169069 h 169069"/>
                    <a:gd name="connsiteX4-17" fmla="*/ 0 w 1159668"/>
                    <a:gd name="connsiteY4-18" fmla="*/ 150019 h 169069"/>
                    <a:gd name="connsiteX0-19" fmla="*/ 0 w 1159668"/>
                    <a:gd name="connsiteY0-20" fmla="*/ 150019 h 169069"/>
                    <a:gd name="connsiteX1-21" fmla="*/ 26193 w 1159668"/>
                    <a:gd name="connsiteY1-22" fmla="*/ 135731 h 169069"/>
                    <a:gd name="connsiteX2-23" fmla="*/ 1123950 w 1159668"/>
                    <a:gd name="connsiteY2-24" fmla="*/ 0 h 169069"/>
                    <a:gd name="connsiteX3-25" fmla="*/ 1159668 w 1159668"/>
                    <a:gd name="connsiteY3-26" fmla="*/ 11906 h 169069"/>
                    <a:gd name="connsiteX4-27" fmla="*/ 16668 w 1159668"/>
                    <a:gd name="connsiteY4-28" fmla="*/ 169069 h 169069"/>
                    <a:gd name="connsiteX5" fmla="*/ 0 w 1159668"/>
                    <a:gd name="connsiteY5" fmla="*/ 150019 h 169069"/>
                    <a:gd name="connsiteX0-29" fmla="*/ 0 w 1171575"/>
                    <a:gd name="connsiteY0-30" fmla="*/ 150019 h 169069"/>
                    <a:gd name="connsiteX1-31" fmla="*/ 26193 w 1171575"/>
                    <a:gd name="connsiteY1-32" fmla="*/ 135731 h 169069"/>
                    <a:gd name="connsiteX2-33" fmla="*/ 1123950 w 1171575"/>
                    <a:gd name="connsiteY2-34" fmla="*/ 0 h 169069"/>
                    <a:gd name="connsiteX3-35" fmla="*/ 1171575 w 1171575"/>
                    <a:gd name="connsiteY3-36" fmla="*/ 14287 h 169069"/>
                    <a:gd name="connsiteX4-37" fmla="*/ 16668 w 1171575"/>
                    <a:gd name="connsiteY4-38" fmla="*/ 169069 h 169069"/>
                    <a:gd name="connsiteX5-39" fmla="*/ 0 w 1171575"/>
                    <a:gd name="connsiteY5-40" fmla="*/ 150019 h 169069"/>
                    <a:gd name="connsiteX0-41" fmla="*/ 0 w 1171575"/>
                    <a:gd name="connsiteY0-42" fmla="*/ 150019 h 169069"/>
                    <a:gd name="connsiteX1-43" fmla="*/ 19049 w 1171575"/>
                    <a:gd name="connsiteY1-44" fmla="*/ 128587 h 169069"/>
                    <a:gd name="connsiteX2-45" fmla="*/ 1123950 w 1171575"/>
                    <a:gd name="connsiteY2-46" fmla="*/ 0 h 169069"/>
                    <a:gd name="connsiteX3-47" fmla="*/ 1171575 w 1171575"/>
                    <a:gd name="connsiteY3-48" fmla="*/ 14287 h 169069"/>
                    <a:gd name="connsiteX4-49" fmla="*/ 16668 w 1171575"/>
                    <a:gd name="connsiteY4-50" fmla="*/ 169069 h 169069"/>
                    <a:gd name="connsiteX5-51" fmla="*/ 0 w 1171575"/>
                    <a:gd name="connsiteY5-52" fmla="*/ 150019 h 169069"/>
                    <a:gd name="connsiteX0-53" fmla="*/ 0 w 1190625"/>
                    <a:gd name="connsiteY0-54" fmla="*/ 150019 h 169069"/>
                    <a:gd name="connsiteX1-55" fmla="*/ 19049 w 1190625"/>
                    <a:gd name="connsiteY1-56" fmla="*/ 128587 h 169069"/>
                    <a:gd name="connsiteX2-57" fmla="*/ 1123950 w 1190625"/>
                    <a:gd name="connsiteY2-58" fmla="*/ 0 h 169069"/>
                    <a:gd name="connsiteX3-59" fmla="*/ 1190625 w 1190625"/>
                    <a:gd name="connsiteY3-60" fmla="*/ 16668 h 169069"/>
                    <a:gd name="connsiteX4-61" fmla="*/ 16668 w 1190625"/>
                    <a:gd name="connsiteY4-62" fmla="*/ 169069 h 169069"/>
                    <a:gd name="connsiteX5-63" fmla="*/ 0 w 1190625"/>
                    <a:gd name="connsiteY5-64" fmla="*/ 150019 h 169069"/>
                    <a:gd name="connsiteX0-65" fmla="*/ 0 w 1190625"/>
                    <a:gd name="connsiteY0-66" fmla="*/ 150019 h 169069"/>
                    <a:gd name="connsiteX1-67" fmla="*/ 7142 w 1190625"/>
                    <a:gd name="connsiteY1-68" fmla="*/ 138112 h 169069"/>
                    <a:gd name="connsiteX2-69" fmla="*/ 1123950 w 1190625"/>
                    <a:gd name="connsiteY2-70" fmla="*/ 0 h 169069"/>
                    <a:gd name="connsiteX3-71" fmla="*/ 1190625 w 1190625"/>
                    <a:gd name="connsiteY3-72" fmla="*/ 16668 h 169069"/>
                    <a:gd name="connsiteX4-73" fmla="*/ 16668 w 1190625"/>
                    <a:gd name="connsiteY4-74" fmla="*/ 169069 h 169069"/>
                    <a:gd name="connsiteX5-75" fmla="*/ 0 w 1190625"/>
                    <a:gd name="connsiteY5-76" fmla="*/ 150019 h 169069"/>
                    <a:gd name="connsiteX0-77" fmla="*/ 0 w 1190625"/>
                    <a:gd name="connsiteY0-78" fmla="*/ 150019 h 161925"/>
                    <a:gd name="connsiteX1-79" fmla="*/ 7142 w 1190625"/>
                    <a:gd name="connsiteY1-80" fmla="*/ 138112 h 161925"/>
                    <a:gd name="connsiteX2-81" fmla="*/ 1123950 w 1190625"/>
                    <a:gd name="connsiteY2-82" fmla="*/ 0 h 161925"/>
                    <a:gd name="connsiteX3-83" fmla="*/ 1190625 w 1190625"/>
                    <a:gd name="connsiteY3-84" fmla="*/ 16668 h 161925"/>
                    <a:gd name="connsiteX4-85" fmla="*/ 21430 w 1190625"/>
                    <a:gd name="connsiteY4-86" fmla="*/ 161925 h 161925"/>
                    <a:gd name="connsiteX5-87" fmla="*/ 0 w 1190625"/>
                    <a:gd name="connsiteY5-88" fmla="*/ 150019 h 161925"/>
                    <a:gd name="connsiteX0-89" fmla="*/ 0 w 1202531"/>
                    <a:gd name="connsiteY0-90" fmla="*/ 150019 h 161925"/>
                    <a:gd name="connsiteX1-91" fmla="*/ 7142 w 1202531"/>
                    <a:gd name="connsiteY1-92" fmla="*/ 138112 h 161925"/>
                    <a:gd name="connsiteX2-93" fmla="*/ 1123950 w 1202531"/>
                    <a:gd name="connsiteY2-94" fmla="*/ 0 h 161925"/>
                    <a:gd name="connsiteX3-95" fmla="*/ 1202531 w 1202531"/>
                    <a:gd name="connsiteY3-96" fmla="*/ 26193 h 161925"/>
                    <a:gd name="connsiteX4-97" fmla="*/ 21430 w 1202531"/>
                    <a:gd name="connsiteY4-98" fmla="*/ 161925 h 161925"/>
                    <a:gd name="connsiteX5-99" fmla="*/ 0 w 1202531"/>
                    <a:gd name="connsiteY5-100" fmla="*/ 150019 h 161925"/>
                    <a:gd name="connsiteX0-101" fmla="*/ 0 w 1202531"/>
                    <a:gd name="connsiteY0-102" fmla="*/ 150019 h 173831"/>
                    <a:gd name="connsiteX1-103" fmla="*/ 7142 w 1202531"/>
                    <a:gd name="connsiteY1-104" fmla="*/ 138112 h 173831"/>
                    <a:gd name="connsiteX2-105" fmla="*/ 1123950 w 1202531"/>
                    <a:gd name="connsiteY2-106" fmla="*/ 0 h 173831"/>
                    <a:gd name="connsiteX3-107" fmla="*/ 1202531 w 1202531"/>
                    <a:gd name="connsiteY3-108" fmla="*/ 26193 h 173831"/>
                    <a:gd name="connsiteX4-109" fmla="*/ 19048 w 1202531"/>
                    <a:gd name="connsiteY4-110" fmla="*/ 173831 h 173831"/>
                    <a:gd name="connsiteX5-111" fmla="*/ 0 w 1202531"/>
                    <a:gd name="connsiteY5-112" fmla="*/ 150019 h 173831"/>
                    <a:gd name="connsiteX0-113" fmla="*/ 0 w 1202531"/>
                    <a:gd name="connsiteY0-114" fmla="*/ 150019 h 188118"/>
                    <a:gd name="connsiteX1-115" fmla="*/ 7142 w 1202531"/>
                    <a:gd name="connsiteY1-116" fmla="*/ 138112 h 188118"/>
                    <a:gd name="connsiteX2-117" fmla="*/ 1123950 w 1202531"/>
                    <a:gd name="connsiteY2-118" fmla="*/ 0 h 188118"/>
                    <a:gd name="connsiteX3-119" fmla="*/ 1202531 w 1202531"/>
                    <a:gd name="connsiteY3-120" fmla="*/ 26193 h 188118"/>
                    <a:gd name="connsiteX4-121" fmla="*/ 16666 w 1202531"/>
                    <a:gd name="connsiteY4-122" fmla="*/ 188118 h 188118"/>
                    <a:gd name="connsiteX5-123" fmla="*/ 0 w 1202531"/>
                    <a:gd name="connsiteY5-124" fmla="*/ 150019 h 188118"/>
                    <a:gd name="connsiteX0-125" fmla="*/ 0 w 1214437"/>
                    <a:gd name="connsiteY0-126" fmla="*/ 150019 h 188118"/>
                    <a:gd name="connsiteX1-127" fmla="*/ 7142 w 1214437"/>
                    <a:gd name="connsiteY1-128" fmla="*/ 138112 h 188118"/>
                    <a:gd name="connsiteX2-129" fmla="*/ 1123950 w 1214437"/>
                    <a:gd name="connsiteY2-130" fmla="*/ 0 h 188118"/>
                    <a:gd name="connsiteX3-131" fmla="*/ 1214437 w 1214437"/>
                    <a:gd name="connsiteY3-132" fmla="*/ 28574 h 188118"/>
                    <a:gd name="connsiteX4-133" fmla="*/ 16666 w 1214437"/>
                    <a:gd name="connsiteY4-134" fmla="*/ 188118 h 188118"/>
                    <a:gd name="connsiteX5-135" fmla="*/ 0 w 1214437"/>
                    <a:gd name="connsiteY5-136" fmla="*/ 150019 h 188118"/>
                    <a:gd name="connsiteX0-137" fmla="*/ 0 w 1214437"/>
                    <a:gd name="connsiteY0-138" fmla="*/ 150019 h 233361"/>
                    <a:gd name="connsiteX1-139" fmla="*/ 7142 w 1214437"/>
                    <a:gd name="connsiteY1-140" fmla="*/ 138112 h 233361"/>
                    <a:gd name="connsiteX2-141" fmla="*/ 1123950 w 1214437"/>
                    <a:gd name="connsiteY2-142" fmla="*/ 0 h 233361"/>
                    <a:gd name="connsiteX3-143" fmla="*/ 1214437 w 1214437"/>
                    <a:gd name="connsiteY3-144" fmla="*/ 28574 h 233361"/>
                    <a:gd name="connsiteX4-145" fmla="*/ 11903 w 1214437"/>
                    <a:gd name="connsiteY4-146" fmla="*/ 233361 h 233361"/>
                    <a:gd name="connsiteX5-147" fmla="*/ 0 w 1214437"/>
                    <a:gd name="connsiteY5-148" fmla="*/ 150019 h 233361"/>
                    <a:gd name="connsiteX0-149" fmla="*/ 0 w 1214437"/>
                    <a:gd name="connsiteY0-150" fmla="*/ 183357 h 233361"/>
                    <a:gd name="connsiteX1-151" fmla="*/ 7142 w 1214437"/>
                    <a:gd name="connsiteY1-152" fmla="*/ 138112 h 233361"/>
                    <a:gd name="connsiteX2-153" fmla="*/ 1123950 w 1214437"/>
                    <a:gd name="connsiteY2-154" fmla="*/ 0 h 233361"/>
                    <a:gd name="connsiteX3-155" fmla="*/ 1214437 w 1214437"/>
                    <a:gd name="connsiteY3-156" fmla="*/ 28574 h 233361"/>
                    <a:gd name="connsiteX4-157" fmla="*/ 11903 w 1214437"/>
                    <a:gd name="connsiteY4-158" fmla="*/ 233361 h 233361"/>
                    <a:gd name="connsiteX5-159" fmla="*/ 0 w 1214437"/>
                    <a:gd name="connsiteY5-160" fmla="*/ 183357 h 233361"/>
                    <a:gd name="connsiteX0-161" fmla="*/ 0 w 1214437"/>
                    <a:gd name="connsiteY0-162" fmla="*/ 183357 h 233361"/>
                    <a:gd name="connsiteX1-163" fmla="*/ 2380 w 1214437"/>
                    <a:gd name="connsiteY1-164" fmla="*/ 188118 h 233361"/>
                    <a:gd name="connsiteX2-165" fmla="*/ 1123950 w 1214437"/>
                    <a:gd name="connsiteY2-166" fmla="*/ 0 h 233361"/>
                    <a:gd name="connsiteX3-167" fmla="*/ 1214437 w 1214437"/>
                    <a:gd name="connsiteY3-168" fmla="*/ 28574 h 233361"/>
                    <a:gd name="connsiteX4-169" fmla="*/ 11903 w 1214437"/>
                    <a:gd name="connsiteY4-170" fmla="*/ 233361 h 233361"/>
                    <a:gd name="connsiteX5-171" fmla="*/ 0 w 1214437"/>
                    <a:gd name="connsiteY5-172" fmla="*/ 183357 h 233361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17" y="connsiteY4-18"/>
                    </a:cxn>
                    <a:cxn ang="0">
                      <a:pos x="connsiteX5-39" y="connsiteY5-40"/>
                    </a:cxn>
                  </a:cxnLst>
                  <a:rect l="l" t="t" r="r" b="b"/>
                  <a:pathLst>
                    <a:path w="1214437" h="233361">
                      <a:moveTo>
                        <a:pt x="0" y="183357"/>
                      </a:moveTo>
                      <a:cubicBezTo>
                        <a:pt x="2381" y="180976"/>
                        <a:pt x="-1" y="190499"/>
                        <a:pt x="2380" y="188118"/>
                      </a:cubicBezTo>
                      <a:lnTo>
                        <a:pt x="1123950" y="0"/>
                      </a:lnTo>
                      <a:lnTo>
                        <a:pt x="1214437" y="28574"/>
                      </a:lnTo>
                      <a:lnTo>
                        <a:pt x="11903" y="233361"/>
                      </a:lnTo>
                      <a:lnTo>
                        <a:pt x="0" y="1833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68570" tIns="34285" rIns="34285" bIns="68570" anchor="b"/>
                <a:lstStyle/>
                <a:p>
                  <a:pPr algn="ctr" defTabSz="698500" eaLnBrk="1" hangingPunct="1">
                    <a:defRPr/>
                  </a:pPr>
                  <a:endParaRPr lang="en-US" b="1" spc="-39" dirty="0" err="1">
                    <a:solidFill>
                      <a:prstClr val="black"/>
                    </a:solidFill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28709" name="Rectangle 83"/>
              <p:cNvSpPr>
                <a:spLocks noChangeArrowheads="1"/>
              </p:cNvSpPr>
              <p:nvPr/>
            </p:nvSpPr>
            <p:spPr bwMode="auto">
              <a:xfrm>
                <a:off x="5431725" y="3685228"/>
                <a:ext cx="1367607" cy="34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948" tIns="34975" rIns="69948" bIns="34975">
                <a:spAutoFit/>
              </a:bodyPr>
              <a:lstStyle>
                <a:lvl1pPr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>
                    <a:solidFill>
                      <a:srgbClr val="000000"/>
                    </a:solidFill>
                    <a:cs typeface="Segoe UI" panose="020B0502040204020203" pitchFamily="34" charset="0"/>
                  </a:rPr>
                  <a:t>35%</a:t>
                </a:r>
                <a:endParaRPr lang="en-US" altLang="zh-CN" sz="1600" b="1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28710" name="Rectangle 84"/>
              <p:cNvSpPr>
                <a:spLocks noChangeArrowheads="1"/>
              </p:cNvSpPr>
              <p:nvPr/>
            </p:nvSpPr>
            <p:spPr bwMode="auto">
              <a:xfrm>
                <a:off x="4688742" y="3667643"/>
                <a:ext cx="1167472" cy="34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948" tIns="34975" rIns="69948" bIns="34975">
                <a:spAutoFit/>
              </a:bodyPr>
              <a:lstStyle>
                <a:lvl1pPr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>
                    <a:solidFill>
                      <a:srgbClr val="000000"/>
                    </a:solidFill>
                    <a:cs typeface="Segoe UI" panose="020B0502040204020203" pitchFamily="34" charset="0"/>
                  </a:rPr>
                  <a:t>30%</a:t>
                </a:r>
                <a:endParaRPr lang="en-US" altLang="zh-CN" sz="1600" b="1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28711" name="Rectangle 85"/>
              <p:cNvSpPr>
                <a:spLocks noChangeArrowheads="1"/>
              </p:cNvSpPr>
              <p:nvPr/>
            </p:nvSpPr>
            <p:spPr bwMode="auto">
              <a:xfrm>
                <a:off x="5113621" y="3264824"/>
                <a:ext cx="1315630" cy="34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948" tIns="34975" rIns="69948" bIns="34975">
                <a:spAutoFit/>
              </a:bodyPr>
              <a:lstStyle>
                <a:lvl1pPr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6985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985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ctr" eaLnBrk="1" hangingPunct="1">
                  <a:lnSpc>
                    <a:spcPct val="8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>
                    <a:solidFill>
                      <a:srgbClr val="000000"/>
                    </a:solidFill>
                    <a:cs typeface="Segoe UI" panose="020B0502040204020203" pitchFamily="34" charset="0"/>
                  </a:rPr>
                  <a:t>35%</a:t>
                </a:r>
                <a:endParaRPr lang="en-US" altLang="zh-CN" sz="1600" b="1">
                  <a:solidFill>
                    <a:srgbClr val="000000"/>
                  </a:solidFill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28675" name="组合 57"/>
          <p:cNvGrpSpPr/>
          <p:nvPr/>
        </p:nvGrpSpPr>
        <p:grpSpPr bwMode="auto">
          <a:xfrm>
            <a:off x="785813" y="2046288"/>
            <a:ext cx="833437" cy="1239837"/>
            <a:chOff x="785372" y="2046323"/>
            <a:chExt cx="834300" cy="1240492"/>
          </a:xfrm>
        </p:grpSpPr>
        <p:pic>
          <p:nvPicPr>
            <p:cNvPr id="28679" name="Picture 6" descr="\\MAGNUM\Projects\Microsoft\Cloud Power FY12\Design\ICONS_PNG\Professionals.png"/>
            <p:cNvPicPr>
              <a:picLocks noChangeAspect="1" noChangeArrowheads="1"/>
            </p:cNvPicPr>
            <p:nvPr/>
          </p:nvPicPr>
          <p:blipFill>
            <a:blip r:embed="rId7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372" y="2046323"/>
              <a:ext cx="834300" cy="834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" name="TextBox 50"/>
            <p:cNvSpPr txBox="1"/>
            <p:nvPr/>
          </p:nvSpPr>
          <p:spPr>
            <a:xfrm>
              <a:off x="799788" y="3031577"/>
              <a:ext cx="756715" cy="255238"/>
            </a:xfrm>
            <a:prstGeom prst="rect">
              <a:avLst/>
            </a:prstGeom>
            <a:grpFill/>
            <a:ln w="9525" algn="ctr">
              <a:noFill/>
              <a:miter lim="800000"/>
            </a:ln>
          </p:spPr>
          <p:txBody>
            <a:bodyPr lIns="84003" tIns="0" rIns="0" bIns="42001" anchor="ctr"/>
            <a:lstStyle>
              <a:defPPr>
                <a:defRPr lang="zh-CN"/>
              </a:defPPr>
              <a:lvl1pPr algn="ctr" defTabSz="838200">
                <a:defRPr sz="12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8676" name="组合 61"/>
          <p:cNvGrpSpPr/>
          <p:nvPr/>
        </p:nvGrpSpPr>
        <p:grpSpPr bwMode="auto">
          <a:xfrm>
            <a:off x="7812088" y="1914525"/>
            <a:ext cx="757237" cy="1392238"/>
            <a:chOff x="7812360" y="1914931"/>
            <a:chExt cx="756714" cy="1391742"/>
          </a:xfrm>
        </p:grpSpPr>
        <p:pic>
          <p:nvPicPr>
            <p:cNvPr id="28677" name="Picture 6" descr="\\MAGNUM\Projects\Microsoft\Cloud Power FY12\Design\ICONS_PNG\Flexible_Workspace.png"/>
            <p:cNvPicPr>
              <a:picLocks noChangeAspect="1" noChangeArrowheads="1"/>
            </p:cNvPicPr>
            <p:nvPr/>
          </p:nvPicPr>
          <p:blipFill>
            <a:blip r:embed="rId8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635"/>
            <a:stretch>
              <a:fillRect/>
            </a:stretch>
          </p:blipFill>
          <p:spPr bwMode="auto">
            <a:xfrm>
              <a:off x="7991247" y="1914931"/>
              <a:ext cx="398940" cy="1097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" name="TextBox 52"/>
            <p:cNvSpPr txBox="1"/>
            <p:nvPr/>
          </p:nvSpPr>
          <p:spPr>
            <a:xfrm>
              <a:off x="7812360" y="3051435"/>
              <a:ext cx="756714" cy="255238"/>
            </a:xfrm>
            <a:prstGeom prst="rect">
              <a:avLst/>
            </a:prstGeom>
            <a:grpFill/>
            <a:ln w="9525" algn="ctr">
              <a:noFill/>
              <a:miter lim="800000"/>
            </a:ln>
          </p:spPr>
          <p:txBody>
            <a:bodyPr lIns="84003" tIns="0" rIns="0" bIns="42001" anchor="ctr"/>
            <a:lstStyle>
              <a:defPPr>
                <a:defRPr lang="zh-CN"/>
              </a:defPPr>
              <a:lvl1pPr algn="ctr" defTabSz="838200">
                <a:defRPr sz="12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817563"/>
            <a:ext cx="5622925" cy="244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7"/>
          <p:cNvSpPr>
            <a:spLocks noChangeAspect="1"/>
          </p:cNvSpPr>
          <p:nvPr/>
        </p:nvSpPr>
        <p:spPr bwMode="auto">
          <a:xfrm>
            <a:off x="6208713" y="3259138"/>
            <a:ext cx="2441575" cy="374650"/>
          </a:xfrm>
          <a:prstGeom prst="rect">
            <a:avLst/>
          </a:prstGeom>
          <a:solidFill>
            <a:srgbClr val="32879E">
              <a:alpha val="7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18"/>
          <p:cNvSpPr>
            <a:spLocks noChangeAspect="1"/>
          </p:cNvSpPr>
          <p:nvPr/>
        </p:nvSpPr>
        <p:spPr bwMode="auto">
          <a:xfrm>
            <a:off x="6208713" y="3633788"/>
            <a:ext cx="2441575" cy="366712"/>
          </a:xfrm>
          <a:prstGeom prst="rect">
            <a:avLst/>
          </a:prstGeom>
          <a:solidFill>
            <a:srgbClr val="40BDB6">
              <a:alpha val="69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19"/>
          <p:cNvSpPr>
            <a:spLocks noChangeAspect="1"/>
          </p:cNvSpPr>
          <p:nvPr/>
        </p:nvSpPr>
        <p:spPr bwMode="auto">
          <a:xfrm>
            <a:off x="6208713" y="4000500"/>
            <a:ext cx="2441575" cy="366713"/>
          </a:xfrm>
          <a:prstGeom prst="rect">
            <a:avLst/>
          </a:prstGeom>
          <a:solidFill>
            <a:srgbClr val="40BDB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702" name="组合 5"/>
          <p:cNvGrpSpPr/>
          <p:nvPr/>
        </p:nvGrpSpPr>
        <p:grpSpPr bwMode="auto">
          <a:xfrm>
            <a:off x="6208713" y="817563"/>
            <a:ext cx="2433637" cy="2441575"/>
            <a:chOff x="6233849" y="1203598"/>
            <a:chExt cx="2434617" cy="2440697"/>
          </a:xfrm>
        </p:grpSpPr>
        <p:sp>
          <p:nvSpPr>
            <p:cNvPr id="7" name="Rectangle 20"/>
            <p:cNvSpPr>
              <a:spLocks noChangeAspect="1"/>
            </p:cNvSpPr>
            <p:nvPr/>
          </p:nvSpPr>
          <p:spPr bwMode="auto">
            <a:xfrm>
              <a:off x="6233849" y="1203598"/>
              <a:ext cx="2434617" cy="244069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 err="1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60" name="Freeform 55"/>
            <p:cNvSpPr>
              <a:spLocks noEditPoints="1"/>
            </p:cNvSpPr>
            <p:nvPr/>
          </p:nvSpPr>
          <p:spPr bwMode="auto">
            <a:xfrm>
              <a:off x="6735922" y="1439364"/>
              <a:ext cx="1462405" cy="1949088"/>
            </a:xfrm>
            <a:custGeom>
              <a:avLst/>
              <a:gdLst>
                <a:gd name="T0" fmla="*/ 2147483646 w 66"/>
                <a:gd name="T1" fmla="*/ 2147483646 h 88"/>
                <a:gd name="T2" fmla="*/ 2147483646 w 66"/>
                <a:gd name="T3" fmla="*/ 2147483646 h 88"/>
                <a:gd name="T4" fmla="*/ 2147483646 w 66"/>
                <a:gd name="T5" fmla="*/ 2147483646 h 88"/>
                <a:gd name="T6" fmla="*/ 2147483646 w 66"/>
                <a:gd name="T7" fmla="*/ 2147483646 h 88"/>
                <a:gd name="T8" fmla="*/ 2147483646 w 66"/>
                <a:gd name="T9" fmla="*/ 2147483646 h 88"/>
                <a:gd name="T10" fmla="*/ 2147483646 w 66"/>
                <a:gd name="T11" fmla="*/ 2147483646 h 88"/>
                <a:gd name="T12" fmla="*/ 2147483646 w 66"/>
                <a:gd name="T13" fmla="*/ 2147483646 h 88"/>
                <a:gd name="T14" fmla="*/ 2147483646 w 66"/>
                <a:gd name="T15" fmla="*/ 2147483646 h 88"/>
                <a:gd name="T16" fmla="*/ 2147483646 w 66"/>
                <a:gd name="T17" fmla="*/ 2147483646 h 88"/>
                <a:gd name="T18" fmla="*/ 2147483646 w 66"/>
                <a:gd name="T19" fmla="*/ 2147483646 h 88"/>
                <a:gd name="T20" fmla="*/ 2147483646 w 66"/>
                <a:gd name="T21" fmla="*/ 2147483646 h 88"/>
                <a:gd name="T22" fmla="*/ 2147483646 w 66"/>
                <a:gd name="T23" fmla="*/ 2147483646 h 88"/>
                <a:gd name="T24" fmla="*/ 2147483646 w 66"/>
                <a:gd name="T25" fmla="*/ 2147483646 h 88"/>
                <a:gd name="T26" fmla="*/ 2147483646 w 66"/>
                <a:gd name="T27" fmla="*/ 2147483646 h 88"/>
                <a:gd name="T28" fmla="*/ 2147483646 w 66"/>
                <a:gd name="T29" fmla="*/ 2147483646 h 88"/>
                <a:gd name="T30" fmla="*/ 2147483646 w 66"/>
                <a:gd name="T31" fmla="*/ 2147483646 h 88"/>
                <a:gd name="T32" fmla="*/ 2147483646 w 66"/>
                <a:gd name="T33" fmla="*/ 2147483646 h 88"/>
                <a:gd name="T34" fmla="*/ 2147483646 w 66"/>
                <a:gd name="T35" fmla="*/ 2147483646 h 88"/>
                <a:gd name="T36" fmla="*/ 2147483646 w 66"/>
                <a:gd name="T37" fmla="*/ 2147483646 h 88"/>
                <a:gd name="T38" fmla="*/ 2147483646 w 66"/>
                <a:gd name="T39" fmla="*/ 2147483646 h 88"/>
                <a:gd name="T40" fmla="*/ 2147483646 w 66"/>
                <a:gd name="T41" fmla="*/ 2147483646 h 88"/>
                <a:gd name="T42" fmla="*/ 2147483646 w 66"/>
                <a:gd name="T43" fmla="*/ 2147483646 h 88"/>
                <a:gd name="T44" fmla="*/ 2147483646 w 66"/>
                <a:gd name="T45" fmla="*/ 2147483646 h 88"/>
                <a:gd name="T46" fmla="*/ 2147483646 w 66"/>
                <a:gd name="T47" fmla="*/ 2147483646 h 88"/>
                <a:gd name="T48" fmla="*/ 2147483646 w 66"/>
                <a:gd name="T49" fmla="*/ 2147483646 h 88"/>
                <a:gd name="T50" fmla="*/ 2147483646 w 66"/>
                <a:gd name="T51" fmla="*/ 2147483646 h 88"/>
                <a:gd name="T52" fmla="*/ 2147483646 w 66"/>
                <a:gd name="T53" fmla="*/ 2147483646 h 88"/>
                <a:gd name="T54" fmla="*/ 0 w 66"/>
                <a:gd name="T55" fmla="*/ 2147483646 h 88"/>
                <a:gd name="T56" fmla="*/ 2147483646 w 66"/>
                <a:gd name="T57" fmla="*/ 2147483646 h 88"/>
                <a:gd name="T58" fmla="*/ 2147483646 w 66"/>
                <a:gd name="T59" fmla="*/ 2147483646 h 88"/>
                <a:gd name="T60" fmla="*/ 2147483646 w 66"/>
                <a:gd name="T61" fmla="*/ 2147483646 h 88"/>
                <a:gd name="T62" fmla="*/ 2147483646 w 66"/>
                <a:gd name="T63" fmla="*/ 2147483646 h 88"/>
                <a:gd name="T64" fmla="*/ 2147483646 w 66"/>
                <a:gd name="T65" fmla="*/ 2147483646 h 88"/>
                <a:gd name="T66" fmla="*/ 2147483646 w 66"/>
                <a:gd name="T67" fmla="*/ 2147483646 h 88"/>
                <a:gd name="T68" fmla="*/ 2147483646 w 66"/>
                <a:gd name="T69" fmla="*/ 2147483646 h 88"/>
                <a:gd name="T70" fmla="*/ 2147483646 w 66"/>
                <a:gd name="T71" fmla="*/ 2147483646 h 88"/>
                <a:gd name="T72" fmla="*/ 2147483646 w 66"/>
                <a:gd name="T73" fmla="*/ 2147483646 h 88"/>
                <a:gd name="T74" fmla="*/ 2147483646 w 66"/>
                <a:gd name="T75" fmla="*/ 2147483646 h 88"/>
                <a:gd name="T76" fmla="*/ 2147483646 w 66"/>
                <a:gd name="T77" fmla="*/ 2147483646 h 88"/>
                <a:gd name="T78" fmla="*/ 2147483646 w 66"/>
                <a:gd name="T79" fmla="*/ 2147483646 h 88"/>
                <a:gd name="T80" fmla="*/ 2147483646 w 66"/>
                <a:gd name="T81" fmla="*/ 2147483646 h 88"/>
                <a:gd name="T82" fmla="*/ 2147483646 w 66"/>
                <a:gd name="T83" fmla="*/ 0 h 88"/>
                <a:gd name="T84" fmla="*/ 2147483646 w 66"/>
                <a:gd name="T85" fmla="*/ 2147483646 h 88"/>
                <a:gd name="T86" fmla="*/ 2147483646 w 66"/>
                <a:gd name="T87" fmla="*/ 0 h 88"/>
                <a:gd name="T88" fmla="*/ 2147483646 w 66"/>
                <a:gd name="T89" fmla="*/ 2147483646 h 88"/>
                <a:gd name="T90" fmla="*/ 2147483646 w 66"/>
                <a:gd name="T91" fmla="*/ 2147483646 h 88"/>
                <a:gd name="T92" fmla="*/ 2147483646 w 66"/>
                <a:gd name="T93" fmla="*/ 2147483646 h 88"/>
                <a:gd name="T94" fmla="*/ 2147483646 w 66"/>
                <a:gd name="T95" fmla="*/ 2147483646 h 88"/>
                <a:gd name="T96" fmla="*/ 2147483646 w 66"/>
                <a:gd name="T97" fmla="*/ 2147483646 h 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6" h="88">
                  <a:moveTo>
                    <a:pt x="53" y="66"/>
                  </a:moveTo>
                  <a:cubicBezTo>
                    <a:pt x="51" y="66"/>
                    <a:pt x="48" y="64"/>
                    <a:pt x="48" y="6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5" y="17"/>
                    <a:pt x="45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3" y="18"/>
                    <a:pt x="63" y="1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2" y="23"/>
                    <a:pt x="62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4"/>
                    <a:pt x="56" y="66"/>
                    <a:pt x="53" y="66"/>
                  </a:cubicBezTo>
                  <a:moveTo>
                    <a:pt x="62" y="14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3" y="14"/>
                    <a:pt x="40" y="16"/>
                    <a:pt x="40" y="18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5"/>
                    <a:pt x="42" y="27"/>
                    <a:pt x="44" y="27"/>
                  </a:cubicBezTo>
                  <a:cubicBezTo>
                    <a:pt x="44" y="30"/>
                    <a:pt x="44" y="61"/>
                    <a:pt x="44" y="61"/>
                  </a:cubicBezTo>
                  <a:cubicBezTo>
                    <a:pt x="44" y="66"/>
                    <a:pt x="48" y="70"/>
                    <a:pt x="53" y="70"/>
                  </a:cubicBezTo>
                  <a:cubicBezTo>
                    <a:pt x="58" y="70"/>
                    <a:pt x="62" y="66"/>
                    <a:pt x="62" y="61"/>
                  </a:cubicBezTo>
                  <a:cubicBezTo>
                    <a:pt x="62" y="61"/>
                    <a:pt x="62" y="30"/>
                    <a:pt x="62" y="27"/>
                  </a:cubicBezTo>
                  <a:cubicBezTo>
                    <a:pt x="65" y="27"/>
                    <a:pt x="66" y="25"/>
                    <a:pt x="66" y="22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6"/>
                    <a:pt x="64" y="14"/>
                    <a:pt x="62" y="14"/>
                  </a:cubicBezTo>
                  <a:moveTo>
                    <a:pt x="5" y="84"/>
                  </a:moveTo>
                  <a:cubicBezTo>
                    <a:pt x="5" y="84"/>
                    <a:pt x="4" y="84"/>
                    <a:pt x="4" y="83"/>
                  </a:cubicBezTo>
                  <a:cubicBezTo>
                    <a:pt x="3" y="83"/>
                    <a:pt x="3" y="82"/>
                    <a:pt x="4" y="80"/>
                  </a:cubicBezTo>
                  <a:cubicBezTo>
                    <a:pt x="5" y="79"/>
                    <a:pt x="18" y="61"/>
                    <a:pt x="19" y="59"/>
                  </a:cubicBezTo>
                  <a:cubicBezTo>
                    <a:pt x="20" y="57"/>
                    <a:pt x="21" y="55"/>
                    <a:pt x="21" y="52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0"/>
                    <a:pt x="18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4" y="31"/>
                    <a:pt x="34" y="31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5"/>
                    <a:pt x="34" y="36"/>
                    <a:pt x="34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5"/>
                    <a:pt x="32" y="57"/>
                    <a:pt x="33" y="59"/>
                  </a:cubicBezTo>
                  <a:cubicBezTo>
                    <a:pt x="34" y="61"/>
                    <a:pt x="47" y="79"/>
                    <a:pt x="47" y="80"/>
                  </a:cubicBezTo>
                  <a:cubicBezTo>
                    <a:pt x="49" y="82"/>
                    <a:pt x="49" y="83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5" y="84"/>
                    <a:pt x="5" y="84"/>
                    <a:pt x="5" y="84"/>
                  </a:cubicBezTo>
                  <a:moveTo>
                    <a:pt x="34" y="26"/>
                  </a:moveTo>
                  <a:cubicBezTo>
                    <a:pt x="18" y="26"/>
                    <a:pt x="18" y="26"/>
                    <a:pt x="18" y="26"/>
                  </a:cubicBezTo>
                  <a:cubicBezTo>
                    <a:pt x="16" y="26"/>
                    <a:pt x="14" y="28"/>
                    <a:pt x="14" y="31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7"/>
                    <a:pt x="16" y="39"/>
                    <a:pt x="18" y="40"/>
                  </a:cubicBezTo>
                  <a:cubicBezTo>
                    <a:pt x="18" y="42"/>
                    <a:pt x="18" y="52"/>
                    <a:pt x="18" y="52"/>
                  </a:cubicBezTo>
                  <a:cubicBezTo>
                    <a:pt x="18" y="53"/>
                    <a:pt x="17" y="55"/>
                    <a:pt x="16" y="57"/>
                  </a:cubicBezTo>
                  <a:cubicBezTo>
                    <a:pt x="15" y="58"/>
                    <a:pt x="2" y="78"/>
                    <a:pt x="2" y="78"/>
                  </a:cubicBezTo>
                  <a:cubicBezTo>
                    <a:pt x="1" y="80"/>
                    <a:pt x="0" y="81"/>
                    <a:pt x="0" y="83"/>
                  </a:cubicBezTo>
                  <a:cubicBezTo>
                    <a:pt x="0" y="84"/>
                    <a:pt x="0" y="84"/>
                    <a:pt x="1" y="85"/>
                  </a:cubicBezTo>
                  <a:cubicBezTo>
                    <a:pt x="1" y="87"/>
                    <a:pt x="3" y="88"/>
                    <a:pt x="5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9" y="88"/>
                    <a:pt x="51" y="87"/>
                    <a:pt x="51" y="85"/>
                  </a:cubicBezTo>
                  <a:cubicBezTo>
                    <a:pt x="52" y="84"/>
                    <a:pt x="52" y="84"/>
                    <a:pt x="52" y="83"/>
                  </a:cubicBezTo>
                  <a:cubicBezTo>
                    <a:pt x="52" y="81"/>
                    <a:pt x="51" y="80"/>
                    <a:pt x="50" y="78"/>
                  </a:cubicBezTo>
                  <a:cubicBezTo>
                    <a:pt x="50" y="78"/>
                    <a:pt x="37" y="58"/>
                    <a:pt x="36" y="57"/>
                  </a:cubicBezTo>
                  <a:cubicBezTo>
                    <a:pt x="35" y="55"/>
                    <a:pt x="34" y="53"/>
                    <a:pt x="34" y="52"/>
                  </a:cubicBezTo>
                  <a:cubicBezTo>
                    <a:pt x="34" y="52"/>
                    <a:pt x="34" y="42"/>
                    <a:pt x="34" y="40"/>
                  </a:cubicBezTo>
                  <a:cubicBezTo>
                    <a:pt x="36" y="39"/>
                    <a:pt x="38" y="37"/>
                    <a:pt x="38" y="35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28"/>
                    <a:pt x="36" y="26"/>
                    <a:pt x="34" y="26"/>
                  </a:cubicBezTo>
                  <a:moveTo>
                    <a:pt x="56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3"/>
                    <a:pt x="52" y="64"/>
                    <a:pt x="53" y="64"/>
                  </a:cubicBezTo>
                  <a:cubicBezTo>
                    <a:pt x="55" y="64"/>
                    <a:pt x="56" y="63"/>
                    <a:pt x="56" y="61"/>
                  </a:cubicBezTo>
                  <a:cubicBezTo>
                    <a:pt x="56" y="35"/>
                    <a:pt x="56" y="35"/>
                    <a:pt x="56" y="35"/>
                  </a:cubicBezTo>
                  <a:moveTo>
                    <a:pt x="32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1"/>
                    <a:pt x="8" y="82"/>
                    <a:pt x="10" y="82"/>
                  </a:cubicBezTo>
                  <a:cubicBezTo>
                    <a:pt x="11" y="82"/>
                    <a:pt x="26" y="82"/>
                    <a:pt x="26" y="82"/>
                  </a:cubicBezTo>
                  <a:cubicBezTo>
                    <a:pt x="26" y="82"/>
                    <a:pt x="41" y="82"/>
                    <a:pt x="42" y="82"/>
                  </a:cubicBezTo>
                  <a:cubicBezTo>
                    <a:pt x="44" y="82"/>
                    <a:pt x="44" y="81"/>
                    <a:pt x="44" y="80"/>
                  </a:cubicBezTo>
                  <a:cubicBezTo>
                    <a:pt x="32" y="62"/>
                    <a:pt x="32" y="62"/>
                    <a:pt x="32" y="62"/>
                  </a:cubicBezTo>
                  <a:moveTo>
                    <a:pt x="20" y="0"/>
                  </a:moveTo>
                  <a:cubicBezTo>
                    <a:pt x="18" y="0"/>
                    <a:pt x="17" y="2"/>
                    <a:pt x="17" y="3"/>
                  </a:cubicBezTo>
                  <a:cubicBezTo>
                    <a:pt x="17" y="5"/>
                    <a:pt x="18" y="6"/>
                    <a:pt x="20" y="6"/>
                  </a:cubicBezTo>
                  <a:cubicBezTo>
                    <a:pt x="21" y="6"/>
                    <a:pt x="23" y="5"/>
                    <a:pt x="23" y="3"/>
                  </a:cubicBezTo>
                  <a:cubicBezTo>
                    <a:pt x="23" y="2"/>
                    <a:pt x="21" y="0"/>
                    <a:pt x="20" y="0"/>
                  </a:cubicBezTo>
                  <a:moveTo>
                    <a:pt x="31" y="3"/>
                  </a:moveTo>
                  <a:cubicBezTo>
                    <a:pt x="28" y="3"/>
                    <a:pt x="25" y="5"/>
                    <a:pt x="25" y="8"/>
                  </a:cubicBezTo>
                  <a:cubicBezTo>
                    <a:pt x="25" y="11"/>
                    <a:pt x="28" y="13"/>
                    <a:pt x="31" y="13"/>
                  </a:cubicBezTo>
                  <a:cubicBezTo>
                    <a:pt x="34" y="13"/>
                    <a:pt x="36" y="11"/>
                    <a:pt x="36" y="8"/>
                  </a:cubicBezTo>
                  <a:cubicBezTo>
                    <a:pt x="36" y="5"/>
                    <a:pt x="34" y="3"/>
                    <a:pt x="31" y="3"/>
                  </a:cubicBezTo>
                  <a:moveTo>
                    <a:pt x="25" y="16"/>
                  </a:moveTo>
                  <a:cubicBezTo>
                    <a:pt x="23" y="16"/>
                    <a:pt x="22" y="18"/>
                    <a:pt x="22" y="20"/>
                  </a:cubicBezTo>
                  <a:cubicBezTo>
                    <a:pt x="22" y="22"/>
                    <a:pt x="23" y="24"/>
                    <a:pt x="25" y="24"/>
                  </a:cubicBezTo>
                  <a:cubicBezTo>
                    <a:pt x="27" y="24"/>
                    <a:pt x="29" y="22"/>
                    <a:pt x="29" y="20"/>
                  </a:cubicBezTo>
                  <a:cubicBezTo>
                    <a:pt x="29" y="18"/>
                    <a:pt x="27" y="16"/>
                    <a:pt x="25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3243" tIns="46620" rIns="93243" bIns="46620"/>
            <a:lstStyle/>
            <a:p>
              <a:endParaRPr lang="zh-CN" altLang="en-US"/>
            </a:p>
          </p:txBody>
        </p:sp>
      </p:grpSp>
      <p:grpSp>
        <p:nvGrpSpPr>
          <p:cNvPr id="29703" name="组合 8"/>
          <p:cNvGrpSpPr/>
          <p:nvPr/>
        </p:nvGrpSpPr>
        <p:grpSpPr bwMode="auto">
          <a:xfrm>
            <a:off x="585788" y="3267075"/>
            <a:ext cx="5622925" cy="366713"/>
            <a:chOff x="611566" y="3652329"/>
            <a:chExt cx="5622289" cy="366699"/>
          </a:xfrm>
        </p:grpSpPr>
        <p:sp>
          <p:nvSpPr>
            <p:cNvPr id="10" name="Freeform 14"/>
            <p:cNvSpPr/>
            <p:nvPr/>
          </p:nvSpPr>
          <p:spPr>
            <a:xfrm>
              <a:off x="611566" y="3652329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29742" name="矩形 10"/>
            <p:cNvSpPr>
              <a:spLocks noChangeArrowheads="1"/>
            </p:cNvSpPr>
            <p:nvPr/>
          </p:nvSpPr>
          <p:spPr bwMode="auto">
            <a:xfrm>
              <a:off x="1822691" y="3666615"/>
              <a:ext cx="3109561" cy="338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43" name="组合 47"/>
            <p:cNvGrpSpPr/>
            <p:nvPr/>
          </p:nvGrpSpPr>
          <p:grpSpPr bwMode="auto">
            <a:xfrm>
              <a:off x="790933" y="3682490"/>
              <a:ext cx="306353" cy="306377"/>
              <a:chOff x="728537" y="-1927417"/>
              <a:chExt cx="961464" cy="961540"/>
            </a:xfrm>
          </p:grpSpPr>
          <p:sp>
            <p:nvSpPr>
              <p:cNvPr id="24" name="Oval 60"/>
              <p:cNvSpPr>
                <a:spLocks noChangeArrowheads="1"/>
              </p:cNvSpPr>
              <p:nvPr/>
            </p:nvSpPr>
            <p:spPr bwMode="auto">
              <a:xfrm>
                <a:off x="728537" y="-1927414"/>
                <a:ext cx="961464" cy="961534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56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9744" name="组合 65"/>
            <p:cNvGrpSpPr/>
            <p:nvPr/>
          </p:nvGrpSpPr>
          <p:grpSpPr bwMode="auto">
            <a:xfrm>
              <a:off x="1547293" y="3728242"/>
              <a:ext cx="216395" cy="214968"/>
              <a:chOff x="7129657" y="-1531645"/>
              <a:chExt cx="564454" cy="560734"/>
            </a:xfrm>
          </p:grpSpPr>
          <p:sp>
            <p:nvSpPr>
              <p:cNvPr id="14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748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49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0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1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52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Freeform 128"/>
              <p:cNvSpPr/>
              <p:nvPr/>
            </p:nvSpPr>
            <p:spPr bwMode="auto">
              <a:xfrm>
                <a:off x="7318041" y="-1249332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754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9704" name="组合 28"/>
          <p:cNvGrpSpPr/>
          <p:nvPr/>
        </p:nvGrpSpPr>
        <p:grpSpPr bwMode="auto">
          <a:xfrm>
            <a:off x="585788" y="3633788"/>
            <a:ext cx="5622925" cy="366712"/>
            <a:chOff x="611560" y="4019023"/>
            <a:chExt cx="5622289" cy="366699"/>
          </a:xfrm>
        </p:grpSpPr>
        <p:sp>
          <p:nvSpPr>
            <p:cNvPr id="30" name="Freeform 15"/>
            <p:cNvSpPr/>
            <p:nvPr/>
          </p:nvSpPr>
          <p:spPr>
            <a:xfrm>
              <a:off x="611560" y="4019023"/>
              <a:ext cx="5622289" cy="366699"/>
            </a:xfrm>
            <a:custGeom>
              <a:avLst/>
              <a:gdLst>
                <a:gd name="connsiteX0" fmla="*/ 0 w 7382862"/>
                <a:gd name="connsiteY0" fmla="*/ 0 h 435045"/>
                <a:gd name="connsiteX1" fmla="*/ 7382862 w 7382862"/>
                <a:gd name="connsiteY1" fmla="*/ 0 h 435045"/>
                <a:gd name="connsiteX2" fmla="*/ 7382862 w 7382862"/>
                <a:gd name="connsiteY2" fmla="*/ 435045 h 435045"/>
                <a:gd name="connsiteX3" fmla="*/ 0 w 7382862"/>
                <a:gd name="connsiteY3" fmla="*/ 435045 h 435045"/>
                <a:gd name="connsiteX4" fmla="*/ 0 w 7382862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82862" h="435045">
                  <a:moveTo>
                    <a:pt x="0" y="0"/>
                  </a:moveTo>
                  <a:lnTo>
                    <a:pt x="7382862" y="0"/>
                  </a:lnTo>
                  <a:lnTo>
                    <a:pt x="7382862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724" name="矩形 30"/>
            <p:cNvSpPr>
              <a:spLocks noChangeArrowheads="1"/>
            </p:cNvSpPr>
            <p:nvPr/>
          </p:nvSpPr>
          <p:spPr bwMode="auto">
            <a:xfrm>
              <a:off x="1822685" y="4034897"/>
              <a:ext cx="3109561" cy="339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25" name="组合 53"/>
            <p:cNvGrpSpPr/>
            <p:nvPr/>
          </p:nvGrpSpPr>
          <p:grpSpPr bwMode="auto">
            <a:xfrm>
              <a:off x="790927" y="4052360"/>
              <a:ext cx="306353" cy="304788"/>
              <a:chOff x="-1790845" y="-1924166"/>
              <a:chExt cx="961464" cy="956553"/>
            </a:xfrm>
          </p:grpSpPr>
          <p:sp>
            <p:nvSpPr>
              <p:cNvPr id="44" name="Oval 65"/>
              <p:cNvSpPr>
                <a:spLocks noChangeArrowheads="1"/>
              </p:cNvSpPr>
              <p:nvPr/>
            </p:nvSpPr>
            <p:spPr bwMode="auto">
              <a:xfrm>
                <a:off x="-1790845" y="-1924169"/>
                <a:ext cx="961464" cy="956556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38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9726" name="组合 76"/>
            <p:cNvGrpSpPr/>
            <p:nvPr/>
          </p:nvGrpSpPr>
          <p:grpSpPr bwMode="auto">
            <a:xfrm>
              <a:off x="1547293" y="4097076"/>
              <a:ext cx="216395" cy="214968"/>
              <a:chOff x="7129657" y="-1531645"/>
              <a:chExt cx="564454" cy="560734"/>
            </a:xfrm>
          </p:grpSpPr>
          <p:sp>
            <p:nvSpPr>
              <p:cNvPr id="34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730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31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32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33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34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2" name="Freeform 128"/>
              <p:cNvSpPr/>
              <p:nvPr/>
            </p:nvSpPr>
            <p:spPr bwMode="auto">
              <a:xfrm>
                <a:off x="7318026" y="-1246633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736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29705" name="组合 47"/>
          <p:cNvGrpSpPr/>
          <p:nvPr/>
        </p:nvGrpSpPr>
        <p:grpSpPr bwMode="auto">
          <a:xfrm>
            <a:off x="585788" y="4000500"/>
            <a:ext cx="5622925" cy="366713"/>
            <a:chOff x="611560" y="4385722"/>
            <a:chExt cx="5622289" cy="366699"/>
          </a:xfrm>
        </p:grpSpPr>
        <p:sp>
          <p:nvSpPr>
            <p:cNvPr id="49" name="Freeform 16"/>
            <p:cNvSpPr/>
            <p:nvPr/>
          </p:nvSpPr>
          <p:spPr>
            <a:xfrm>
              <a:off x="611560" y="4385722"/>
              <a:ext cx="5622289" cy="366699"/>
            </a:xfrm>
            <a:custGeom>
              <a:avLst/>
              <a:gdLst>
                <a:gd name="connsiteX0" fmla="*/ 0 w 7541001"/>
                <a:gd name="connsiteY0" fmla="*/ 0 h 435045"/>
                <a:gd name="connsiteX1" fmla="*/ 7541001 w 7541001"/>
                <a:gd name="connsiteY1" fmla="*/ 0 h 435045"/>
                <a:gd name="connsiteX2" fmla="*/ 7541001 w 7541001"/>
                <a:gd name="connsiteY2" fmla="*/ 435045 h 435045"/>
                <a:gd name="connsiteX3" fmla="*/ 0 w 7541001"/>
                <a:gd name="connsiteY3" fmla="*/ 435045 h 435045"/>
                <a:gd name="connsiteX4" fmla="*/ 0 w 7541001"/>
                <a:gd name="connsiteY4" fmla="*/ 0 h 4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41001" h="435045">
                  <a:moveTo>
                    <a:pt x="0" y="0"/>
                  </a:moveTo>
                  <a:lnTo>
                    <a:pt x="7541001" y="0"/>
                  </a:lnTo>
                  <a:lnTo>
                    <a:pt x="7541001" y="435045"/>
                  </a:lnTo>
                  <a:lnTo>
                    <a:pt x="0" y="435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287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707" name="矩形 49"/>
            <p:cNvSpPr>
              <a:spLocks noChangeArrowheads="1"/>
            </p:cNvSpPr>
            <p:nvPr/>
          </p:nvSpPr>
          <p:spPr bwMode="auto">
            <a:xfrm>
              <a:off x="1822685" y="4404771"/>
              <a:ext cx="3109561" cy="338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第一家精品</a:t>
              </a: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708" name="组合 58"/>
            <p:cNvGrpSpPr/>
            <p:nvPr/>
          </p:nvGrpSpPr>
          <p:grpSpPr bwMode="auto">
            <a:xfrm>
              <a:off x="791631" y="4419282"/>
              <a:ext cx="308557" cy="308557"/>
              <a:chOff x="-2120900" y="2405063"/>
              <a:chExt cx="968375" cy="968375"/>
            </a:xfrm>
          </p:grpSpPr>
          <p:sp>
            <p:nvSpPr>
              <p:cNvPr id="29720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4" name="Oval 73"/>
              <p:cNvSpPr>
                <a:spLocks noChangeArrowheads="1"/>
              </p:cNvSpPr>
              <p:nvPr/>
            </p:nvSpPr>
            <p:spPr bwMode="auto">
              <a:xfrm>
                <a:off x="-2118126" y="2409344"/>
                <a:ext cx="961456" cy="961530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22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29709" name="组合 87"/>
            <p:cNvGrpSpPr/>
            <p:nvPr/>
          </p:nvGrpSpPr>
          <p:grpSpPr bwMode="auto">
            <a:xfrm>
              <a:off x="1547293" y="4465985"/>
              <a:ext cx="216395" cy="214968"/>
              <a:chOff x="7129657" y="-1531645"/>
              <a:chExt cx="564454" cy="560734"/>
            </a:xfrm>
          </p:grpSpPr>
          <p:sp>
            <p:nvSpPr>
              <p:cNvPr id="53" name="Freeform 97"/>
              <p:cNvSpPr/>
              <p:nvPr/>
            </p:nvSpPr>
            <p:spPr bwMode="auto">
              <a:xfrm>
                <a:off x="7129657" y="-1531645"/>
                <a:ext cx="560725" cy="560725"/>
              </a:xfrm>
              <a:custGeom>
                <a:avLst/>
                <a:gdLst>
                  <a:gd name="T0" fmla="*/ 0 w 687"/>
                  <a:gd name="T1" fmla="*/ 624 h 687"/>
                  <a:gd name="T2" fmla="*/ 63 w 687"/>
                  <a:gd name="T3" fmla="*/ 687 h 687"/>
                  <a:gd name="T4" fmla="*/ 625 w 687"/>
                  <a:gd name="T5" fmla="*/ 687 h 687"/>
                  <a:gd name="T6" fmla="*/ 687 w 687"/>
                  <a:gd name="T7" fmla="*/ 624 h 687"/>
                  <a:gd name="T8" fmla="*/ 687 w 687"/>
                  <a:gd name="T9" fmla="*/ 62 h 687"/>
                  <a:gd name="T10" fmla="*/ 625 w 687"/>
                  <a:gd name="T11" fmla="*/ 0 h 687"/>
                  <a:gd name="T12" fmla="*/ 63 w 687"/>
                  <a:gd name="T13" fmla="*/ 0 h 687"/>
                  <a:gd name="T14" fmla="*/ 0 w 687"/>
                  <a:gd name="T15" fmla="*/ 62 h 687"/>
                  <a:gd name="T16" fmla="*/ 0 w 687"/>
                  <a:gd name="T17" fmla="*/ 624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0" y="624"/>
                    </a:moveTo>
                    <a:cubicBezTo>
                      <a:pt x="0" y="659"/>
                      <a:pt x="28" y="687"/>
                      <a:pt x="63" y="687"/>
                    </a:cubicBezTo>
                    <a:cubicBezTo>
                      <a:pt x="625" y="687"/>
                      <a:pt x="625" y="687"/>
                      <a:pt x="625" y="687"/>
                    </a:cubicBezTo>
                    <a:cubicBezTo>
                      <a:pt x="659" y="687"/>
                      <a:pt x="687" y="659"/>
                      <a:pt x="687" y="624"/>
                    </a:cubicBezTo>
                    <a:cubicBezTo>
                      <a:pt x="687" y="62"/>
                      <a:pt x="687" y="62"/>
                      <a:pt x="687" y="62"/>
                    </a:cubicBezTo>
                    <a:cubicBezTo>
                      <a:pt x="687" y="28"/>
                      <a:pt x="659" y="0"/>
                      <a:pt x="62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28"/>
                      <a:pt x="0" y="62"/>
                    </a:cubicBezTo>
                    <a:lnTo>
                      <a:pt x="0" y="624"/>
                    </a:lnTo>
                    <a:close/>
                  </a:path>
                </a:pathLst>
              </a:custGeom>
              <a:noFill/>
              <a:ln w="9525">
                <a:gradFill flip="none" rotWithShape="1">
                  <a:gsLst>
                    <a:gs pos="0">
                      <a:schemeClr val="bg1">
                        <a:alpha val="20000"/>
                      </a:schemeClr>
                    </a:gs>
                    <a:gs pos="50000">
                      <a:schemeClr val="bg1"/>
                    </a:gs>
                    <a:gs pos="100000">
                      <a:schemeClr val="bg1">
                        <a:alpha val="48000"/>
                      </a:schemeClr>
                    </a:gs>
                  </a:gsLst>
                  <a:lin ang="8100000" scaled="1"/>
                  <a:tileRect/>
                </a:gradFill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713" name="AutoShape 120"/>
              <p:cNvSpPr>
                <a:spLocks noChangeAspect="1" noChangeArrowheads="1" noTextEdit="1"/>
              </p:cNvSpPr>
              <p:nvPr/>
            </p:nvSpPr>
            <p:spPr bwMode="auto">
              <a:xfrm>
                <a:off x="7236296" y="-1424010"/>
                <a:ext cx="457815" cy="453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14" name="Freeform 124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close/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15" name="Freeform 125"/>
              <p:cNvSpPr>
                <a:spLocks noEditPoints="1"/>
              </p:cNvSpPr>
              <p:nvPr/>
            </p:nvSpPr>
            <p:spPr bwMode="auto">
              <a:xfrm>
                <a:off x="7451065" y="-1201164"/>
                <a:ext cx="123879" cy="112433"/>
              </a:xfrm>
              <a:custGeom>
                <a:avLst/>
                <a:gdLst>
                  <a:gd name="T0" fmla="*/ 2147483646 w 184"/>
                  <a:gd name="T1" fmla="*/ 2147483646 h 167"/>
                  <a:gd name="T2" fmla="*/ 0 w 184"/>
                  <a:gd name="T3" fmla="*/ 2147483646 h 167"/>
                  <a:gd name="T4" fmla="*/ 2147483646 w 184"/>
                  <a:gd name="T5" fmla="*/ 2147483646 h 167"/>
                  <a:gd name="T6" fmla="*/ 2147483646 w 184"/>
                  <a:gd name="T7" fmla="*/ 2147483646 h 167"/>
                  <a:gd name="T8" fmla="*/ 2147483646 w 184"/>
                  <a:gd name="T9" fmla="*/ 2147483646 h 167"/>
                  <a:gd name="T10" fmla="*/ 2147483646 w 184"/>
                  <a:gd name="T11" fmla="*/ 0 h 167"/>
                  <a:gd name="T12" fmla="*/ 2147483646 w 184"/>
                  <a:gd name="T13" fmla="*/ 2147483646 h 167"/>
                  <a:gd name="T14" fmla="*/ 2147483646 w 184"/>
                  <a:gd name="T15" fmla="*/ 2147483646 h 167"/>
                  <a:gd name="T16" fmla="*/ 2147483646 w 184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4" h="167">
                    <a:moveTo>
                      <a:pt x="99" y="103"/>
                    </a:moveTo>
                    <a:lnTo>
                      <a:pt x="0" y="151"/>
                    </a:lnTo>
                    <a:lnTo>
                      <a:pt x="14" y="165"/>
                    </a:lnTo>
                    <a:lnTo>
                      <a:pt x="33" y="167"/>
                    </a:lnTo>
                    <a:lnTo>
                      <a:pt x="99" y="103"/>
                    </a:lnTo>
                    <a:moveTo>
                      <a:pt x="160" y="0"/>
                    </a:moveTo>
                    <a:lnTo>
                      <a:pt x="106" y="99"/>
                    </a:lnTo>
                    <a:lnTo>
                      <a:pt x="184" y="23"/>
                    </a:lnTo>
                    <a:lnTo>
                      <a:pt x="1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16" name="Freeform 126"/>
              <p:cNvSpPr/>
              <p:nvPr/>
            </p:nvSpPr>
            <p:spPr bwMode="auto">
              <a:xfrm>
                <a:off x="7309681" y="-1341201"/>
                <a:ext cx="196591" cy="184471"/>
              </a:xfrm>
              <a:custGeom>
                <a:avLst/>
                <a:gdLst>
                  <a:gd name="T0" fmla="*/ 2147483646 w 124"/>
                  <a:gd name="T1" fmla="*/ 2147483646 h 116"/>
                  <a:gd name="T2" fmla="*/ 2147483646 w 124"/>
                  <a:gd name="T3" fmla="*/ 2147483646 h 116"/>
                  <a:gd name="T4" fmla="*/ 2147483646 w 124"/>
                  <a:gd name="T5" fmla="*/ 2147483646 h 116"/>
                  <a:gd name="T6" fmla="*/ 2147483646 w 124"/>
                  <a:gd name="T7" fmla="*/ 2147483646 h 116"/>
                  <a:gd name="T8" fmla="*/ 2147483646 w 124"/>
                  <a:gd name="T9" fmla="*/ 2147483646 h 116"/>
                  <a:gd name="T10" fmla="*/ 0 w 124"/>
                  <a:gd name="T11" fmla="*/ 2147483646 h 116"/>
                  <a:gd name="T12" fmla="*/ 2147483646 w 124"/>
                  <a:gd name="T13" fmla="*/ 2147483646 h 116"/>
                  <a:gd name="T14" fmla="*/ 2147483646 w 124"/>
                  <a:gd name="T15" fmla="*/ 2147483646 h 116"/>
                  <a:gd name="T16" fmla="*/ 2147483646 w 124"/>
                  <a:gd name="T17" fmla="*/ 2147483646 h 116"/>
                  <a:gd name="T18" fmla="*/ 2147483646 w 124"/>
                  <a:gd name="T19" fmla="*/ 2147483646 h 116"/>
                  <a:gd name="T20" fmla="*/ 2147483646 w 124"/>
                  <a:gd name="T21" fmla="*/ 2147483646 h 116"/>
                  <a:gd name="T22" fmla="*/ 2147483646 w 124"/>
                  <a:gd name="T23" fmla="*/ 2147483646 h 116"/>
                  <a:gd name="T24" fmla="*/ 2147483646 w 124"/>
                  <a:gd name="T25" fmla="*/ 2147483646 h 116"/>
                  <a:gd name="T26" fmla="*/ 2147483646 w 124"/>
                  <a:gd name="T27" fmla="*/ 2147483646 h 116"/>
                  <a:gd name="T28" fmla="*/ 2147483646 w 124"/>
                  <a:gd name="T29" fmla="*/ 2147483646 h 1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24" h="116">
                    <a:moveTo>
                      <a:pt x="73" y="4"/>
                    </a:moveTo>
                    <a:cubicBezTo>
                      <a:pt x="69" y="0"/>
                      <a:pt x="62" y="0"/>
                      <a:pt x="58" y="4"/>
                    </a:cubicBezTo>
                    <a:cubicBezTo>
                      <a:pt x="53" y="8"/>
                      <a:pt x="53" y="15"/>
                      <a:pt x="58" y="19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5" y="47"/>
                      <a:pt x="0" y="52"/>
                      <a:pt x="0" y="58"/>
                    </a:cubicBezTo>
                    <a:cubicBezTo>
                      <a:pt x="0" y="64"/>
                      <a:pt x="5" y="69"/>
                      <a:pt x="11" y="69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58" y="97"/>
                      <a:pt x="58" y="97"/>
                      <a:pt x="58" y="97"/>
                    </a:cubicBezTo>
                    <a:cubicBezTo>
                      <a:pt x="53" y="102"/>
                      <a:pt x="53" y="108"/>
                      <a:pt x="58" y="113"/>
                    </a:cubicBezTo>
                    <a:cubicBezTo>
                      <a:pt x="60" y="115"/>
                      <a:pt x="62" y="116"/>
                      <a:pt x="65" y="116"/>
                    </a:cubicBezTo>
                    <a:cubicBezTo>
                      <a:pt x="68" y="116"/>
                      <a:pt x="71" y="115"/>
                      <a:pt x="73" y="113"/>
                    </a:cubicBezTo>
                    <a:cubicBezTo>
                      <a:pt x="120" y="66"/>
                      <a:pt x="120" y="66"/>
                      <a:pt x="120" y="66"/>
                    </a:cubicBezTo>
                    <a:cubicBezTo>
                      <a:pt x="124" y="62"/>
                      <a:pt x="124" y="55"/>
                      <a:pt x="120" y="51"/>
                    </a:cubicBezTo>
                    <a:cubicBezTo>
                      <a:pt x="73" y="4"/>
                      <a:pt x="73" y="4"/>
                      <a:pt x="73" y="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9717" name="Freeform 127"/>
              <p:cNvSpPr/>
              <p:nvPr/>
            </p:nvSpPr>
            <p:spPr bwMode="auto">
              <a:xfrm>
                <a:off x="7500213" y="-1248965"/>
                <a:ext cx="4713" cy="12792"/>
              </a:xfrm>
              <a:custGeom>
                <a:avLst/>
                <a:gdLst>
                  <a:gd name="T0" fmla="*/ 2147483646 w 3"/>
                  <a:gd name="T1" fmla="*/ 0 h 8"/>
                  <a:gd name="T2" fmla="*/ 2147483646 w 3"/>
                  <a:gd name="T3" fmla="*/ 0 h 8"/>
                  <a:gd name="T4" fmla="*/ 0 w 3"/>
                  <a:gd name="T5" fmla="*/ 2147483646 h 8"/>
                  <a:gd name="T6" fmla="*/ 2147483646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2" y="6"/>
                      <a:pt x="0" y="8"/>
                    </a:cubicBezTo>
                    <a:cubicBezTo>
                      <a:pt x="2" y="6"/>
                      <a:pt x="3" y="3"/>
                      <a:pt x="3" y="0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1" name="Freeform 128"/>
              <p:cNvSpPr/>
              <p:nvPr/>
            </p:nvSpPr>
            <p:spPr bwMode="auto">
              <a:xfrm>
                <a:off x="7318026" y="-1248255"/>
                <a:ext cx="186321" cy="91097"/>
              </a:xfrm>
              <a:custGeom>
                <a:avLst/>
                <a:gdLst>
                  <a:gd name="T0" fmla="*/ 119 w 119"/>
                  <a:gd name="T1" fmla="*/ 0 h 58"/>
                  <a:gd name="T2" fmla="*/ 0 w 119"/>
                  <a:gd name="T3" fmla="*/ 0 h 58"/>
                  <a:gd name="T4" fmla="*/ 7 w 119"/>
                  <a:gd name="T5" fmla="*/ 11 h 58"/>
                  <a:gd name="T6" fmla="*/ 82 w 119"/>
                  <a:gd name="T7" fmla="*/ 11 h 58"/>
                  <a:gd name="T8" fmla="*/ 54 w 119"/>
                  <a:gd name="T9" fmla="*/ 39 h 58"/>
                  <a:gd name="T10" fmla="*/ 50 w 119"/>
                  <a:gd name="T11" fmla="*/ 47 h 58"/>
                  <a:gd name="T12" fmla="*/ 54 w 119"/>
                  <a:gd name="T13" fmla="*/ 55 h 58"/>
                  <a:gd name="T14" fmla="*/ 61 w 119"/>
                  <a:gd name="T15" fmla="*/ 58 h 58"/>
                  <a:gd name="T16" fmla="*/ 69 w 119"/>
                  <a:gd name="T17" fmla="*/ 55 h 58"/>
                  <a:gd name="T18" fmla="*/ 116 w 119"/>
                  <a:gd name="T19" fmla="*/ 8 h 58"/>
                  <a:gd name="T20" fmla="*/ 116 w 119"/>
                  <a:gd name="T21" fmla="*/ 8 h 58"/>
                  <a:gd name="T22" fmla="*/ 119 w 119"/>
                  <a:gd name="T2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9" h="58">
                    <a:moveTo>
                      <a:pt x="1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1" y="11"/>
                      <a:pt x="7" y="11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4"/>
                      <a:pt x="50" y="47"/>
                    </a:cubicBezTo>
                    <a:cubicBezTo>
                      <a:pt x="50" y="50"/>
                      <a:pt x="52" y="53"/>
                      <a:pt x="54" y="55"/>
                    </a:cubicBezTo>
                    <a:cubicBezTo>
                      <a:pt x="56" y="57"/>
                      <a:pt x="58" y="58"/>
                      <a:pt x="61" y="58"/>
                    </a:cubicBezTo>
                    <a:cubicBezTo>
                      <a:pt x="64" y="58"/>
                      <a:pt x="67" y="57"/>
                      <a:pt x="69" y="55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6" y="8"/>
                    </a:cubicBezTo>
                    <a:cubicBezTo>
                      <a:pt x="118" y="6"/>
                      <a:pt x="119" y="3"/>
                      <a:pt x="119" y="0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719" name="Freeform 129"/>
              <p:cNvSpPr>
                <a:spLocks noEditPoints="1"/>
              </p:cNvSpPr>
              <p:nvPr/>
            </p:nvSpPr>
            <p:spPr bwMode="auto">
              <a:xfrm>
                <a:off x="7236296" y="-1425357"/>
                <a:ext cx="352787" cy="352785"/>
              </a:xfrm>
              <a:custGeom>
                <a:avLst/>
                <a:gdLst>
                  <a:gd name="T0" fmla="*/ 2147483646 w 222"/>
                  <a:gd name="T1" fmla="*/ 0 h 222"/>
                  <a:gd name="T2" fmla="*/ 0 w 222"/>
                  <a:gd name="T3" fmla="*/ 2147483646 h 222"/>
                  <a:gd name="T4" fmla="*/ 2147483646 w 222"/>
                  <a:gd name="T5" fmla="*/ 2147483646 h 222"/>
                  <a:gd name="T6" fmla="*/ 2147483646 w 222"/>
                  <a:gd name="T7" fmla="*/ 2147483646 h 222"/>
                  <a:gd name="T8" fmla="*/ 2147483646 w 222"/>
                  <a:gd name="T9" fmla="*/ 0 h 222"/>
                  <a:gd name="T10" fmla="*/ 2147483646 w 222"/>
                  <a:gd name="T11" fmla="*/ 2147483646 h 222"/>
                  <a:gd name="T12" fmla="*/ 2147483646 w 222"/>
                  <a:gd name="T13" fmla="*/ 2147483646 h 222"/>
                  <a:gd name="T14" fmla="*/ 2147483646 w 222"/>
                  <a:gd name="T15" fmla="*/ 2147483646 h 222"/>
                  <a:gd name="T16" fmla="*/ 2147483646 w 222"/>
                  <a:gd name="T17" fmla="*/ 2147483646 h 222"/>
                  <a:gd name="T18" fmla="*/ 2147483646 w 222"/>
                  <a:gd name="T19" fmla="*/ 2147483646 h 2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2" h="222">
                    <a:moveTo>
                      <a:pt x="111" y="0"/>
                    </a:moveTo>
                    <a:cubicBezTo>
                      <a:pt x="50" y="0"/>
                      <a:pt x="0" y="50"/>
                      <a:pt x="0" y="111"/>
                    </a:cubicBezTo>
                    <a:cubicBezTo>
                      <a:pt x="0" y="172"/>
                      <a:pt x="50" y="222"/>
                      <a:pt x="111" y="222"/>
                    </a:cubicBezTo>
                    <a:cubicBezTo>
                      <a:pt x="172" y="222"/>
                      <a:pt x="222" y="172"/>
                      <a:pt x="222" y="111"/>
                    </a:cubicBezTo>
                    <a:cubicBezTo>
                      <a:pt x="222" y="50"/>
                      <a:pt x="172" y="0"/>
                      <a:pt x="111" y="0"/>
                    </a:cubicBezTo>
                    <a:close/>
                    <a:moveTo>
                      <a:pt x="111" y="201"/>
                    </a:moveTo>
                    <a:cubicBezTo>
                      <a:pt x="62" y="201"/>
                      <a:pt x="22" y="161"/>
                      <a:pt x="22" y="111"/>
                    </a:cubicBezTo>
                    <a:cubicBezTo>
                      <a:pt x="22" y="62"/>
                      <a:pt x="62" y="22"/>
                      <a:pt x="111" y="22"/>
                    </a:cubicBezTo>
                    <a:cubicBezTo>
                      <a:pt x="161" y="22"/>
                      <a:pt x="201" y="62"/>
                      <a:pt x="201" y="111"/>
                    </a:cubicBezTo>
                    <a:cubicBezTo>
                      <a:pt x="201" y="161"/>
                      <a:pt x="161" y="201"/>
                      <a:pt x="111" y="2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entagon 5"/>
          <p:cNvSpPr/>
          <p:nvPr/>
        </p:nvSpPr>
        <p:spPr bwMode="auto">
          <a:xfrm>
            <a:off x="684213" y="2922588"/>
            <a:ext cx="7935912" cy="1382712"/>
          </a:xfrm>
          <a:prstGeom prst="homePlate">
            <a:avLst/>
          </a:prstGeom>
          <a:solidFill>
            <a:schemeClr val="tx1">
              <a:alpha val="1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3260" tIns="46630" rIns="93260" bIns="46630"/>
          <a:lstStyle>
            <a:lvl1pPr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1225"/>
              </a:spcBef>
              <a:defRPr/>
            </a:pPr>
            <a:endParaRPr lang="sv-SE" altLang="zh-CN" smtClean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cxnSp>
        <p:nvCxnSpPr>
          <p:cNvPr id="80" name="Straight Arrow Connector 7"/>
          <p:cNvCxnSpPr/>
          <p:nvPr/>
        </p:nvCxnSpPr>
        <p:spPr>
          <a:xfrm>
            <a:off x="2417763" y="1916113"/>
            <a:ext cx="900112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10"/>
          <p:cNvCxnSpPr/>
          <p:nvPr/>
        </p:nvCxnSpPr>
        <p:spPr>
          <a:xfrm flipH="1">
            <a:off x="1633538" y="2581275"/>
            <a:ext cx="11112" cy="633413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12"/>
          <p:cNvCxnSpPr/>
          <p:nvPr/>
        </p:nvCxnSpPr>
        <p:spPr>
          <a:xfrm flipH="1">
            <a:off x="4121150" y="2581275"/>
            <a:ext cx="11113" cy="633413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13"/>
          <p:cNvCxnSpPr/>
          <p:nvPr/>
        </p:nvCxnSpPr>
        <p:spPr>
          <a:xfrm flipH="1">
            <a:off x="6551613" y="2574925"/>
            <a:ext cx="11112" cy="631825"/>
          </a:xfrm>
          <a:prstGeom prst="straightConnector1">
            <a:avLst/>
          </a:prstGeom>
          <a:ln w="28575">
            <a:solidFill>
              <a:srgbClr val="266678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矩形 83"/>
          <p:cNvSpPr/>
          <p:nvPr/>
        </p:nvSpPr>
        <p:spPr>
          <a:xfrm>
            <a:off x="3589338" y="3182938"/>
            <a:ext cx="1108075" cy="3698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6002338" y="3182938"/>
            <a:ext cx="1108075" cy="3698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29" name="矩形 85"/>
          <p:cNvSpPr>
            <a:spLocks noChangeArrowheads="1"/>
          </p:cNvSpPr>
          <p:nvPr/>
        </p:nvSpPr>
        <p:spPr bwMode="auto">
          <a:xfrm>
            <a:off x="3548063" y="3563938"/>
            <a:ext cx="16795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30" name="矩形 86"/>
          <p:cNvSpPr>
            <a:spLocks noChangeArrowheads="1"/>
          </p:cNvSpPr>
          <p:nvPr/>
        </p:nvSpPr>
        <p:spPr bwMode="auto">
          <a:xfrm>
            <a:off x="5989638" y="3563938"/>
            <a:ext cx="167798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0731" name="组合 87"/>
          <p:cNvGrpSpPr/>
          <p:nvPr/>
        </p:nvGrpSpPr>
        <p:grpSpPr bwMode="auto">
          <a:xfrm>
            <a:off x="5741988" y="3222625"/>
            <a:ext cx="288925" cy="287338"/>
            <a:chOff x="7129657" y="-1531645"/>
            <a:chExt cx="564454" cy="560734"/>
          </a:xfrm>
        </p:grpSpPr>
        <p:sp>
          <p:nvSpPr>
            <p:cNvPr id="89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079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4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5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6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97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7" name="Freeform 128"/>
            <p:cNvSpPr/>
            <p:nvPr/>
          </p:nvSpPr>
          <p:spPr bwMode="auto">
            <a:xfrm>
              <a:off x="7315741" y="-1249729"/>
              <a:ext cx="189184" cy="92939"/>
            </a:xfrm>
            <a:custGeom>
              <a:avLst/>
              <a:gdLst>
                <a:gd name="T0" fmla="*/ 119 w 119"/>
                <a:gd name="T1" fmla="*/ 0 h 58"/>
                <a:gd name="T2" fmla="*/ 0 w 119"/>
                <a:gd name="T3" fmla="*/ 0 h 58"/>
                <a:gd name="T4" fmla="*/ 7 w 119"/>
                <a:gd name="T5" fmla="*/ 11 h 58"/>
                <a:gd name="T6" fmla="*/ 82 w 119"/>
                <a:gd name="T7" fmla="*/ 11 h 58"/>
                <a:gd name="T8" fmla="*/ 54 w 119"/>
                <a:gd name="T9" fmla="*/ 39 h 58"/>
                <a:gd name="T10" fmla="*/ 50 w 119"/>
                <a:gd name="T11" fmla="*/ 47 h 58"/>
                <a:gd name="T12" fmla="*/ 54 w 119"/>
                <a:gd name="T13" fmla="*/ 55 h 58"/>
                <a:gd name="T14" fmla="*/ 61 w 119"/>
                <a:gd name="T15" fmla="*/ 58 h 58"/>
                <a:gd name="T16" fmla="*/ 69 w 119"/>
                <a:gd name="T17" fmla="*/ 55 h 58"/>
                <a:gd name="T18" fmla="*/ 116 w 119"/>
                <a:gd name="T19" fmla="*/ 8 h 58"/>
                <a:gd name="T20" fmla="*/ 116 w 119"/>
                <a:gd name="T21" fmla="*/ 8 h 58"/>
                <a:gd name="T22" fmla="*/ 119 w 119"/>
                <a:gd name="T2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" h="58">
                  <a:moveTo>
                    <a:pt x="11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1" y="11"/>
                    <a:pt x="7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2" y="41"/>
                    <a:pt x="50" y="44"/>
                    <a:pt x="50" y="47"/>
                  </a:cubicBezTo>
                  <a:cubicBezTo>
                    <a:pt x="50" y="50"/>
                    <a:pt x="52" y="53"/>
                    <a:pt x="54" y="55"/>
                  </a:cubicBezTo>
                  <a:cubicBezTo>
                    <a:pt x="56" y="57"/>
                    <a:pt x="58" y="58"/>
                    <a:pt x="61" y="58"/>
                  </a:cubicBezTo>
                  <a:cubicBezTo>
                    <a:pt x="64" y="58"/>
                    <a:pt x="67" y="57"/>
                    <a:pt x="69" y="55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6"/>
                    <a:pt x="119" y="3"/>
                    <a:pt x="119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079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0732" name="组合 98"/>
          <p:cNvGrpSpPr/>
          <p:nvPr/>
        </p:nvGrpSpPr>
        <p:grpSpPr bwMode="auto">
          <a:xfrm>
            <a:off x="3336925" y="3222625"/>
            <a:ext cx="288925" cy="287338"/>
            <a:chOff x="7129657" y="-1531645"/>
            <a:chExt cx="564454" cy="560734"/>
          </a:xfrm>
        </p:grpSpPr>
        <p:sp>
          <p:nvSpPr>
            <p:cNvPr id="100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078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4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5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6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7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8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8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10" name="矩形 109"/>
          <p:cNvSpPr/>
          <p:nvPr/>
        </p:nvSpPr>
        <p:spPr>
          <a:xfrm>
            <a:off x="1123950" y="3182938"/>
            <a:ext cx="1108075" cy="3698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说明</a:t>
            </a:r>
            <a:endParaRPr lang="zh-CN" altLang="en-US" sz="16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734" name="矩形 110"/>
          <p:cNvSpPr>
            <a:spLocks noChangeArrowheads="1"/>
          </p:cNvSpPr>
          <p:nvPr/>
        </p:nvSpPr>
        <p:spPr bwMode="auto">
          <a:xfrm>
            <a:off x="1144588" y="3563938"/>
            <a:ext cx="16795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</a:t>
            </a:r>
            <a:endParaRPr lang="zh-CN" altLang="zh-CN" sz="12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0735" name="组合 111"/>
          <p:cNvGrpSpPr/>
          <p:nvPr/>
        </p:nvGrpSpPr>
        <p:grpSpPr bwMode="auto">
          <a:xfrm>
            <a:off x="892175" y="3222625"/>
            <a:ext cx="288925" cy="287338"/>
            <a:chOff x="7129657" y="-1531645"/>
            <a:chExt cx="564454" cy="560734"/>
          </a:xfrm>
        </p:grpSpPr>
        <p:sp>
          <p:nvSpPr>
            <p:cNvPr id="113" name="Freeform 97"/>
            <p:cNvSpPr/>
            <p:nvPr/>
          </p:nvSpPr>
          <p:spPr bwMode="auto">
            <a:xfrm>
              <a:off x="7129657" y="-1531645"/>
              <a:ext cx="560725" cy="560725"/>
            </a:xfrm>
            <a:custGeom>
              <a:avLst/>
              <a:gdLst>
                <a:gd name="T0" fmla="*/ 0 w 687"/>
                <a:gd name="T1" fmla="*/ 624 h 687"/>
                <a:gd name="T2" fmla="*/ 63 w 687"/>
                <a:gd name="T3" fmla="*/ 687 h 687"/>
                <a:gd name="T4" fmla="*/ 625 w 687"/>
                <a:gd name="T5" fmla="*/ 687 h 687"/>
                <a:gd name="T6" fmla="*/ 687 w 687"/>
                <a:gd name="T7" fmla="*/ 624 h 687"/>
                <a:gd name="T8" fmla="*/ 687 w 687"/>
                <a:gd name="T9" fmla="*/ 62 h 687"/>
                <a:gd name="T10" fmla="*/ 625 w 687"/>
                <a:gd name="T11" fmla="*/ 0 h 687"/>
                <a:gd name="T12" fmla="*/ 63 w 687"/>
                <a:gd name="T13" fmla="*/ 0 h 687"/>
                <a:gd name="T14" fmla="*/ 0 w 687"/>
                <a:gd name="T15" fmla="*/ 62 h 687"/>
                <a:gd name="T16" fmla="*/ 0 w 687"/>
                <a:gd name="T17" fmla="*/ 624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0" y="624"/>
                  </a:moveTo>
                  <a:cubicBezTo>
                    <a:pt x="0" y="659"/>
                    <a:pt x="28" y="687"/>
                    <a:pt x="63" y="687"/>
                  </a:cubicBezTo>
                  <a:cubicBezTo>
                    <a:pt x="625" y="687"/>
                    <a:pt x="625" y="687"/>
                    <a:pt x="625" y="687"/>
                  </a:cubicBezTo>
                  <a:cubicBezTo>
                    <a:pt x="659" y="687"/>
                    <a:pt x="687" y="659"/>
                    <a:pt x="687" y="624"/>
                  </a:cubicBezTo>
                  <a:cubicBezTo>
                    <a:pt x="687" y="62"/>
                    <a:pt x="687" y="62"/>
                    <a:pt x="687" y="62"/>
                  </a:cubicBezTo>
                  <a:cubicBezTo>
                    <a:pt x="687" y="28"/>
                    <a:pt x="659" y="0"/>
                    <a:pt x="62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lnTo>
                    <a:pt x="0" y="624"/>
                  </a:lnTo>
                  <a:close/>
                </a:path>
              </a:pathLst>
            </a:custGeom>
            <a:noFill/>
            <a:ln w="9525">
              <a:gradFill flip="none" rotWithShape="1">
                <a:gsLst>
                  <a:gs pos="0">
                    <a:schemeClr val="bg1">
                      <a:alpha val="20000"/>
                    </a:schemeClr>
                  </a:gs>
                  <a:gs pos="50000">
                    <a:schemeClr val="bg1"/>
                  </a:gs>
                  <a:gs pos="100000">
                    <a:schemeClr val="bg1">
                      <a:alpha val="48000"/>
                    </a:schemeClr>
                  </a:gs>
                </a:gsLst>
                <a:lin ang="8100000" scaled="1"/>
                <a:tileRect/>
              </a:gradFill>
              <a:rou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0773" name="AutoShape 120"/>
            <p:cNvSpPr>
              <a:spLocks noChangeAspect="1" noChangeArrowheads="1" noTextEdit="1"/>
            </p:cNvSpPr>
            <p:nvPr/>
          </p:nvSpPr>
          <p:spPr bwMode="auto">
            <a:xfrm>
              <a:off x="7236296" y="-1424010"/>
              <a:ext cx="457815" cy="45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74" name="Freeform 122"/>
            <p:cNvSpPr/>
            <p:nvPr/>
          </p:nvSpPr>
          <p:spPr bwMode="auto">
            <a:xfrm>
              <a:off x="7315740" y="-1260410"/>
              <a:ext cx="243046" cy="160907"/>
            </a:xfrm>
            <a:custGeom>
              <a:avLst/>
              <a:gdLst>
                <a:gd name="T0" fmla="*/ 2147483646 w 153"/>
                <a:gd name="T1" fmla="*/ 0 h 101"/>
                <a:gd name="T2" fmla="*/ 2147483646 w 153"/>
                <a:gd name="T3" fmla="*/ 0 h 101"/>
                <a:gd name="T4" fmla="*/ 2147483646 w 153"/>
                <a:gd name="T5" fmla="*/ 2147483646 h 101"/>
                <a:gd name="T6" fmla="*/ 2147483646 w 153"/>
                <a:gd name="T7" fmla="*/ 2147483646 h 101"/>
                <a:gd name="T8" fmla="*/ 2147483646 w 153"/>
                <a:gd name="T9" fmla="*/ 2147483646 h 101"/>
                <a:gd name="T10" fmla="*/ 2147483646 w 153"/>
                <a:gd name="T11" fmla="*/ 2147483646 h 101"/>
                <a:gd name="T12" fmla="*/ 2147483646 w 153"/>
                <a:gd name="T13" fmla="*/ 2147483646 h 101"/>
                <a:gd name="T14" fmla="*/ 2147483646 w 153"/>
                <a:gd name="T15" fmla="*/ 2147483646 h 101"/>
                <a:gd name="T16" fmla="*/ 2147483646 w 153"/>
                <a:gd name="T17" fmla="*/ 2147483646 h 101"/>
                <a:gd name="T18" fmla="*/ 2147483646 w 153"/>
                <a:gd name="T19" fmla="*/ 2147483646 h 101"/>
                <a:gd name="T20" fmla="*/ 2147483646 w 153"/>
                <a:gd name="T21" fmla="*/ 2147483646 h 101"/>
                <a:gd name="T22" fmla="*/ 2147483646 w 153"/>
                <a:gd name="T23" fmla="*/ 2147483646 h 101"/>
                <a:gd name="T24" fmla="*/ 2147483646 w 153"/>
                <a:gd name="T25" fmla="*/ 2147483646 h 101"/>
                <a:gd name="T26" fmla="*/ 2147483646 w 153"/>
                <a:gd name="T27" fmla="*/ 2147483646 h 101"/>
                <a:gd name="T28" fmla="*/ 0 w 153"/>
                <a:gd name="T29" fmla="*/ 2147483646 h 101"/>
                <a:gd name="T30" fmla="*/ 2147483646 w 153"/>
                <a:gd name="T31" fmla="*/ 2147483646 h 101"/>
                <a:gd name="T32" fmla="*/ 2147483646 w 153"/>
                <a:gd name="T33" fmla="*/ 2147483646 h 101"/>
                <a:gd name="T34" fmla="*/ 2147483646 w 153"/>
                <a:gd name="T35" fmla="*/ 2147483646 h 101"/>
                <a:gd name="T36" fmla="*/ 2147483646 w 153"/>
                <a:gd name="T37" fmla="*/ 2147483646 h 101"/>
                <a:gd name="T38" fmla="*/ 2147483646 w 153"/>
                <a:gd name="T39" fmla="*/ 0 h 10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3" h="101">
                  <a:moveTo>
                    <a:pt x="116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8" y="2"/>
                    <a:pt x="119" y="5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10"/>
                    <a:pt x="118" y="13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7" y="64"/>
                    <a:pt x="64" y="65"/>
                    <a:pt x="61" y="65"/>
                  </a:cubicBezTo>
                  <a:cubicBezTo>
                    <a:pt x="58" y="65"/>
                    <a:pt x="56" y="64"/>
                    <a:pt x="54" y="62"/>
                  </a:cubicBezTo>
                  <a:cubicBezTo>
                    <a:pt x="52" y="60"/>
                    <a:pt x="50" y="57"/>
                    <a:pt x="50" y="54"/>
                  </a:cubicBezTo>
                  <a:cubicBezTo>
                    <a:pt x="50" y="51"/>
                    <a:pt x="52" y="48"/>
                    <a:pt x="54" y="4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4" y="18"/>
                    <a:pt x="2" y="17"/>
                    <a:pt x="0" y="16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53" y="37"/>
                    <a:pt x="153" y="37"/>
                    <a:pt x="153" y="37"/>
                  </a:cubicBezTo>
                  <a:cubicBezTo>
                    <a:pt x="116" y="0"/>
                    <a:pt x="116" y="0"/>
                    <a:pt x="116" y="0"/>
                  </a:cubicBezTo>
                </a:path>
              </a:pathLst>
            </a:custGeom>
            <a:solidFill>
              <a:srgbClr val="1B404D">
                <a:alpha val="3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75" name="Freeform 124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close/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76" name="Freeform 125"/>
            <p:cNvSpPr>
              <a:spLocks noEditPoints="1"/>
            </p:cNvSpPr>
            <p:nvPr/>
          </p:nvSpPr>
          <p:spPr bwMode="auto">
            <a:xfrm>
              <a:off x="7451065" y="-1201164"/>
              <a:ext cx="123879" cy="112433"/>
            </a:xfrm>
            <a:custGeom>
              <a:avLst/>
              <a:gdLst>
                <a:gd name="T0" fmla="*/ 2147483646 w 184"/>
                <a:gd name="T1" fmla="*/ 2147483646 h 167"/>
                <a:gd name="T2" fmla="*/ 0 w 184"/>
                <a:gd name="T3" fmla="*/ 2147483646 h 167"/>
                <a:gd name="T4" fmla="*/ 2147483646 w 184"/>
                <a:gd name="T5" fmla="*/ 2147483646 h 167"/>
                <a:gd name="T6" fmla="*/ 2147483646 w 184"/>
                <a:gd name="T7" fmla="*/ 2147483646 h 167"/>
                <a:gd name="T8" fmla="*/ 2147483646 w 184"/>
                <a:gd name="T9" fmla="*/ 2147483646 h 167"/>
                <a:gd name="T10" fmla="*/ 2147483646 w 184"/>
                <a:gd name="T11" fmla="*/ 0 h 167"/>
                <a:gd name="T12" fmla="*/ 2147483646 w 184"/>
                <a:gd name="T13" fmla="*/ 2147483646 h 167"/>
                <a:gd name="T14" fmla="*/ 2147483646 w 184"/>
                <a:gd name="T15" fmla="*/ 2147483646 h 167"/>
                <a:gd name="T16" fmla="*/ 2147483646 w 184"/>
                <a:gd name="T17" fmla="*/ 0 h 1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4" h="167">
                  <a:moveTo>
                    <a:pt x="99" y="103"/>
                  </a:moveTo>
                  <a:lnTo>
                    <a:pt x="0" y="151"/>
                  </a:lnTo>
                  <a:lnTo>
                    <a:pt x="14" y="165"/>
                  </a:lnTo>
                  <a:lnTo>
                    <a:pt x="33" y="167"/>
                  </a:lnTo>
                  <a:lnTo>
                    <a:pt x="99" y="103"/>
                  </a:lnTo>
                  <a:moveTo>
                    <a:pt x="160" y="0"/>
                  </a:moveTo>
                  <a:lnTo>
                    <a:pt x="106" y="99"/>
                  </a:lnTo>
                  <a:lnTo>
                    <a:pt x="184" y="23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77" name="Freeform 126"/>
            <p:cNvSpPr/>
            <p:nvPr/>
          </p:nvSpPr>
          <p:spPr bwMode="auto">
            <a:xfrm>
              <a:off x="7309681" y="-1341201"/>
              <a:ext cx="196591" cy="184471"/>
            </a:xfrm>
            <a:custGeom>
              <a:avLst/>
              <a:gdLst>
                <a:gd name="T0" fmla="*/ 2147483646 w 124"/>
                <a:gd name="T1" fmla="*/ 2147483646 h 116"/>
                <a:gd name="T2" fmla="*/ 2147483646 w 124"/>
                <a:gd name="T3" fmla="*/ 2147483646 h 116"/>
                <a:gd name="T4" fmla="*/ 2147483646 w 124"/>
                <a:gd name="T5" fmla="*/ 2147483646 h 116"/>
                <a:gd name="T6" fmla="*/ 2147483646 w 124"/>
                <a:gd name="T7" fmla="*/ 2147483646 h 116"/>
                <a:gd name="T8" fmla="*/ 2147483646 w 124"/>
                <a:gd name="T9" fmla="*/ 2147483646 h 116"/>
                <a:gd name="T10" fmla="*/ 0 w 124"/>
                <a:gd name="T11" fmla="*/ 2147483646 h 116"/>
                <a:gd name="T12" fmla="*/ 2147483646 w 124"/>
                <a:gd name="T13" fmla="*/ 2147483646 h 116"/>
                <a:gd name="T14" fmla="*/ 2147483646 w 124"/>
                <a:gd name="T15" fmla="*/ 2147483646 h 116"/>
                <a:gd name="T16" fmla="*/ 2147483646 w 124"/>
                <a:gd name="T17" fmla="*/ 2147483646 h 116"/>
                <a:gd name="T18" fmla="*/ 2147483646 w 124"/>
                <a:gd name="T19" fmla="*/ 2147483646 h 116"/>
                <a:gd name="T20" fmla="*/ 2147483646 w 124"/>
                <a:gd name="T21" fmla="*/ 2147483646 h 116"/>
                <a:gd name="T22" fmla="*/ 2147483646 w 124"/>
                <a:gd name="T23" fmla="*/ 2147483646 h 116"/>
                <a:gd name="T24" fmla="*/ 2147483646 w 124"/>
                <a:gd name="T25" fmla="*/ 2147483646 h 116"/>
                <a:gd name="T26" fmla="*/ 2147483646 w 124"/>
                <a:gd name="T27" fmla="*/ 2147483646 h 116"/>
                <a:gd name="T28" fmla="*/ 2147483646 w 124"/>
                <a:gd name="T29" fmla="*/ 2147483646 h 1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24" h="116">
                  <a:moveTo>
                    <a:pt x="73" y="4"/>
                  </a:moveTo>
                  <a:cubicBezTo>
                    <a:pt x="69" y="0"/>
                    <a:pt x="62" y="0"/>
                    <a:pt x="58" y="4"/>
                  </a:cubicBezTo>
                  <a:cubicBezTo>
                    <a:pt x="53" y="8"/>
                    <a:pt x="53" y="15"/>
                    <a:pt x="58" y="19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7"/>
                    <a:pt x="0" y="52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3" y="102"/>
                    <a:pt x="53" y="108"/>
                    <a:pt x="58" y="113"/>
                  </a:cubicBezTo>
                  <a:cubicBezTo>
                    <a:pt x="60" y="115"/>
                    <a:pt x="62" y="116"/>
                    <a:pt x="65" y="116"/>
                  </a:cubicBezTo>
                  <a:cubicBezTo>
                    <a:pt x="68" y="116"/>
                    <a:pt x="71" y="115"/>
                    <a:pt x="73" y="11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4" y="62"/>
                    <a:pt x="124" y="55"/>
                    <a:pt x="120" y="51"/>
                  </a:cubicBezTo>
                  <a:cubicBezTo>
                    <a:pt x="73" y="4"/>
                    <a:pt x="73" y="4"/>
                    <a:pt x="73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78" name="Freeform 127"/>
            <p:cNvSpPr/>
            <p:nvPr/>
          </p:nvSpPr>
          <p:spPr bwMode="auto">
            <a:xfrm>
              <a:off x="7500213" y="-1248965"/>
              <a:ext cx="4713" cy="12792"/>
            </a:xfrm>
            <a:custGeom>
              <a:avLst/>
              <a:gdLst>
                <a:gd name="T0" fmla="*/ 2147483646 w 3"/>
                <a:gd name="T1" fmla="*/ 0 h 8"/>
                <a:gd name="T2" fmla="*/ 2147483646 w 3"/>
                <a:gd name="T3" fmla="*/ 0 h 8"/>
                <a:gd name="T4" fmla="*/ 0 w 3"/>
                <a:gd name="T5" fmla="*/ 2147483646 h 8"/>
                <a:gd name="T6" fmla="*/ 2147483646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8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6"/>
                    <a:pt x="3" y="3"/>
                    <a:pt x="3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79" name="Freeform 129"/>
            <p:cNvSpPr>
              <a:spLocks noEditPoints="1"/>
            </p:cNvSpPr>
            <p:nvPr/>
          </p:nvSpPr>
          <p:spPr bwMode="auto">
            <a:xfrm>
              <a:off x="7236296" y="-1425357"/>
              <a:ext cx="352787" cy="352785"/>
            </a:xfrm>
            <a:custGeom>
              <a:avLst/>
              <a:gdLst>
                <a:gd name="T0" fmla="*/ 2147483646 w 222"/>
                <a:gd name="T1" fmla="*/ 0 h 222"/>
                <a:gd name="T2" fmla="*/ 0 w 222"/>
                <a:gd name="T3" fmla="*/ 2147483646 h 222"/>
                <a:gd name="T4" fmla="*/ 2147483646 w 222"/>
                <a:gd name="T5" fmla="*/ 2147483646 h 222"/>
                <a:gd name="T6" fmla="*/ 2147483646 w 222"/>
                <a:gd name="T7" fmla="*/ 2147483646 h 222"/>
                <a:gd name="T8" fmla="*/ 2147483646 w 222"/>
                <a:gd name="T9" fmla="*/ 0 h 222"/>
                <a:gd name="T10" fmla="*/ 2147483646 w 222"/>
                <a:gd name="T11" fmla="*/ 2147483646 h 222"/>
                <a:gd name="T12" fmla="*/ 2147483646 w 222"/>
                <a:gd name="T13" fmla="*/ 2147483646 h 222"/>
                <a:gd name="T14" fmla="*/ 2147483646 w 222"/>
                <a:gd name="T15" fmla="*/ 2147483646 h 222"/>
                <a:gd name="T16" fmla="*/ 2147483646 w 222"/>
                <a:gd name="T17" fmla="*/ 2147483646 h 222"/>
                <a:gd name="T18" fmla="*/ 2147483646 w 222"/>
                <a:gd name="T19" fmla="*/ 2147483646 h 2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2" h="222">
                  <a:moveTo>
                    <a:pt x="111" y="0"/>
                  </a:moveTo>
                  <a:cubicBezTo>
                    <a:pt x="50" y="0"/>
                    <a:pt x="0" y="50"/>
                    <a:pt x="0" y="111"/>
                  </a:cubicBezTo>
                  <a:cubicBezTo>
                    <a:pt x="0" y="172"/>
                    <a:pt x="50" y="222"/>
                    <a:pt x="111" y="222"/>
                  </a:cubicBezTo>
                  <a:cubicBezTo>
                    <a:pt x="172" y="222"/>
                    <a:pt x="222" y="172"/>
                    <a:pt x="222" y="111"/>
                  </a:cubicBezTo>
                  <a:cubicBezTo>
                    <a:pt x="222" y="50"/>
                    <a:pt x="172" y="0"/>
                    <a:pt x="111" y="0"/>
                  </a:cubicBezTo>
                  <a:close/>
                  <a:moveTo>
                    <a:pt x="111" y="201"/>
                  </a:moveTo>
                  <a:cubicBezTo>
                    <a:pt x="62" y="201"/>
                    <a:pt x="22" y="161"/>
                    <a:pt x="22" y="111"/>
                  </a:cubicBezTo>
                  <a:cubicBezTo>
                    <a:pt x="22" y="62"/>
                    <a:pt x="62" y="22"/>
                    <a:pt x="111" y="22"/>
                  </a:cubicBezTo>
                  <a:cubicBezTo>
                    <a:pt x="161" y="22"/>
                    <a:pt x="201" y="62"/>
                    <a:pt x="201" y="111"/>
                  </a:cubicBezTo>
                  <a:cubicBezTo>
                    <a:pt x="201" y="161"/>
                    <a:pt x="161" y="201"/>
                    <a:pt x="111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30736" name="组合 122"/>
          <p:cNvGrpSpPr/>
          <p:nvPr/>
        </p:nvGrpSpPr>
        <p:grpSpPr bwMode="auto">
          <a:xfrm>
            <a:off x="1049338" y="1063625"/>
            <a:ext cx="1263650" cy="1511300"/>
            <a:chOff x="1049307" y="1189646"/>
            <a:chExt cx="1264397" cy="1509923"/>
          </a:xfrm>
        </p:grpSpPr>
        <p:sp>
          <p:nvSpPr>
            <p:cNvPr id="124" name="矩形 123"/>
            <p:cNvSpPr/>
            <p:nvPr/>
          </p:nvSpPr>
          <p:spPr>
            <a:xfrm>
              <a:off x="1049307" y="1189646"/>
              <a:ext cx="1264397" cy="1509923"/>
            </a:xfrm>
            <a:prstGeom prst="rect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5" name="矩形 124"/>
            <p:cNvSpPr/>
            <p:nvPr/>
          </p:nvSpPr>
          <p:spPr>
            <a:xfrm>
              <a:off x="1123963" y="1261019"/>
              <a:ext cx="1107142" cy="36955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0765" name="组合 138"/>
            <p:cNvGrpSpPr/>
            <p:nvPr/>
          </p:nvGrpSpPr>
          <p:grpSpPr bwMode="auto">
            <a:xfrm>
              <a:off x="1230389" y="1690839"/>
              <a:ext cx="902233" cy="904050"/>
              <a:chOff x="5301037" y="-2975446"/>
              <a:chExt cx="2574177" cy="2579358"/>
            </a:xfrm>
          </p:grpSpPr>
          <p:sp>
            <p:nvSpPr>
              <p:cNvPr id="127" name="Freeform 6"/>
              <p:cNvSpPr/>
              <p:nvPr/>
            </p:nvSpPr>
            <p:spPr bwMode="auto">
              <a:xfrm>
                <a:off x="5301037" y="-2975446"/>
                <a:ext cx="2574177" cy="2579361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767" name="Freeform 8"/>
              <p:cNvSpPr>
                <a:spLocks noEditPoints="1"/>
              </p:cNvSpPr>
              <p:nvPr/>
            </p:nvSpPr>
            <p:spPr bwMode="auto">
              <a:xfrm>
                <a:off x="6094413" y="-2411413"/>
                <a:ext cx="1023938" cy="1628775"/>
              </a:xfrm>
              <a:custGeom>
                <a:avLst/>
                <a:gdLst>
                  <a:gd name="T0" fmla="*/ 2147483646 w 273"/>
                  <a:gd name="T1" fmla="*/ 0 h 434"/>
                  <a:gd name="T2" fmla="*/ 2147483646 w 273"/>
                  <a:gd name="T3" fmla="*/ 0 h 434"/>
                  <a:gd name="T4" fmla="*/ 0 w 273"/>
                  <a:gd name="T5" fmla="*/ 2147483646 h 434"/>
                  <a:gd name="T6" fmla="*/ 0 w 273"/>
                  <a:gd name="T7" fmla="*/ 2147483646 h 434"/>
                  <a:gd name="T8" fmla="*/ 2147483646 w 273"/>
                  <a:gd name="T9" fmla="*/ 2147483646 h 434"/>
                  <a:gd name="T10" fmla="*/ 2147483646 w 273"/>
                  <a:gd name="T11" fmla="*/ 2147483646 h 434"/>
                  <a:gd name="T12" fmla="*/ 2147483646 w 273"/>
                  <a:gd name="T13" fmla="*/ 2147483646 h 434"/>
                  <a:gd name="T14" fmla="*/ 2147483646 w 273"/>
                  <a:gd name="T15" fmla="*/ 2147483646 h 434"/>
                  <a:gd name="T16" fmla="*/ 2147483646 w 273"/>
                  <a:gd name="T17" fmla="*/ 0 h 434"/>
                  <a:gd name="T18" fmla="*/ 2147483646 w 273"/>
                  <a:gd name="T19" fmla="*/ 2147483646 h 434"/>
                  <a:gd name="T20" fmla="*/ 2147483646 w 273"/>
                  <a:gd name="T21" fmla="*/ 2147483646 h 434"/>
                  <a:gd name="T22" fmla="*/ 2147483646 w 273"/>
                  <a:gd name="T23" fmla="*/ 2147483646 h 434"/>
                  <a:gd name="T24" fmla="*/ 2147483646 w 273"/>
                  <a:gd name="T25" fmla="*/ 2147483646 h 434"/>
                  <a:gd name="T26" fmla="*/ 2147483646 w 273"/>
                  <a:gd name="T27" fmla="*/ 2147483646 h 434"/>
                  <a:gd name="T28" fmla="*/ 2147483646 w 273"/>
                  <a:gd name="T29" fmla="*/ 2147483646 h 434"/>
                  <a:gd name="T30" fmla="*/ 2147483646 w 273"/>
                  <a:gd name="T31" fmla="*/ 2147483646 h 434"/>
                  <a:gd name="T32" fmla="*/ 2147483646 w 273"/>
                  <a:gd name="T33" fmla="*/ 2147483646 h 434"/>
                  <a:gd name="T34" fmla="*/ 2147483646 w 273"/>
                  <a:gd name="T35" fmla="*/ 2147483646 h 4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73" h="434">
                    <a:moveTo>
                      <a:pt x="240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0" y="419"/>
                      <a:pt x="15" y="434"/>
                      <a:pt x="33" y="434"/>
                    </a:cubicBezTo>
                    <a:cubicBezTo>
                      <a:pt x="240" y="434"/>
                      <a:pt x="240" y="434"/>
                      <a:pt x="240" y="434"/>
                    </a:cubicBezTo>
                    <a:cubicBezTo>
                      <a:pt x="258" y="434"/>
                      <a:pt x="273" y="419"/>
                      <a:pt x="273" y="401"/>
                    </a:cubicBezTo>
                    <a:cubicBezTo>
                      <a:pt x="273" y="32"/>
                      <a:pt x="273" y="32"/>
                      <a:pt x="273" y="32"/>
                    </a:cubicBezTo>
                    <a:cubicBezTo>
                      <a:pt x="273" y="14"/>
                      <a:pt x="258" y="0"/>
                      <a:pt x="240" y="0"/>
                    </a:cubicBezTo>
                    <a:close/>
                    <a:moveTo>
                      <a:pt x="242" y="189"/>
                    </a:moveTo>
                    <a:cubicBezTo>
                      <a:pt x="242" y="207"/>
                      <a:pt x="227" y="222"/>
                      <a:pt x="210" y="222"/>
                    </a:cubicBezTo>
                    <a:cubicBezTo>
                      <a:pt x="68" y="222"/>
                      <a:pt x="68" y="222"/>
                      <a:pt x="68" y="222"/>
                    </a:cubicBezTo>
                    <a:cubicBezTo>
                      <a:pt x="51" y="222"/>
                      <a:pt x="36" y="207"/>
                      <a:pt x="36" y="189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36" y="35"/>
                      <a:pt x="51" y="20"/>
                      <a:pt x="68" y="20"/>
                    </a:cubicBezTo>
                    <a:cubicBezTo>
                      <a:pt x="210" y="20"/>
                      <a:pt x="210" y="20"/>
                      <a:pt x="210" y="20"/>
                    </a:cubicBezTo>
                    <a:cubicBezTo>
                      <a:pt x="227" y="20"/>
                      <a:pt x="242" y="35"/>
                      <a:pt x="242" y="53"/>
                    </a:cubicBezTo>
                    <a:lnTo>
                      <a:pt x="242" y="1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68" name="Freeform 9"/>
              <p:cNvSpPr>
                <a:spLocks noEditPoints="1"/>
              </p:cNvSpPr>
              <p:nvPr/>
            </p:nvSpPr>
            <p:spPr bwMode="auto">
              <a:xfrm>
                <a:off x="5754688" y="-2224088"/>
                <a:ext cx="358775" cy="1370013"/>
              </a:xfrm>
              <a:custGeom>
                <a:avLst/>
                <a:gdLst>
                  <a:gd name="T0" fmla="*/ 2147483646 w 96"/>
                  <a:gd name="T1" fmla="*/ 2147483646 h 365"/>
                  <a:gd name="T2" fmla="*/ 2147483646 w 96"/>
                  <a:gd name="T3" fmla="*/ 2147483646 h 365"/>
                  <a:gd name="T4" fmla="*/ 2147483646 w 96"/>
                  <a:gd name="T5" fmla="*/ 2147483646 h 365"/>
                  <a:gd name="T6" fmla="*/ 2147483646 w 96"/>
                  <a:gd name="T7" fmla="*/ 2147483646 h 365"/>
                  <a:gd name="T8" fmla="*/ 2147483646 w 96"/>
                  <a:gd name="T9" fmla="*/ 2147483646 h 365"/>
                  <a:gd name="T10" fmla="*/ 2147483646 w 96"/>
                  <a:gd name="T11" fmla="*/ 2147483646 h 365"/>
                  <a:gd name="T12" fmla="*/ 2147483646 w 96"/>
                  <a:gd name="T13" fmla="*/ 2147483646 h 365"/>
                  <a:gd name="T14" fmla="*/ 0 w 96"/>
                  <a:gd name="T15" fmla="*/ 2147483646 h 365"/>
                  <a:gd name="T16" fmla="*/ 2147483646 w 96"/>
                  <a:gd name="T17" fmla="*/ 2147483646 h 365"/>
                  <a:gd name="T18" fmla="*/ 2147483646 w 96"/>
                  <a:gd name="T19" fmla="*/ 2147483646 h 365"/>
                  <a:gd name="T20" fmla="*/ 2147483646 w 96"/>
                  <a:gd name="T21" fmla="*/ 2147483646 h 365"/>
                  <a:gd name="T22" fmla="*/ 2147483646 w 96"/>
                  <a:gd name="T23" fmla="*/ 2147483646 h 365"/>
                  <a:gd name="T24" fmla="*/ 2147483646 w 96"/>
                  <a:gd name="T25" fmla="*/ 2147483646 h 365"/>
                  <a:gd name="T26" fmla="*/ 2147483646 w 96"/>
                  <a:gd name="T27" fmla="*/ 2147483646 h 365"/>
                  <a:gd name="T28" fmla="*/ 2147483646 w 96"/>
                  <a:gd name="T29" fmla="*/ 2147483646 h 365"/>
                  <a:gd name="T30" fmla="*/ 2147483646 w 96"/>
                  <a:gd name="T31" fmla="*/ 2147483646 h 365"/>
                  <a:gd name="T32" fmla="*/ 2147483646 w 96"/>
                  <a:gd name="T33" fmla="*/ 2147483646 h 365"/>
                  <a:gd name="T34" fmla="*/ 2147483646 w 96"/>
                  <a:gd name="T35" fmla="*/ 2147483646 h 365"/>
                  <a:gd name="T36" fmla="*/ 2147483646 w 96"/>
                  <a:gd name="T37" fmla="*/ 2147483646 h 365"/>
                  <a:gd name="T38" fmla="*/ 2147483646 w 96"/>
                  <a:gd name="T39" fmla="*/ 2147483646 h 365"/>
                  <a:gd name="T40" fmla="*/ 2147483646 w 96"/>
                  <a:gd name="T41" fmla="*/ 2147483646 h 365"/>
                  <a:gd name="T42" fmla="*/ 2147483646 w 96"/>
                  <a:gd name="T43" fmla="*/ 2147483646 h 365"/>
                  <a:gd name="T44" fmla="*/ 2147483646 w 96"/>
                  <a:gd name="T45" fmla="*/ 2147483646 h 365"/>
                  <a:gd name="T46" fmla="*/ 2147483646 w 96"/>
                  <a:gd name="T47" fmla="*/ 2147483646 h 365"/>
                  <a:gd name="T48" fmla="*/ 2147483646 w 96"/>
                  <a:gd name="T49" fmla="*/ 2147483646 h 365"/>
                  <a:gd name="T50" fmla="*/ 2147483646 w 96"/>
                  <a:gd name="T51" fmla="*/ 2147483646 h 365"/>
                  <a:gd name="T52" fmla="*/ 2147483646 w 96"/>
                  <a:gd name="T53" fmla="*/ 2147483646 h 365"/>
                  <a:gd name="T54" fmla="*/ 2147483646 w 96"/>
                  <a:gd name="T55" fmla="*/ 2147483646 h 365"/>
                  <a:gd name="T56" fmla="*/ 2147483646 w 96"/>
                  <a:gd name="T57" fmla="*/ 2147483646 h 365"/>
                  <a:gd name="T58" fmla="*/ 2147483646 w 96"/>
                  <a:gd name="T59" fmla="*/ 2147483646 h 365"/>
                  <a:gd name="T60" fmla="*/ 2147483646 w 96"/>
                  <a:gd name="T61" fmla="*/ 2147483646 h 365"/>
                  <a:gd name="T62" fmla="*/ 2147483646 w 96"/>
                  <a:gd name="T63" fmla="*/ 0 h 365"/>
                  <a:gd name="T64" fmla="*/ 2147483646 w 96"/>
                  <a:gd name="T65" fmla="*/ 2147483646 h 365"/>
                  <a:gd name="T66" fmla="*/ 2147483646 w 96"/>
                  <a:gd name="T67" fmla="*/ 2147483646 h 365"/>
                  <a:gd name="T68" fmla="*/ 2147483646 w 96"/>
                  <a:gd name="T69" fmla="*/ 2147483646 h 365"/>
                  <a:gd name="T70" fmla="*/ 2147483646 w 96"/>
                  <a:gd name="T71" fmla="*/ 2147483646 h 365"/>
                  <a:gd name="T72" fmla="*/ 2147483646 w 96"/>
                  <a:gd name="T73" fmla="*/ 2147483646 h 365"/>
                  <a:gd name="T74" fmla="*/ 2147483646 w 96"/>
                  <a:gd name="T75" fmla="*/ 2147483646 h 365"/>
                  <a:gd name="T76" fmla="*/ 2147483646 w 96"/>
                  <a:gd name="T77" fmla="*/ 2147483646 h 365"/>
                  <a:gd name="T78" fmla="*/ 2147483646 w 96"/>
                  <a:gd name="T79" fmla="*/ 2147483646 h 365"/>
                  <a:gd name="T80" fmla="*/ 2147483646 w 96"/>
                  <a:gd name="T81" fmla="*/ 2147483646 h 365"/>
                  <a:gd name="T82" fmla="*/ 2147483646 w 96"/>
                  <a:gd name="T83" fmla="*/ 2147483646 h 365"/>
                  <a:gd name="T84" fmla="*/ 2147483646 w 96"/>
                  <a:gd name="T85" fmla="*/ 2147483646 h 365"/>
                  <a:gd name="T86" fmla="*/ 2147483646 w 96"/>
                  <a:gd name="T87" fmla="*/ 2147483646 h 365"/>
                  <a:gd name="T88" fmla="*/ 2147483646 w 96"/>
                  <a:gd name="T89" fmla="*/ 2147483646 h 365"/>
                  <a:gd name="T90" fmla="*/ 2147483646 w 96"/>
                  <a:gd name="T91" fmla="*/ 2147483646 h 365"/>
                  <a:gd name="T92" fmla="*/ 2147483646 w 96"/>
                  <a:gd name="T93" fmla="*/ 2147483646 h 365"/>
                  <a:gd name="T94" fmla="*/ 2147483646 w 96"/>
                  <a:gd name="T95" fmla="*/ 2147483646 h 365"/>
                  <a:gd name="T96" fmla="*/ 2147483646 w 96"/>
                  <a:gd name="T97" fmla="*/ 2147483646 h 365"/>
                  <a:gd name="T98" fmla="*/ 2147483646 w 96"/>
                  <a:gd name="T99" fmla="*/ 2147483646 h 365"/>
                  <a:gd name="T100" fmla="*/ 2147483646 w 96"/>
                  <a:gd name="T101" fmla="*/ 2147483646 h 365"/>
                  <a:gd name="T102" fmla="*/ 2147483646 w 96"/>
                  <a:gd name="T103" fmla="*/ 2147483646 h 365"/>
                  <a:gd name="T104" fmla="*/ 2147483646 w 96"/>
                  <a:gd name="T105" fmla="*/ 2147483646 h 3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6" h="365">
                    <a:moveTo>
                      <a:pt x="40" y="110"/>
                    </a:moveTo>
                    <a:cubicBezTo>
                      <a:pt x="40" y="117"/>
                      <a:pt x="40" y="117"/>
                      <a:pt x="40" y="117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0" y="123"/>
                      <a:pt x="40" y="123"/>
                      <a:pt x="40" y="123"/>
                    </a:cubicBezTo>
                    <a:cubicBezTo>
                      <a:pt x="40" y="136"/>
                      <a:pt x="44" y="158"/>
                      <a:pt x="48" y="181"/>
                    </a:cubicBezTo>
                    <a:cubicBezTo>
                      <a:pt x="49" y="182"/>
                      <a:pt x="49" y="182"/>
                      <a:pt x="49" y="182"/>
                    </a:cubicBezTo>
                    <a:cubicBezTo>
                      <a:pt x="48" y="183"/>
                      <a:pt x="48" y="183"/>
                      <a:pt x="48" y="183"/>
                    </a:cubicBezTo>
                    <a:cubicBezTo>
                      <a:pt x="19" y="223"/>
                      <a:pt x="0" y="274"/>
                      <a:pt x="0" y="311"/>
                    </a:cubicBezTo>
                    <a:cubicBezTo>
                      <a:pt x="1" y="323"/>
                      <a:pt x="1" y="323"/>
                      <a:pt x="1" y="323"/>
                    </a:cubicBezTo>
                    <a:cubicBezTo>
                      <a:pt x="4" y="346"/>
                      <a:pt x="15" y="359"/>
                      <a:pt x="35" y="363"/>
                    </a:cubicBezTo>
                    <a:cubicBezTo>
                      <a:pt x="46" y="365"/>
                      <a:pt x="55" y="363"/>
                      <a:pt x="61" y="356"/>
                    </a:cubicBezTo>
                    <a:cubicBezTo>
                      <a:pt x="70" y="347"/>
                      <a:pt x="75" y="331"/>
                      <a:pt x="75" y="306"/>
                    </a:cubicBezTo>
                    <a:cubicBezTo>
                      <a:pt x="75" y="272"/>
                      <a:pt x="67" y="229"/>
                      <a:pt x="60" y="191"/>
                    </a:cubicBezTo>
                    <a:cubicBezTo>
                      <a:pt x="60" y="191"/>
                      <a:pt x="60" y="191"/>
                      <a:pt x="60" y="191"/>
                    </a:cubicBezTo>
                    <a:cubicBezTo>
                      <a:pt x="60" y="190"/>
                      <a:pt x="59" y="188"/>
                      <a:pt x="59" y="186"/>
                    </a:cubicBezTo>
                    <a:cubicBezTo>
                      <a:pt x="58" y="184"/>
                      <a:pt x="58" y="184"/>
                      <a:pt x="58" y="184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72" y="167"/>
                      <a:pt x="85" y="155"/>
                      <a:pt x="96" y="150"/>
                    </a:cubicBezTo>
                    <a:cubicBezTo>
                      <a:pt x="95" y="147"/>
                      <a:pt x="94" y="144"/>
                      <a:pt x="92" y="141"/>
                    </a:cubicBezTo>
                    <a:cubicBezTo>
                      <a:pt x="83" y="146"/>
                      <a:pt x="72" y="154"/>
                      <a:pt x="62" y="166"/>
                    </a:cubicBezTo>
                    <a:cubicBezTo>
                      <a:pt x="56" y="172"/>
                      <a:pt x="56" y="172"/>
                      <a:pt x="56" y="172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3" y="154"/>
                      <a:pt x="51" y="140"/>
                      <a:pt x="50" y="129"/>
                    </a:cubicBezTo>
                    <a:cubicBezTo>
                      <a:pt x="50" y="124"/>
                      <a:pt x="50" y="124"/>
                      <a:pt x="50" y="124"/>
                    </a:cubicBezTo>
                    <a:cubicBezTo>
                      <a:pt x="55" y="125"/>
                      <a:pt x="55" y="125"/>
                      <a:pt x="55" y="125"/>
                    </a:cubicBezTo>
                    <a:cubicBezTo>
                      <a:pt x="64" y="127"/>
                      <a:pt x="71" y="126"/>
                      <a:pt x="75" y="121"/>
                    </a:cubicBezTo>
                    <a:cubicBezTo>
                      <a:pt x="78" y="117"/>
                      <a:pt x="79" y="113"/>
                      <a:pt x="79" y="107"/>
                    </a:cubicBezTo>
                    <a:cubicBezTo>
                      <a:pt x="79" y="92"/>
                      <a:pt x="69" y="70"/>
                      <a:pt x="62" y="59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2" y="56"/>
                      <a:pt x="62" y="56"/>
                      <a:pt x="62" y="56"/>
                    </a:cubicBezTo>
                    <a:cubicBezTo>
                      <a:pt x="69" y="38"/>
                      <a:pt x="78" y="22"/>
                      <a:pt x="90" y="7"/>
                    </a:cubicBezTo>
                    <a:cubicBezTo>
                      <a:pt x="87" y="5"/>
                      <a:pt x="83" y="2"/>
                      <a:pt x="81" y="0"/>
                    </a:cubicBezTo>
                    <a:cubicBezTo>
                      <a:pt x="44" y="44"/>
                      <a:pt x="40" y="92"/>
                      <a:pt x="40" y="110"/>
                    </a:cubicBezTo>
                    <a:close/>
                    <a:moveTo>
                      <a:pt x="55" y="113"/>
                    </a:moveTo>
                    <a:cubicBezTo>
                      <a:pt x="52" y="112"/>
                      <a:pt x="52" y="112"/>
                      <a:pt x="52" y="112"/>
                    </a:cubicBezTo>
                    <a:cubicBezTo>
                      <a:pt x="52" y="109"/>
                      <a:pt x="52" y="109"/>
                      <a:pt x="52" y="109"/>
                    </a:cubicBezTo>
                    <a:cubicBezTo>
                      <a:pt x="52" y="106"/>
                      <a:pt x="52" y="98"/>
                      <a:pt x="54" y="86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2" y="86"/>
                      <a:pt x="62" y="86"/>
                      <a:pt x="62" y="86"/>
                    </a:cubicBezTo>
                    <a:cubicBezTo>
                      <a:pt x="65" y="95"/>
                      <a:pt x="68" y="103"/>
                      <a:pt x="68" y="108"/>
                    </a:cubicBezTo>
                    <a:cubicBezTo>
                      <a:pt x="67" y="114"/>
                      <a:pt x="67" y="114"/>
                      <a:pt x="67" y="114"/>
                    </a:cubicBezTo>
                    <a:cubicBezTo>
                      <a:pt x="64" y="114"/>
                      <a:pt x="64" y="114"/>
                      <a:pt x="64" y="114"/>
                    </a:cubicBezTo>
                    <a:cubicBezTo>
                      <a:pt x="63" y="114"/>
                      <a:pt x="60" y="114"/>
                      <a:pt x="55" y="113"/>
                    </a:cubicBezTo>
                    <a:close/>
                    <a:moveTo>
                      <a:pt x="36" y="354"/>
                    </a:moveTo>
                    <a:cubicBezTo>
                      <a:pt x="36" y="354"/>
                      <a:pt x="36" y="354"/>
                      <a:pt x="36" y="354"/>
                    </a:cubicBezTo>
                    <a:cubicBezTo>
                      <a:pt x="26" y="352"/>
                      <a:pt x="13" y="345"/>
                      <a:pt x="11" y="322"/>
                    </a:cubicBezTo>
                    <a:cubicBezTo>
                      <a:pt x="11" y="322"/>
                      <a:pt x="10" y="311"/>
                      <a:pt x="10" y="311"/>
                    </a:cubicBezTo>
                    <a:cubicBezTo>
                      <a:pt x="10" y="281"/>
                      <a:pt x="24" y="239"/>
                      <a:pt x="46" y="204"/>
                    </a:cubicBezTo>
                    <a:cubicBezTo>
                      <a:pt x="51" y="195"/>
                      <a:pt x="51" y="195"/>
                      <a:pt x="51" y="195"/>
                    </a:cubicBezTo>
                    <a:cubicBezTo>
                      <a:pt x="53" y="205"/>
                      <a:pt x="53" y="205"/>
                      <a:pt x="53" y="205"/>
                    </a:cubicBezTo>
                    <a:cubicBezTo>
                      <a:pt x="59" y="241"/>
                      <a:pt x="65" y="278"/>
                      <a:pt x="65" y="306"/>
                    </a:cubicBezTo>
                    <a:cubicBezTo>
                      <a:pt x="65" y="328"/>
                      <a:pt x="62" y="342"/>
                      <a:pt x="55" y="349"/>
                    </a:cubicBezTo>
                    <a:cubicBezTo>
                      <a:pt x="50" y="354"/>
                      <a:pt x="44" y="355"/>
                      <a:pt x="36" y="35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69" name="Freeform 10"/>
              <p:cNvSpPr/>
              <p:nvPr/>
            </p:nvSpPr>
            <p:spPr bwMode="auto">
              <a:xfrm>
                <a:off x="6308726" y="-2268538"/>
                <a:ext cx="319088" cy="274638"/>
              </a:xfrm>
              <a:custGeom>
                <a:avLst/>
                <a:gdLst>
                  <a:gd name="T0" fmla="*/ 2147483646 w 85"/>
                  <a:gd name="T1" fmla="*/ 2147483646 h 73"/>
                  <a:gd name="T2" fmla="*/ 0 w 85"/>
                  <a:gd name="T3" fmla="*/ 2147483646 h 73"/>
                  <a:gd name="T4" fmla="*/ 0 w 85"/>
                  <a:gd name="T5" fmla="*/ 2147483646 h 73"/>
                  <a:gd name="T6" fmla="*/ 2147483646 w 85"/>
                  <a:gd name="T7" fmla="*/ 0 h 73"/>
                  <a:gd name="T8" fmla="*/ 2147483646 w 85"/>
                  <a:gd name="T9" fmla="*/ 0 h 73"/>
                  <a:gd name="T10" fmla="*/ 2147483646 w 85"/>
                  <a:gd name="T11" fmla="*/ 2147483646 h 73"/>
                  <a:gd name="T12" fmla="*/ 2147483646 w 85"/>
                  <a:gd name="T13" fmla="*/ 2147483646 h 73"/>
                  <a:gd name="T14" fmla="*/ 2147483646 w 85"/>
                  <a:gd name="T15" fmla="*/ 2147483646 h 73"/>
                  <a:gd name="T16" fmla="*/ 2147483646 w 85"/>
                  <a:gd name="T17" fmla="*/ 2147483646 h 73"/>
                  <a:gd name="T18" fmla="*/ 2147483646 w 85"/>
                  <a:gd name="T19" fmla="*/ 2147483646 h 73"/>
                  <a:gd name="T20" fmla="*/ 2147483646 w 85"/>
                  <a:gd name="T21" fmla="*/ 2147483646 h 7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5" h="73">
                    <a:moveTo>
                      <a:pt x="7" y="73"/>
                    </a:moveTo>
                    <a:cubicBezTo>
                      <a:pt x="3" y="73"/>
                      <a:pt x="0" y="70"/>
                      <a:pt x="0" y="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2" y="0"/>
                      <a:pt x="85" y="3"/>
                      <a:pt x="85" y="7"/>
                    </a:cubicBezTo>
                    <a:cubicBezTo>
                      <a:pt x="85" y="10"/>
                      <a:pt x="82" y="13"/>
                      <a:pt x="79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9" y="13"/>
                      <a:pt x="13" y="18"/>
                      <a:pt x="13" y="25"/>
                    </a:cubicBezTo>
                    <a:cubicBezTo>
                      <a:pt x="13" y="67"/>
                      <a:pt x="13" y="67"/>
                      <a:pt x="13" y="67"/>
                    </a:cubicBezTo>
                    <a:cubicBezTo>
                      <a:pt x="13" y="70"/>
                      <a:pt x="10" y="73"/>
                      <a:pt x="7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0737" name="组合 131"/>
          <p:cNvGrpSpPr/>
          <p:nvPr/>
        </p:nvGrpSpPr>
        <p:grpSpPr bwMode="auto">
          <a:xfrm>
            <a:off x="5886450" y="1063625"/>
            <a:ext cx="1265238" cy="1511300"/>
            <a:chOff x="5886767" y="1189646"/>
            <a:chExt cx="1264397" cy="1509923"/>
          </a:xfrm>
        </p:grpSpPr>
        <p:sp>
          <p:nvSpPr>
            <p:cNvPr id="133" name="矩形 132"/>
            <p:cNvSpPr/>
            <p:nvPr/>
          </p:nvSpPr>
          <p:spPr>
            <a:xfrm>
              <a:off x="5886767" y="1189646"/>
              <a:ext cx="1264397" cy="1509923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矩形 133"/>
            <p:cNvSpPr/>
            <p:nvPr/>
          </p:nvSpPr>
          <p:spPr>
            <a:xfrm>
              <a:off x="5964503" y="1261019"/>
              <a:ext cx="1108924" cy="36955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0753" name="组合 137"/>
            <p:cNvGrpSpPr/>
            <p:nvPr/>
          </p:nvGrpSpPr>
          <p:grpSpPr bwMode="auto">
            <a:xfrm>
              <a:off x="6067622" y="1690839"/>
              <a:ext cx="902687" cy="904050"/>
              <a:chOff x="8836548" y="-2975446"/>
              <a:chExt cx="2575469" cy="2579358"/>
            </a:xfrm>
          </p:grpSpPr>
          <p:sp>
            <p:nvSpPr>
              <p:cNvPr id="136" name="Freeform 11"/>
              <p:cNvSpPr/>
              <p:nvPr/>
            </p:nvSpPr>
            <p:spPr bwMode="auto">
              <a:xfrm>
                <a:off x="8836548" y="-2975446"/>
                <a:ext cx="2575469" cy="2579358"/>
              </a:xfrm>
              <a:custGeom>
                <a:avLst/>
                <a:gdLst>
                  <a:gd name="T0" fmla="*/ 687 w 687"/>
                  <a:gd name="T1" fmla="*/ 625 h 687"/>
                  <a:gd name="T2" fmla="*/ 625 w 687"/>
                  <a:gd name="T3" fmla="*/ 687 h 687"/>
                  <a:gd name="T4" fmla="*/ 63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3 w 687"/>
                  <a:gd name="T11" fmla="*/ 0 h 687"/>
                  <a:gd name="T12" fmla="*/ 625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5" y="687"/>
                    </a:cubicBezTo>
                    <a:cubicBezTo>
                      <a:pt x="63" y="687"/>
                      <a:pt x="63" y="687"/>
                      <a:pt x="63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625" y="0"/>
                      <a:pt x="625" y="0"/>
                      <a:pt x="625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0757" name="Freeform 13"/>
              <p:cNvSpPr>
                <a:spLocks noEditPoints="1"/>
              </p:cNvSpPr>
              <p:nvPr/>
            </p:nvSpPr>
            <p:spPr bwMode="auto">
              <a:xfrm>
                <a:off x="9818688" y="-2032000"/>
                <a:ext cx="1042988" cy="1249363"/>
              </a:xfrm>
              <a:custGeom>
                <a:avLst/>
                <a:gdLst>
                  <a:gd name="T0" fmla="*/ 2147483646 w 278"/>
                  <a:gd name="T1" fmla="*/ 2147483646 h 333"/>
                  <a:gd name="T2" fmla="*/ 2147483646 w 278"/>
                  <a:gd name="T3" fmla="*/ 2147483646 h 333"/>
                  <a:gd name="T4" fmla="*/ 2147483646 w 278"/>
                  <a:gd name="T5" fmla="*/ 2147483646 h 333"/>
                  <a:gd name="T6" fmla="*/ 2147483646 w 278"/>
                  <a:gd name="T7" fmla="*/ 2147483646 h 333"/>
                  <a:gd name="T8" fmla="*/ 2147483646 w 278"/>
                  <a:gd name="T9" fmla="*/ 2147483646 h 333"/>
                  <a:gd name="T10" fmla="*/ 2147483646 w 278"/>
                  <a:gd name="T11" fmla="*/ 2147483646 h 333"/>
                  <a:gd name="T12" fmla="*/ 2147483646 w 278"/>
                  <a:gd name="T13" fmla="*/ 2147483646 h 333"/>
                  <a:gd name="T14" fmla="*/ 2147483646 w 278"/>
                  <a:gd name="T15" fmla="*/ 2147483646 h 333"/>
                  <a:gd name="T16" fmla="*/ 2147483646 w 278"/>
                  <a:gd name="T17" fmla="*/ 2147483646 h 333"/>
                  <a:gd name="T18" fmla="*/ 2147483646 w 278"/>
                  <a:gd name="T19" fmla="*/ 2147483646 h 333"/>
                  <a:gd name="T20" fmla="*/ 2147483646 w 278"/>
                  <a:gd name="T21" fmla="*/ 2147483646 h 333"/>
                  <a:gd name="T22" fmla="*/ 2147483646 w 278"/>
                  <a:gd name="T23" fmla="*/ 2147483646 h 333"/>
                  <a:gd name="T24" fmla="*/ 2147483646 w 278"/>
                  <a:gd name="T25" fmla="*/ 2147483646 h 333"/>
                  <a:gd name="T26" fmla="*/ 2147483646 w 278"/>
                  <a:gd name="T27" fmla="*/ 2147483646 h 333"/>
                  <a:gd name="T28" fmla="*/ 2147483646 w 278"/>
                  <a:gd name="T29" fmla="*/ 2147483646 h 333"/>
                  <a:gd name="T30" fmla="*/ 2147483646 w 278"/>
                  <a:gd name="T31" fmla="*/ 2147483646 h 333"/>
                  <a:gd name="T32" fmla="*/ 2147483646 w 278"/>
                  <a:gd name="T33" fmla="*/ 0 h 333"/>
                  <a:gd name="T34" fmla="*/ 2147483646 w 278"/>
                  <a:gd name="T35" fmla="*/ 2147483646 h 333"/>
                  <a:gd name="T36" fmla="*/ 2147483646 w 278"/>
                  <a:gd name="T37" fmla="*/ 2147483646 h 333"/>
                  <a:gd name="T38" fmla="*/ 2147483646 w 278"/>
                  <a:gd name="T39" fmla="*/ 0 h 333"/>
                  <a:gd name="T40" fmla="*/ 2147483646 w 278"/>
                  <a:gd name="T41" fmla="*/ 2147483646 h 333"/>
                  <a:gd name="T42" fmla="*/ 2147483646 w 278"/>
                  <a:gd name="T43" fmla="*/ 2147483646 h 333"/>
                  <a:gd name="T44" fmla="*/ 2147483646 w 278"/>
                  <a:gd name="T45" fmla="*/ 2147483646 h 333"/>
                  <a:gd name="T46" fmla="*/ 0 w 278"/>
                  <a:gd name="T47" fmla="*/ 2147483646 h 333"/>
                  <a:gd name="T48" fmla="*/ 2147483646 w 278"/>
                  <a:gd name="T49" fmla="*/ 2147483646 h 333"/>
                  <a:gd name="T50" fmla="*/ 2147483646 w 278"/>
                  <a:gd name="T51" fmla="*/ 2147483646 h 333"/>
                  <a:gd name="T52" fmla="*/ 2147483646 w 278"/>
                  <a:gd name="T53" fmla="*/ 2147483646 h 333"/>
                  <a:gd name="T54" fmla="*/ 2147483646 w 278"/>
                  <a:gd name="T55" fmla="*/ 2147483646 h 333"/>
                  <a:gd name="T56" fmla="*/ 2147483646 w 278"/>
                  <a:gd name="T57" fmla="*/ 2147483646 h 333"/>
                  <a:gd name="T58" fmla="*/ 2147483646 w 278"/>
                  <a:gd name="T59" fmla="*/ 2147483646 h 333"/>
                  <a:gd name="T60" fmla="*/ 2147483646 w 278"/>
                  <a:gd name="T61" fmla="*/ 2147483646 h 333"/>
                  <a:gd name="T62" fmla="*/ 2147483646 w 278"/>
                  <a:gd name="T63" fmla="*/ 2147483646 h 333"/>
                  <a:gd name="T64" fmla="*/ 2147483646 w 278"/>
                  <a:gd name="T65" fmla="*/ 2147483646 h 333"/>
                  <a:gd name="T66" fmla="*/ 2147483646 w 278"/>
                  <a:gd name="T67" fmla="*/ 2147483646 h 333"/>
                  <a:gd name="T68" fmla="*/ 2147483646 w 278"/>
                  <a:gd name="T69" fmla="*/ 2147483646 h 333"/>
                  <a:gd name="T70" fmla="*/ 2147483646 w 278"/>
                  <a:gd name="T71" fmla="*/ 2147483646 h 333"/>
                  <a:gd name="T72" fmla="*/ 2147483646 w 278"/>
                  <a:gd name="T73" fmla="*/ 2147483646 h 333"/>
                  <a:gd name="T74" fmla="*/ 2147483646 w 278"/>
                  <a:gd name="T75" fmla="*/ 2147483646 h 333"/>
                  <a:gd name="T76" fmla="*/ 2147483646 w 278"/>
                  <a:gd name="T77" fmla="*/ 2147483646 h 333"/>
                  <a:gd name="T78" fmla="*/ 2147483646 w 278"/>
                  <a:gd name="T79" fmla="*/ 2147483646 h 333"/>
                  <a:gd name="T80" fmla="*/ 2147483646 w 278"/>
                  <a:gd name="T81" fmla="*/ 2147483646 h 333"/>
                  <a:gd name="T82" fmla="*/ 2147483646 w 278"/>
                  <a:gd name="T83" fmla="*/ 2147483646 h 333"/>
                  <a:gd name="T84" fmla="*/ 2147483646 w 278"/>
                  <a:gd name="T85" fmla="*/ 2147483646 h 333"/>
                  <a:gd name="T86" fmla="*/ 2147483646 w 278"/>
                  <a:gd name="T87" fmla="*/ 2147483646 h 333"/>
                  <a:gd name="T88" fmla="*/ 2147483646 w 278"/>
                  <a:gd name="T89" fmla="*/ 2147483646 h 333"/>
                  <a:gd name="T90" fmla="*/ 2147483646 w 278"/>
                  <a:gd name="T91" fmla="*/ 2147483646 h 333"/>
                  <a:gd name="T92" fmla="*/ 2147483646 w 278"/>
                  <a:gd name="T93" fmla="*/ 2147483646 h 333"/>
                  <a:gd name="T94" fmla="*/ 2147483646 w 278"/>
                  <a:gd name="T95" fmla="*/ 2147483646 h 33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278" h="333">
                    <a:moveTo>
                      <a:pt x="13" y="302"/>
                    </a:moveTo>
                    <a:cubicBezTo>
                      <a:pt x="36" y="302"/>
                      <a:pt x="36" y="302"/>
                      <a:pt x="36" y="302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13" y="172"/>
                      <a:pt x="13" y="172"/>
                      <a:pt x="13" y="172"/>
                    </a:cubicBezTo>
                    <a:lnTo>
                      <a:pt x="13" y="302"/>
                    </a:lnTo>
                    <a:close/>
                    <a:moveTo>
                      <a:pt x="127" y="243"/>
                    </a:moveTo>
                    <a:cubicBezTo>
                      <a:pt x="127" y="333"/>
                      <a:pt x="127" y="333"/>
                      <a:pt x="127" y="333"/>
                    </a:cubicBezTo>
                    <a:cubicBezTo>
                      <a:pt x="155" y="333"/>
                      <a:pt x="155" y="333"/>
                      <a:pt x="155" y="333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41" y="192"/>
                      <a:pt x="141" y="192"/>
                      <a:pt x="141" y="192"/>
                    </a:cubicBezTo>
                    <a:lnTo>
                      <a:pt x="127" y="243"/>
                    </a:lnTo>
                    <a:close/>
                    <a:moveTo>
                      <a:pt x="240" y="300"/>
                    </a:moveTo>
                    <a:cubicBezTo>
                      <a:pt x="263" y="300"/>
                      <a:pt x="263" y="300"/>
                      <a:pt x="263" y="300"/>
                    </a:cubicBezTo>
                    <a:cubicBezTo>
                      <a:pt x="263" y="170"/>
                      <a:pt x="263" y="170"/>
                      <a:pt x="263" y="170"/>
                    </a:cubicBezTo>
                    <a:cubicBezTo>
                      <a:pt x="240" y="222"/>
                      <a:pt x="240" y="222"/>
                      <a:pt x="240" y="222"/>
                    </a:cubicBezTo>
                    <a:lnTo>
                      <a:pt x="240" y="300"/>
                    </a:lnTo>
                    <a:close/>
                    <a:moveTo>
                      <a:pt x="139" y="0"/>
                    </a:moveTo>
                    <a:cubicBezTo>
                      <a:pt x="121" y="0"/>
                      <a:pt x="105" y="3"/>
                      <a:pt x="89" y="9"/>
                    </a:cubicBezTo>
                    <a:cubicBezTo>
                      <a:pt x="188" y="9"/>
                      <a:pt x="188" y="9"/>
                      <a:pt x="188" y="9"/>
                    </a:cubicBezTo>
                    <a:cubicBezTo>
                      <a:pt x="173" y="3"/>
                      <a:pt x="156" y="0"/>
                      <a:pt x="139" y="0"/>
                    </a:cubicBezTo>
                    <a:close/>
                    <a:moveTo>
                      <a:pt x="278" y="139"/>
                    </a:moveTo>
                    <a:cubicBezTo>
                      <a:pt x="278" y="87"/>
                      <a:pt x="250" y="43"/>
                      <a:pt x="208" y="19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28" y="43"/>
                      <a:pt x="0" y="87"/>
                      <a:pt x="0" y="139"/>
                    </a:cubicBezTo>
                    <a:cubicBezTo>
                      <a:pt x="0" y="153"/>
                      <a:pt x="2" y="167"/>
                      <a:pt x="6" y="181"/>
                    </a:cubicBezTo>
                    <a:cubicBezTo>
                      <a:pt x="6" y="172"/>
                      <a:pt x="6" y="172"/>
                      <a:pt x="6" y="172"/>
                    </a:cubicBezTo>
                    <a:cubicBezTo>
                      <a:pt x="6" y="169"/>
                      <a:pt x="8" y="166"/>
                      <a:pt x="11" y="166"/>
                    </a:cubicBezTo>
                    <a:cubicBezTo>
                      <a:pt x="15" y="165"/>
                      <a:pt x="18" y="167"/>
                      <a:pt x="19" y="170"/>
                    </a:cubicBezTo>
                    <a:cubicBezTo>
                      <a:pt x="42" y="222"/>
                      <a:pt x="42" y="222"/>
                      <a:pt x="42" y="222"/>
                    </a:cubicBezTo>
                    <a:cubicBezTo>
                      <a:pt x="42" y="222"/>
                      <a:pt x="43" y="223"/>
                      <a:pt x="43" y="224"/>
                    </a:cubicBezTo>
                    <a:cubicBezTo>
                      <a:pt x="43" y="239"/>
                      <a:pt x="43" y="239"/>
                      <a:pt x="43" y="239"/>
                    </a:cubicBezTo>
                    <a:cubicBezTo>
                      <a:pt x="63" y="259"/>
                      <a:pt x="90" y="273"/>
                      <a:pt x="120" y="277"/>
                    </a:cubicBezTo>
                    <a:cubicBezTo>
                      <a:pt x="120" y="243"/>
                      <a:pt x="120" y="243"/>
                      <a:pt x="120" y="243"/>
                    </a:cubicBezTo>
                    <a:cubicBezTo>
                      <a:pt x="120" y="242"/>
                      <a:pt x="120" y="241"/>
                      <a:pt x="121" y="241"/>
                    </a:cubicBezTo>
                    <a:cubicBezTo>
                      <a:pt x="135" y="190"/>
                      <a:pt x="135" y="190"/>
                      <a:pt x="135" y="190"/>
                    </a:cubicBezTo>
                    <a:cubicBezTo>
                      <a:pt x="135" y="187"/>
                      <a:pt x="138" y="185"/>
                      <a:pt x="141" y="185"/>
                    </a:cubicBezTo>
                    <a:cubicBezTo>
                      <a:pt x="144" y="185"/>
                      <a:pt x="147" y="187"/>
                      <a:pt x="147" y="190"/>
                    </a:cubicBezTo>
                    <a:cubicBezTo>
                      <a:pt x="161" y="241"/>
                      <a:pt x="161" y="241"/>
                      <a:pt x="161" y="241"/>
                    </a:cubicBezTo>
                    <a:cubicBezTo>
                      <a:pt x="162" y="241"/>
                      <a:pt x="162" y="242"/>
                      <a:pt x="162" y="243"/>
                    </a:cubicBezTo>
                    <a:cubicBezTo>
                      <a:pt x="162" y="276"/>
                      <a:pt x="162" y="276"/>
                      <a:pt x="162" y="276"/>
                    </a:cubicBezTo>
                    <a:cubicBezTo>
                      <a:pt x="189" y="271"/>
                      <a:pt x="214" y="259"/>
                      <a:pt x="233" y="241"/>
                    </a:cubicBezTo>
                    <a:cubicBezTo>
                      <a:pt x="233" y="222"/>
                      <a:pt x="233" y="222"/>
                      <a:pt x="233" y="222"/>
                    </a:cubicBezTo>
                    <a:cubicBezTo>
                      <a:pt x="233" y="221"/>
                      <a:pt x="234" y="220"/>
                      <a:pt x="234" y="219"/>
                    </a:cubicBezTo>
                    <a:cubicBezTo>
                      <a:pt x="257" y="167"/>
                      <a:pt x="257" y="167"/>
                      <a:pt x="257" y="167"/>
                    </a:cubicBezTo>
                    <a:cubicBezTo>
                      <a:pt x="258" y="164"/>
                      <a:pt x="261" y="163"/>
                      <a:pt x="265" y="163"/>
                    </a:cubicBezTo>
                    <a:cubicBezTo>
                      <a:pt x="268" y="164"/>
                      <a:pt x="270" y="167"/>
                      <a:pt x="270" y="170"/>
                    </a:cubicBezTo>
                    <a:cubicBezTo>
                      <a:pt x="270" y="186"/>
                      <a:pt x="270" y="186"/>
                      <a:pt x="270" y="186"/>
                    </a:cubicBezTo>
                    <a:cubicBezTo>
                      <a:pt x="275" y="171"/>
                      <a:pt x="278" y="155"/>
                      <a:pt x="278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58" name="Freeform 14"/>
              <p:cNvSpPr/>
              <p:nvPr/>
            </p:nvSpPr>
            <p:spPr bwMode="auto">
              <a:xfrm>
                <a:off x="9956801" y="-2455863"/>
                <a:ext cx="49213" cy="209550"/>
              </a:xfrm>
              <a:custGeom>
                <a:avLst/>
                <a:gdLst>
                  <a:gd name="T0" fmla="*/ 2147483646 w 13"/>
                  <a:gd name="T1" fmla="*/ 2147483646 h 56"/>
                  <a:gd name="T2" fmla="*/ 2147483646 w 13"/>
                  <a:gd name="T3" fmla="*/ 2147483646 h 56"/>
                  <a:gd name="T4" fmla="*/ 2147483646 w 13"/>
                  <a:gd name="T5" fmla="*/ 2147483646 h 56"/>
                  <a:gd name="T6" fmla="*/ 0 w 13"/>
                  <a:gd name="T7" fmla="*/ 2147483646 h 56"/>
                  <a:gd name="T8" fmla="*/ 0 w 13"/>
                  <a:gd name="T9" fmla="*/ 2147483646 h 56"/>
                  <a:gd name="T10" fmla="*/ 2147483646 w 13"/>
                  <a:gd name="T11" fmla="*/ 0 h 56"/>
                  <a:gd name="T12" fmla="*/ 2147483646 w 13"/>
                  <a:gd name="T13" fmla="*/ 0 h 56"/>
                  <a:gd name="T14" fmla="*/ 2147483646 w 13"/>
                  <a:gd name="T15" fmla="*/ 2147483646 h 56"/>
                  <a:gd name="T16" fmla="*/ 2147483646 w 13"/>
                  <a:gd name="T17" fmla="*/ 2147483646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56">
                    <a:moveTo>
                      <a:pt x="13" y="52"/>
                    </a:moveTo>
                    <a:cubicBezTo>
                      <a:pt x="13" y="54"/>
                      <a:pt x="10" y="56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3" y="56"/>
                      <a:pt x="0" y="54"/>
                      <a:pt x="0" y="5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0" y="0"/>
                      <a:pt x="13" y="2"/>
                      <a:pt x="13" y="4"/>
                    </a:cubicBezTo>
                    <a:lnTo>
                      <a:pt x="13" y="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59" name="Freeform 15"/>
              <p:cNvSpPr>
                <a:spLocks noEditPoints="1"/>
              </p:cNvSpPr>
              <p:nvPr/>
            </p:nvSpPr>
            <p:spPr bwMode="auto">
              <a:xfrm>
                <a:off x="9110663" y="-2417763"/>
                <a:ext cx="1304925" cy="1428750"/>
              </a:xfrm>
              <a:custGeom>
                <a:avLst/>
                <a:gdLst>
                  <a:gd name="T0" fmla="*/ 2147483646 w 348"/>
                  <a:gd name="T1" fmla="*/ 2147483646 h 381"/>
                  <a:gd name="T2" fmla="*/ 2147483646 w 348"/>
                  <a:gd name="T3" fmla="*/ 2147483646 h 381"/>
                  <a:gd name="T4" fmla="*/ 2147483646 w 348"/>
                  <a:gd name="T5" fmla="*/ 2147483646 h 381"/>
                  <a:gd name="T6" fmla="*/ 2147483646 w 348"/>
                  <a:gd name="T7" fmla="*/ 2147483646 h 381"/>
                  <a:gd name="T8" fmla="*/ 0 w 348"/>
                  <a:gd name="T9" fmla="*/ 2147483646 h 381"/>
                  <a:gd name="T10" fmla="*/ 0 w 348"/>
                  <a:gd name="T11" fmla="*/ 2147483646 h 381"/>
                  <a:gd name="T12" fmla="*/ 2147483646 w 348"/>
                  <a:gd name="T13" fmla="*/ 2147483646 h 381"/>
                  <a:gd name="T14" fmla="*/ 2147483646 w 348"/>
                  <a:gd name="T15" fmla="*/ 2147483646 h 381"/>
                  <a:gd name="T16" fmla="*/ 2147483646 w 348"/>
                  <a:gd name="T17" fmla="*/ 2147483646 h 381"/>
                  <a:gd name="T18" fmla="*/ 2147483646 w 348"/>
                  <a:gd name="T19" fmla="*/ 2147483646 h 381"/>
                  <a:gd name="T20" fmla="*/ 2147483646 w 348"/>
                  <a:gd name="T21" fmla="*/ 2147483646 h 381"/>
                  <a:gd name="T22" fmla="*/ 2147483646 w 348"/>
                  <a:gd name="T23" fmla="*/ 0 h 381"/>
                  <a:gd name="T24" fmla="*/ 2147483646 w 348"/>
                  <a:gd name="T25" fmla="*/ 0 h 381"/>
                  <a:gd name="T26" fmla="*/ 2147483646 w 348"/>
                  <a:gd name="T27" fmla="*/ 2147483646 h 381"/>
                  <a:gd name="T28" fmla="*/ 2147483646 w 348"/>
                  <a:gd name="T29" fmla="*/ 2147483646 h 381"/>
                  <a:gd name="T30" fmla="*/ 2147483646 w 348"/>
                  <a:gd name="T31" fmla="*/ 2147483646 h 381"/>
                  <a:gd name="T32" fmla="*/ 2147483646 w 348"/>
                  <a:gd name="T33" fmla="*/ 2147483646 h 381"/>
                  <a:gd name="T34" fmla="*/ 2147483646 w 348"/>
                  <a:gd name="T35" fmla="*/ 2147483646 h 381"/>
                  <a:gd name="T36" fmla="*/ 2147483646 w 348"/>
                  <a:gd name="T37" fmla="*/ 2147483646 h 381"/>
                  <a:gd name="T38" fmla="*/ 2147483646 w 348"/>
                  <a:gd name="T39" fmla="*/ 2147483646 h 381"/>
                  <a:gd name="T40" fmla="*/ 2147483646 w 348"/>
                  <a:gd name="T41" fmla="*/ 0 h 381"/>
                  <a:gd name="T42" fmla="*/ 2147483646 w 348"/>
                  <a:gd name="T43" fmla="*/ 2147483646 h 381"/>
                  <a:gd name="T44" fmla="*/ 2147483646 w 348"/>
                  <a:gd name="T45" fmla="*/ 2147483646 h 381"/>
                  <a:gd name="T46" fmla="*/ 2147483646 w 348"/>
                  <a:gd name="T47" fmla="*/ 2147483646 h 381"/>
                  <a:gd name="T48" fmla="*/ 2147483646 w 348"/>
                  <a:gd name="T49" fmla="*/ 2147483646 h 381"/>
                  <a:gd name="T50" fmla="*/ 2147483646 w 348"/>
                  <a:gd name="T51" fmla="*/ 0 h 381"/>
                  <a:gd name="T52" fmla="*/ 2147483646 w 348"/>
                  <a:gd name="T53" fmla="*/ 0 h 381"/>
                  <a:gd name="T54" fmla="*/ 2147483646 w 348"/>
                  <a:gd name="T55" fmla="*/ 2147483646 h 38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348" h="381">
                    <a:moveTo>
                      <a:pt x="130" y="310"/>
                    </a:moveTo>
                    <a:cubicBezTo>
                      <a:pt x="130" y="327"/>
                      <a:pt x="118" y="340"/>
                      <a:pt x="102" y="342"/>
                    </a:cubicBezTo>
                    <a:cubicBezTo>
                      <a:pt x="92" y="351"/>
                      <a:pt x="80" y="355"/>
                      <a:pt x="68" y="355"/>
                    </a:cubicBezTo>
                    <a:cubicBezTo>
                      <a:pt x="55" y="355"/>
                      <a:pt x="43" y="350"/>
                      <a:pt x="33" y="342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98" y="381"/>
                      <a:pt x="98" y="381"/>
                      <a:pt x="98" y="381"/>
                    </a:cubicBezTo>
                    <a:cubicBezTo>
                      <a:pt x="137" y="381"/>
                      <a:pt x="168" y="349"/>
                      <a:pt x="168" y="310"/>
                    </a:cubicBezTo>
                    <a:cubicBezTo>
                      <a:pt x="168" y="93"/>
                      <a:pt x="168" y="93"/>
                      <a:pt x="168" y="93"/>
                    </a:cubicBezTo>
                    <a:cubicBezTo>
                      <a:pt x="130" y="93"/>
                      <a:pt x="130" y="93"/>
                      <a:pt x="130" y="93"/>
                    </a:cubicBezTo>
                    <a:lnTo>
                      <a:pt x="130" y="310"/>
                    </a:lnTo>
                    <a:close/>
                    <a:moveTo>
                      <a:pt x="278" y="0"/>
                    </a:moveTo>
                    <a:cubicBezTo>
                      <a:pt x="248" y="0"/>
                      <a:pt x="248" y="0"/>
                      <a:pt x="248" y="0"/>
                    </a:cubicBezTo>
                    <a:cubicBezTo>
                      <a:pt x="248" y="38"/>
                      <a:pt x="248" y="38"/>
                      <a:pt x="248" y="38"/>
                    </a:cubicBezTo>
                    <a:cubicBezTo>
                      <a:pt x="278" y="38"/>
                      <a:pt x="278" y="38"/>
                      <a:pt x="278" y="38"/>
                    </a:cubicBezTo>
                    <a:cubicBezTo>
                      <a:pt x="295" y="38"/>
                      <a:pt x="310" y="53"/>
                      <a:pt x="310" y="70"/>
                    </a:cubicBezTo>
                    <a:cubicBezTo>
                      <a:pt x="310" y="97"/>
                      <a:pt x="310" y="97"/>
                      <a:pt x="310" y="97"/>
                    </a:cubicBezTo>
                    <a:cubicBezTo>
                      <a:pt x="315" y="96"/>
                      <a:pt x="321" y="96"/>
                      <a:pt x="327" y="96"/>
                    </a:cubicBezTo>
                    <a:cubicBezTo>
                      <a:pt x="334" y="96"/>
                      <a:pt x="341" y="96"/>
                      <a:pt x="348" y="97"/>
                    </a:cubicBezTo>
                    <a:cubicBezTo>
                      <a:pt x="348" y="70"/>
                      <a:pt x="348" y="70"/>
                      <a:pt x="348" y="70"/>
                    </a:cubicBezTo>
                    <a:cubicBezTo>
                      <a:pt x="348" y="31"/>
                      <a:pt x="317" y="0"/>
                      <a:pt x="278" y="0"/>
                    </a:cubicBezTo>
                    <a:close/>
                    <a:moveTo>
                      <a:pt x="130" y="63"/>
                    </a:moveTo>
                    <a:cubicBezTo>
                      <a:pt x="169" y="63"/>
                      <a:pt x="169" y="63"/>
                      <a:pt x="169" y="63"/>
                    </a:cubicBezTo>
                    <a:cubicBezTo>
                      <a:pt x="173" y="49"/>
                      <a:pt x="185" y="38"/>
                      <a:pt x="200" y="38"/>
                    </a:cubicBezTo>
                    <a:cubicBezTo>
                      <a:pt x="217" y="38"/>
                      <a:pt x="217" y="38"/>
                      <a:pt x="217" y="38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164" y="0"/>
                      <a:pt x="134" y="27"/>
                      <a:pt x="130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60" name="Freeform 16"/>
              <p:cNvSpPr/>
              <p:nvPr/>
            </p:nvSpPr>
            <p:spPr bwMode="auto">
              <a:xfrm>
                <a:off x="9563101" y="-2147888"/>
                <a:ext cx="211138" cy="44450"/>
              </a:xfrm>
              <a:custGeom>
                <a:avLst/>
                <a:gdLst>
                  <a:gd name="T0" fmla="*/ 2147483646 w 56"/>
                  <a:gd name="T1" fmla="*/ 2147483646 h 12"/>
                  <a:gd name="T2" fmla="*/ 0 w 56"/>
                  <a:gd name="T3" fmla="*/ 2147483646 h 12"/>
                  <a:gd name="T4" fmla="*/ 0 w 56"/>
                  <a:gd name="T5" fmla="*/ 2147483646 h 12"/>
                  <a:gd name="T6" fmla="*/ 2147483646 w 56"/>
                  <a:gd name="T7" fmla="*/ 0 h 12"/>
                  <a:gd name="T8" fmla="*/ 2147483646 w 56"/>
                  <a:gd name="T9" fmla="*/ 0 h 12"/>
                  <a:gd name="T10" fmla="*/ 2147483646 w 56"/>
                  <a:gd name="T11" fmla="*/ 2147483646 h 12"/>
                  <a:gd name="T12" fmla="*/ 2147483646 w 56"/>
                  <a:gd name="T13" fmla="*/ 2147483646 h 12"/>
                  <a:gd name="T14" fmla="*/ 2147483646 w 56"/>
                  <a:gd name="T15" fmla="*/ 2147483646 h 12"/>
                  <a:gd name="T16" fmla="*/ 2147483646 w 56"/>
                  <a:gd name="T17" fmla="*/ 2147483646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6" h="12">
                    <a:moveTo>
                      <a:pt x="3" y="12"/>
                    </a:moveTo>
                    <a:cubicBezTo>
                      <a:pt x="1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1" y="0"/>
                      <a:pt x="3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6" y="3"/>
                      <a:pt x="56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9"/>
                      <a:pt x="54" y="12"/>
                      <a:pt x="52" y="12"/>
                    </a:cubicBez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61" name="Freeform 17"/>
              <p:cNvSpPr/>
              <p:nvPr/>
            </p:nvSpPr>
            <p:spPr bwMode="auto">
              <a:xfrm>
                <a:off x="9091613" y="-1169988"/>
                <a:ext cx="44450" cy="203200"/>
              </a:xfrm>
              <a:custGeom>
                <a:avLst/>
                <a:gdLst>
                  <a:gd name="T0" fmla="*/ 2147483646 w 12"/>
                  <a:gd name="T1" fmla="*/ 2147483646 h 54"/>
                  <a:gd name="T2" fmla="*/ 2147483646 w 12"/>
                  <a:gd name="T3" fmla="*/ 2147483646 h 54"/>
                  <a:gd name="T4" fmla="*/ 2147483646 w 12"/>
                  <a:gd name="T5" fmla="*/ 2147483646 h 54"/>
                  <a:gd name="T6" fmla="*/ 0 w 12"/>
                  <a:gd name="T7" fmla="*/ 2147483646 h 54"/>
                  <a:gd name="T8" fmla="*/ 0 w 12"/>
                  <a:gd name="T9" fmla="*/ 2147483646 h 54"/>
                  <a:gd name="T10" fmla="*/ 2147483646 w 12"/>
                  <a:gd name="T11" fmla="*/ 0 h 54"/>
                  <a:gd name="T12" fmla="*/ 2147483646 w 12"/>
                  <a:gd name="T13" fmla="*/ 0 h 54"/>
                  <a:gd name="T14" fmla="*/ 2147483646 w 12"/>
                  <a:gd name="T15" fmla="*/ 2147483646 h 54"/>
                  <a:gd name="T16" fmla="*/ 2147483646 w 12"/>
                  <a:gd name="T17" fmla="*/ 2147483646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54">
                    <a:moveTo>
                      <a:pt x="12" y="48"/>
                    </a:moveTo>
                    <a:cubicBezTo>
                      <a:pt x="12" y="51"/>
                      <a:pt x="9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3" y="54"/>
                      <a:pt x="0" y="51"/>
                      <a:pt x="0" y="4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lnTo>
                      <a:pt x="12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62" name="Freeform 18"/>
              <p:cNvSpPr>
                <a:spLocks noEditPoints="1"/>
              </p:cNvSpPr>
              <p:nvPr/>
            </p:nvSpPr>
            <p:spPr bwMode="auto">
              <a:xfrm>
                <a:off x="9193213" y="-1458913"/>
                <a:ext cx="347663" cy="346075"/>
              </a:xfrm>
              <a:custGeom>
                <a:avLst/>
                <a:gdLst>
                  <a:gd name="T0" fmla="*/ 2147483646 w 93"/>
                  <a:gd name="T1" fmla="*/ 0 h 92"/>
                  <a:gd name="T2" fmla="*/ 2147483646 w 93"/>
                  <a:gd name="T3" fmla="*/ 2147483646 h 92"/>
                  <a:gd name="T4" fmla="*/ 0 w 93"/>
                  <a:gd name="T5" fmla="*/ 2147483646 h 92"/>
                  <a:gd name="T6" fmla="*/ 2147483646 w 93"/>
                  <a:gd name="T7" fmla="*/ 2147483646 h 92"/>
                  <a:gd name="T8" fmla="*/ 2147483646 w 93"/>
                  <a:gd name="T9" fmla="*/ 2147483646 h 92"/>
                  <a:gd name="T10" fmla="*/ 2147483646 w 93"/>
                  <a:gd name="T11" fmla="*/ 2147483646 h 92"/>
                  <a:gd name="T12" fmla="*/ 2147483646 w 93"/>
                  <a:gd name="T13" fmla="*/ 0 h 92"/>
                  <a:gd name="T14" fmla="*/ 2147483646 w 93"/>
                  <a:gd name="T15" fmla="*/ 2147483646 h 92"/>
                  <a:gd name="T16" fmla="*/ 2147483646 w 93"/>
                  <a:gd name="T17" fmla="*/ 2147483646 h 92"/>
                  <a:gd name="T18" fmla="*/ 2147483646 w 93"/>
                  <a:gd name="T19" fmla="*/ 2147483646 h 92"/>
                  <a:gd name="T20" fmla="*/ 2147483646 w 93"/>
                  <a:gd name="T21" fmla="*/ 2147483646 h 92"/>
                  <a:gd name="T22" fmla="*/ 2147483646 w 93"/>
                  <a:gd name="T23" fmla="*/ 2147483646 h 92"/>
                  <a:gd name="T24" fmla="*/ 2147483646 w 93"/>
                  <a:gd name="T25" fmla="*/ 2147483646 h 92"/>
                  <a:gd name="T26" fmla="*/ 2147483646 w 93"/>
                  <a:gd name="T27" fmla="*/ 2147483646 h 92"/>
                  <a:gd name="T28" fmla="*/ 2147483646 w 93"/>
                  <a:gd name="T29" fmla="*/ 2147483646 h 92"/>
                  <a:gd name="T30" fmla="*/ 2147483646 w 93"/>
                  <a:gd name="T31" fmla="*/ 2147483646 h 92"/>
                  <a:gd name="T32" fmla="*/ 2147483646 w 93"/>
                  <a:gd name="T33" fmla="*/ 2147483646 h 92"/>
                  <a:gd name="T34" fmla="*/ 2147483646 w 93"/>
                  <a:gd name="T35" fmla="*/ 2147483646 h 92"/>
                  <a:gd name="T36" fmla="*/ 2147483646 w 93"/>
                  <a:gd name="T37" fmla="*/ 2147483646 h 92"/>
                  <a:gd name="T38" fmla="*/ 2147483646 w 93"/>
                  <a:gd name="T39" fmla="*/ 2147483646 h 92"/>
                  <a:gd name="T40" fmla="*/ 2147483646 w 93"/>
                  <a:gd name="T41" fmla="*/ 2147483646 h 92"/>
                  <a:gd name="T42" fmla="*/ 2147483646 w 93"/>
                  <a:gd name="T43" fmla="*/ 2147483646 h 92"/>
                  <a:gd name="T44" fmla="*/ 2147483646 w 93"/>
                  <a:gd name="T45" fmla="*/ 2147483646 h 92"/>
                  <a:gd name="T46" fmla="*/ 2147483646 w 93"/>
                  <a:gd name="T47" fmla="*/ 2147483646 h 92"/>
                  <a:gd name="T48" fmla="*/ 2147483646 w 93"/>
                  <a:gd name="T49" fmla="*/ 2147483646 h 92"/>
                  <a:gd name="T50" fmla="*/ 2147483646 w 93"/>
                  <a:gd name="T51" fmla="*/ 2147483646 h 92"/>
                  <a:gd name="T52" fmla="*/ 2147483646 w 93"/>
                  <a:gd name="T53" fmla="*/ 2147483646 h 9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3" h="92">
                    <a:moveTo>
                      <a:pt x="47" y="0"/>
                    </a:moveTo>
                    <a:cubicBezTo>
                      <a:pt x="34" y="0"/>
                      <a:pt x="23" y="5"/>
                      <a:pt x="14" y="13"/>
                    </a:cubicBezTo>
                    <a:cubicBezTo>
                      <a:pt x="5" y="22"/>
                      <a:pt x="0" y="34"/>
                      <a:pt x="0" y="46"/>
                    </a:cubicBezTo>
                    <a:cubicBezTo>
                      <a:pt x="0" y="71"/>
                      <a:pt x="21" y="92"/>
                      <a:pt x="47" y="92"/>
                    </a:cubicBezTo>
                    <a:cubicBezTo>
                      <a:pt x="59" y="92"/>
                      <a:pt x="70" y="87"/>
                      <a:pt x="79" y="79"/>
                    </a:cubicBezTo>
                    <a:cubicBezTo>
                      <a:pt x="88" y="70"/>
                      <a:pt x="93" y="58"/>
                      <a:pt x="93" y="46"/>
                    </a:cubicBezTo>
                    <a:cubicBezTo>
                      <a:pt x="93" y="20"/>
                      <a:pt x="72" y="0"/>
                      <a:pt x="47" y="0"/>
                    </a:cubicBezTo>
                    <a:close/>
                    <a:moveTo>
                      <a:pt x="67" y="20"/>
                    </a:moveTo>
                    <a:cubicBezTo>
                      <a:pt x="47" y="38"/>
                      <a:pt x="47" y="38"/>
                      <a:pt x="47" y="38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3" y="15"/>
                      <a:pt x="40" y="13"/>
                      <a:pt x="47" y="13"/>
                    </a:cubicBezTo>
                    <a:cubicBezTo>
                      <a:pt x="54" y="13"/>
                      <a:pt x="61" y="15"/>
                      <a:pt x="67" y="20"/>
                    </a:cubicBezTo>
                    <a:close/>
                    <a:moveTo>
                      <a:pt x="13" y="46"/>
                    </a:moveTo>
                    <a:cubicBezTo>
                      <a:pt x="13" y="38"/>
                      <a:pt x="16" y="31"/>
                      <a:pt x="20" y="2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5" y="59"/>
                      <a:pt x="13" y="53"/>
                      <a:pt x="13" y="46"/>
                    </a:cubicBezTo>
                    <a:close/>
                    <a:moveTo>
                      <a:pt x="26" y="72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65" y="74"/>
                      <a:pt x="65" y="74"/>
                      <a:pt x="65" y="74"/>
                    </a:cubicBezTo>
                    <a:cubicBezTo>
                      <a:pt x="60" y="77"/>
                      <a:pt x="53" y="79"/>
                      <a:pt x="47" y="79"/>
                    </a:cubicBezTo>
                    <a:cubicBezTo>
                      <a:pt x="39" y="79"/>
                      <a:pt x="32" y="77"/>
                      <a:pt x="26" y="72"/>
                    </a:cubicBezTo>
                    <a:close/>
                    <a:moveTo>
                      <a:pt x="73" y="66"/>
                    </a:moveTo>
                    <a:cubicBezTo>
                      <a:pt x="54" y="46"/>
                      <a:pt x="54" y="46"/>
                      <a:pt x="54" y="46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8" y="33"/>
                      <a:pt x="80" y="39"/>
                      <a:pt x="80" y="46"/>
                    </a:cubicBezTo>
                    <a:cubicBezTo>
                      <a:pt x="80" y="54"/>
                      <a:pt x="77" y="61"/>
                      <a:pt x="73" y="6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0738" name="组合 143"/>
          <p:cNvGrpSpPr/>
          <p:nvPr/>
        </p:nvGrpSpPr>
        <p:grpSpPr bwMode="auto">
          <a:xfrm>
            <a:off x="3387725" y="1063625"/>
            <a:ext cx="1263650" cy="1511300"/>
            <a:chOff x="3387650" y="1189646"/>
            <a:chExt cx="1264397" cy="1509923"/>
          </a:xfrm>
        </p:grpSpPr>
        <p:sp>
          <p:nvSpPr>
            <p:cNvPr id="145" name="矩形 144"/>
            <p:cNvSpPr/>
            <p:nvPr/>
          </p:nvSpPr>
          <p:spPr>
            <a:xfrm>
              <a:off x="3387650" y="1189646"/>
              <a:ext cx="1264397" cy="1509923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46" name="矩形 145"/>
            <p:cNvSpPr/>
            <p:nvPr/>
          </p:nvSpPr>
          <p:spPr>
            <a:xfrm>
              <a:off x="3465484" y="1261019"/>
              <a:ext cx="1108730" cy="36955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图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0744" name="组合 139"/>
            <p:cNvGrpSpPr/>
            <p:nvPr/>
          </p:nvGrpSpPr>
          <p:grpSpPr bwMode="auto">
            <a:xfrm>
              <a:off x="3568732" y="1690839"/>
              <a:ext cx="902234" cy="904050"/>
              <a:chOff x="1764883" y="-2975446"/>
              <a:chExt cx="2574175" cy="2579358"/>
            </a:xfrm>
          </p:grpSpPr>
          <p:sp>
            <p:nvSpPr>
              <p:cNvPr id="148" name="Freeform 19"/>
              <p:cNvSpPr/>
              <p:nvPr/>
            </p:nvSpPr>
            <p:spPr bwMode="auto">
              <a:xfrm>
                <a:off x="1764883" y="-2975446"/>
                <a:ext cx="2574172" cy="2579361"/>
              </a:xfrm>
              <a:custGeom>
                <a:avLst/>
                <a:gdLst>
                  <a:gd name="T0" fmla="*/ 687 w 687"/>
                  <a:gd name="T1" fmla="*/ 625 h 687"/>
                  <a:gd name="T2" fmla="*/ 624 w 687"/>
                  <a:gd name="T3" fmla="*/ 687 h 687"/>
                  <a:gd name="T4" fmla="*/ 62 w 687"/>
                  <a:gd name="T5" fmla="*/ 687 h 687"/>
                  <a:gd name="T6" fmla="*/ 0 w 687"/>
                  <a:gd name="T7" fmla="*/ 625 h 687"/>
                  <a:gd name="T8" fmla="*/ 0 w 687"/>
                  <a:gd name="T9" fmla="*/ 63 h 687"/>
                  <a:gd name="T10" fmla="*/ 62 w 687"/>
                  <a:gd name="T11" fmla="*/ 0 h 687"/>
                  <a:gd name="T12" fmla="*/ 624 w 687"/>
                  <a:gd name="T13" fmla="*/ 0 h 687"/>
                  <a:gd name="T14" fmla="*/ 687 w 687"/>
                  <a:gd name="T15" fmla="*/ 63 h 687"/>
                  <a:gd name="T16" fmla="*/ 687 w 687"/>
                  <a:gd name="T17" fmla="*/ 625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687" y="625"/>
                    </a:moveTo>
                    <a:cubicBezTo>
                      <a:pt x="687" y="659"/>
                      <a:pt x="659" y="687"/>
                      <a:pt x="624" y="687"/>
                    </a:cubicBezTo>
                    <a:cubicBezTo>
                      <a:pt x="62" y="687"/>
                      <a:pt x="62" y="687"/>
                      <a:pt x="62" y="687"/>
                    </a:cubicBezTo>
                    <a:cubicBezTo>
                      <a:pt x="28" y="687"/>
                      <a:pt x="0" y="659"/>
                      <a:pt x="0" y="625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624" y="0"/>
                      <a:pt x="624" y="0"/>
                      <a:pt x="624" y="0"/>
                    </a:cubicBezTo>
                    <a:cubicBezTo>
                      <a:pt x="659" y="0"/>
                      <a:pt x="687" y="28"/>
                      <a:pt x="687" y="63"/>
                    </a:cubicBezTo>
                    <a:lnTo>
                      <a:pt x="687" y="625"/>
                    </a:lnTo>
                    <a:close/>
                  </a:path>
                </a:pathLst>
              </a:cu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746" name="Freeform 21"/>
              <p:cNvSpPr>
                <a:spLocks noEditPoints="1"/>
              </p:cNvSpPr>
              <p:nvPr/>
            </p:nvSpPr>
            <p:spPr bwMode="auto">
              <a:xfrm>
                <a:off x="3054351" y="-2106613"/>
                <a:ext cx="322263" cy="528638"/>
              </a:xfrm>
              <a:custGeom>
                <a:avLst/>
                <a:gdLst>
                  <a:gd name="T0" fmla="*/ 2147483646 w 86"/>
                  <a:gd name="T1" fmla="*/ 2147483646 h 141"/>
                  <a:gd name="T2" fmla="*/ 2147483646 w 86"/>
                  <a:gd name="T3" fmla="*/ 0 h 141"/>
                  <a:gd name="T4" fmla="*/ 2147483646 w 86"/>
                  <a:gd name="T5" fmla="*/ 2147483646 h 141"/>
                  <a:gd name="T6" fmla="*/ 2147483646 w 86"/>
                  <a:gd name="T7" fmla="*/ 2147483646 h 141"/>
                  <a:gd name="T8" fmla="*/ 2147483646 w 86"/>
                  <a:gd name="T9" fmla="*/ 2147483646 h 141"/>
                  <a:gd name="T10" fmla="*/ 2147483646 w 86"/>
                  <a:gd name="T11" fmla="*/ 2147483646 h 141"/>
                  <a:gd name="T12" fmla="*/ 2147483646 w 86"/>
                  <a:gd name="T13" fmla="*/ 2147483646 h 141"/>
                  <a:gd name="T14" fmla="*/ 2147483646 w 86"/>
                  <a:gd name="T15" fmla="*/ 2147483646 h 141"/>
                  <a:gd name="T16" fmla="*/ 2147483646 w 86"/>
                  <a:gd name="T17" fmla="*/ 2147483646 h 141"/>
                  <a:gd name="T18" fmla="*/ 2147483646 w 86"/>
                  <a:gd name="T19" fmla="*/ 2147483646 h 141"/>
                  <a:gd name="T20" fmla="*/ 2147483646 w 86"/>
                  <a:gd name="T21" fmla="*/ 2147483646 h 141"/>
                  <a:gd name="T22" fmla="*/ 2147483646 w 86"/>
                  <a:gd name="T23" fmla="*/ 2147483646 h 141"/>
                  <a:gd name="T24" fmla="*/ 2147483646 w 86"/>
                  <a:gd name="T25" fmla="*/ 2147483646 h 141"/>
                  <a:gd name="T26" fmla="*/ 2147483646 w 86"/>
                  <a:gd name="T27" fmla="*/ 2147483646 h 141"/>
                  <a:gd name="T28" fmla="*/ 2147483646 w 86"/>
                  <a:gd name="T29" fmla="*/ 2147483646 h 141"/>
                  <a:gd name="T30" fmla="*/ 2147483646 w 86"/>
                  <a:gd name="T31" fmla="*/ 2147483646 h 141"/>
                  <a:gd name="T32" fmla="*/ 2147483646 w 86"/>
                  <a:gd name="T33" fmla="*/ 2147483646 h 141"/>
                  <a:gd name="T34" fmla="*/ 2147483646 w 86"/>
                  <a:gd name="T35" fmla="*/ 2147483646 h 141"/>
                  <a:gd name="T36" fmla="*/ 2147483646 w 86"/>
                  <a:gd name="T37" fmla="*/ 2147483646 h 141"/>
                  <a:gd name="T38" fmla="*/ 2147483646 w 86"/>
                  <a:gd name="T39" fmla="*/ 2147483646 h 141"/>
                  <a:gd name="T40" fmla="*/ 0 w 86"/>
                  <a:gd name="T41" fmla="*/ 2147483646 h 141"/>
                  <a:gd name="T42" fmla="*/ 2147483646 w 86"/>
                  <a:gd name="T43" fmla="*/ 2147483646 h 141"/>
                  <a:gd name="T44" fmla="*/ 2147483646 w 86"/>
                  <a:gd name="T45" fmla="*/ 2147483646 h 141"/>
                  <a:gd name="T46" fmla="*/ 2147483646 w 86"/>
                  <a:gd name="T47" fmla="*/ 2147483646 h 141"/>
                  <a:gd name="T48" fmla="*/ 2147483646 w 86"/>
                  <a:gd name="T49" fmla="*/ 2147483646 h 141"/>
                  <a:gd name="T50" fmla="*/ 2147483646 w 86"/>
                  <a:gd name="T51" fmla="*/ 2147483646 h 141"/>
                  <a:gd name="T52" fmla="*/ 2147483646 w 86"/>
                  <a:gd name="T53" fmla="*/ 2147483646 h 141"/>
                  <a:gd name="T54" fmla="*/ 2147483646 w 86"/>
                  <a:gd name="T55" fmla="*/ 2147483646 h 141"/>
                  <a:gd name="T56" fmla="*/ 2147483646 w 86"/>
                  <a:gd name="T57" fmla="*/ 2147483646 h 141"/>
                  <a:gd name="T58" fmla="*/ 2147483646 w 86"/>
                  <a:gd name="T59" fmla="*/ 2147483646 h 141"/>
                  <a:gd name="T60" fmla="*/ 2147483646 w 86"/>
                  <a:gd name="T61" fmla="*/ 2147483646 h 141"/>
                  <a:gd name="T62" fmla="*/ 2147483646 w 86"/>
                  <a:gd name="T63" fmla="*/ 2147483646 h 141"/>
                  <a:gd name="T64" fmla="*/ 2147483646 w 86"/>
                  <a:gd name="T65" fmla="*/ 2147483646 h 141"/>
                  <a:gd name="T66" fmla="*/ 2147483646 w 86"/>
                  <a:gd name="T67" fmla="*/ 2147483646 h 141"/>
                  <a:gd name="T68" fmla="*/ 2147483646 w 86"/>
                  <a:gd name="T69" fmla="*/ 2147483646 h 14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6" h="141">
                    <a:moveTo>
                      <a:pt x="83" y="4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72" y="0"/>
                      <a:pt x="70" y="1"/>
                      <a:pt x="69" y="3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6" y="37"/>
                      <a:pt x="56" y="38"/>
                      <a:pt x="56" y="39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6" y="137"/>
                      <a:pt x="57" y="139"/>
                      <a:pt x="59" y="139"/>
                    </a:cubicBezTo>
                    <a:cubicBezTo>
                      <a:pt x="60" y="139"/>
                      <a:pt x="60" y="139"/>
                      <a:pt x="60" y="139"/>
                    </a:cubicBezTo>
                    <a:cubicBezTo>
                      <a:pt x="60" y="140"/>
                      <a:pt x="61" y="141"/>
                      <a:pt x="63" y="141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4" y="140"/>
                      <a:pt x="64" y="140"/>
                      <a:pt x="64" y="139"/>
                    </a:cubicBezTo>
                    <a:cubicBezTo>
                      <a:pt x="69" y="139"/>
                      <a:pt x="69" y="139"/>
                      <a:pt x="69" y="139"/>
                    </a:cubicBezTo>
                    <a:cubicBezTo>
                      <a:pt x="71" y="139"/>
                      <a:pt x="72" y="137"/>
                      <a:pt x="72" y="135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6" y="7"/>
                      <a:pt x="85" y="5"/>
                      <a:pt x="83" y="4"/>
                    </a:cubicBezTo>
                    <a:close/>
                    <a:moveTo>
                      <a:pt x="35" y="56"/>
                    </a:moveTo>
                    <a:cubicBezTo>
                      <a:pt x="27" y="46"/>
                      <a:pt x="27" y="46"/>
                      <a:pt x="27" y="46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30" y="104"/>
                      <a:pt x="30" y="104"/>
                      <a:pt x="30" y="104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5" y="65"/>
                      <a:pt x="25" y="65"/>
                      <a:pt x="25" y="65"/>
                    </a:cubicBezTo>
                    <a:cubicBezTo>
                      <a:pt x="25" y="56"/>
                      <a:pt x="25" y="56"/>
                      <a:pt x="25" y="56"/>
                    </a:cubicBezTo>
                    <a:lnTo>
                      <a:pt x="35" y="56"/>
                    </a:lnTo>
                    <a:close/>
                    <a:moveTo>
                      <a:pt x="22" y="65"/>
                    </a:moveTo>
                    <a:cubicBezTo>
                      <a:pt x="13" y="65"/>
                      <a:pt x="13" y="65"/>
                      <a:pt x="13" y="6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22" y="56"/>
                      <a:pt x="22" y="56"/>
                      <a:pt x="22" y="56"/>
                    </a:cubicBezTo>
                    <a:lnTo>
                      <a:pt x="22" y="6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47" name="Freeform 22"/>
              <p:cNvSpPr>
                <a:spLocks noEditPoints="1"/>
              </p:cNvSpPr>
              <p:nvPr/>
            </p:nvSpPr>
            <p:spPr bwMode="auto">
              <a:xfrm>
                <a:off x="2082801" y="-1217613"/>
                <a:ext cx="1552575" cy="427038"/>
              </a:xfrm>
              <a:custGeom>
                <a:avLst/>
                <a:gdLst>
                  <a:gd name="T0" fmla="*/ 2147483646 w 414"/>
                  <a:gd name="T1" fmla="*/ 0 h 114"/>
                  <a:gd name="T2" fmla="*/ 2147483646 w 414"/>
                  <a:gd name="T3" fmla="*/ 0 h 114"/>
                  <a:gd name="T4" fmla="*/ 0 w 414"/>
                  <a:gd name="T5" fmla="*/ 2147483646 h 114"/>
                  <a:gd name="T6" fmla="*/ 2147483646 w 414"/>
                  <a:gd name="T7" fmla="*/ 2147483646 h 114"/>
                  <a:gd name="T8" fmla="*/ 2147483646 w 414"/>
                  <a:gd name="T9" fmla="*/ 2147483646 h 114"/>
                  <a:gd name="T10" fmla="*/ 2147483646 w 414"/>
                  <a:gd name="T11" fmla="*/ 2147483646 h 114"/>
                  <a:gd name="T12" fmla="*/ 2147483646 w 414"/>
                  <a:gd name="T13" fmla="*/ 0 h 114"/>
                  <a:gd name="T14" fmla="*/ 2147483646 w 414"/>
                  <a:gd name="T15" fmla="*/ 2147483646 h 114"/>
                  <a:gd name="T16" fmla="*/ 2147483646 w 414"/>
                  <a:gd name="T17" fmla="*/ 2147483646 h 114"/>
                  <a:gd name="T18" fmla="*/ 2147483646 w 414"/>
                  <a:gd name="T19" fmla="*/ 2147483646 h 114"/>
                  <a:gd name="T20" fmla="*/ 2147483646 w 414"/>
                  <a:gd name="T21" fmla="*/ 2147483646 h 114"/>
                  <a:gd name="T22" fmla="*/ 2147483646 w 414"/>
                  <a:gd name="T23" fmla="*/ 2147483646 h 114"/>
                  <a:gd name="T24" fmla="*/ 2147483646 w 414"/>
                  <a:gd name="T25" fmla="*/ 2147483646 h 114"/>
                  <a:gd name="T26" fmla="*/ 2147483646 w 414"/>
                  <a:gd name="T27" fmla="*/ 2147483646 h 114"/>
                  <a:gd name="T28" fmla="*/ 2147483646 w 414"/>
                  <a:gd name="T29" fmla="*/ 2147483646 h 114"/>
                  <a:gd name="T30" fmla="*/ 2147483646 w 414"/>
                  <a:gd name="T31" fmla="*/ 2147483646 h 1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14" h="114">
                    <a:moveTo>
                      <a:pt x="359" y="0"/>
                    </a:moveTo>
                    <a:cubicBezTo>
                      <a:pt x="55" y="0"/>
                      <a:pt x="55" y="0"/>
                      <a:pt x="55" y="0"/>
                    </a:cubicBezTo>
                    <a:cubicBezTo>
                      <a:pt x="24" y="0"/>
                      <a:pt x="0" y="26"/>
                      <a:pt x="0" y="57"/>
                    </a:cubicBezTo>
                    <a:cubicBezTo>
                      <a:pt x="0" y="89"/>
                      <a:pt x="24" y="114"/>
                      <a:pt x="55" y="114"/>
                    </a:cubicBezTo>
                    <a:cubicBezTo>
                      <a:pt x="359" y="114"/>
                      <a:pt x="359" y="114"/>
                      <a:pt x="359" y="114"/>
                    </a:cubicBezTo>
                    <a:cubicBezTo>
                      <a:pt x="389" y="114"/>
                      <a:pt x="414" y="89"/>
                      <a:pt x="414" y="57"/>
                    </a:cubicBezTo>
                    <a:cubicBezTo>
                      <a:pt x="414" y="26"/>
                      <a:pt x="389" y="0"/>
                      <a:pt x="359" y="0"/>
                    </a:cubicBezTo>
                    <a:close/>
                    <a:moveTo>
                      <a:pt x="382" y="82"/>
                    </a:moveTo>
                    <a:cubicBezTo>
                      <a:pt x="376" y="88"/>
                      <a:pt x="367" y="92"/>
                      <a:pt x="359" y="92"/>
                    </a:cubicBezTo>
                    <a:cubicBezTo>
                      <a:pt x="55" y="92"/>
                      <a:pt x="55" y="92"/>
                      <a:pt x="55" y="92"/>
                    </a:cubicBezTo>
                    <a:cubicBezTo>
                      <a:pt x="37" y="92"/>
                      <a:pt x="22" y="76"/>
                      <a:pt x="22" y="57"/>
                    </a:cubicBezTo>
                    <a:cubicBezTo>
                      <a:pt x="22" y="38"/>
                      <a:pt x="37" y="23"/>
                      <a:pt x="55" y="23"/>
                    </a:cubicBezTo>
                    <a:cubicBezTo>
                      <a:pt x="359" y="23"/>
                      <a:pt x="359" y="23"/>
                      <a:pt x="359" y="23"/>
                    </a:cubicBezTo>
                    <a:cubicBezTo>
                      <a:pt x="367" y="23"/>
                      <a:pt x="376" y="26"/>
                      <a:pt x="382" y="33"/>
                    </a:cubicBezTo>
                    <a:cubicBezTo>
                      <a:pt x="388" y="39"/>
                      <a:pt x="392" y="48"/>
                      <a:pt x="392" y="57"/>
                    </a:cubicBezTo>
                    <a:cubicBezTo>
                      <a:pt x="392" y="67"/>
                      <a:pt x="388" y="76"/>
                      <a:pt x="382" y="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48" name="Freeform 23"/>
              <p:cNvSpPr/>
              <p:nvPr/>
            </p:nvSpPr>
            <p:spPr bwMode="auto">
              <a:xfrm>
                <a:off x="3571876" y="-1068388"/>
                <a:ext cx="280988" cy="184150"/>
              </a:xfrm>
              <a:custGeom>
                <a:avLst/>
                <a:gdLst>
                  <a:gd name="T0" fmla="*/ 2147483646 w 177"/>
                  <a:gd name="T1" fmla="*/ 2147483646 h 116"/>
                  <a:gd name="T2" fmla="*/ 0 w 177"/>
                  <a:gd name="T3" fmla="*/ 2147483646 h 116"/>
                  <a:gd name="T4" fmla="*/ 2147483646 w 177"/>
                  <a:gd name="T5" fmla="*/ 0 h 116"/>
                  <a:gd name="T6" fmla="*/ 2147483646 w 177"/>
                  <a:gd name="T7" fmla="*/ 2147483646 h 116"/>
                  <a:gd name="T8" fmla="*/ 2147483646 w 177"/>
                  <a:gd name="T9" fmla="*/ 2147483646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7" h="116">
                    <a:moveTo>
                      <a:pt x="167" y="116"/>
                    </a:moveTo>
                    <a:lnTo>
                      <a:pt x="0" y="87"/>
                    </a:lnTo>
                    <a:lnTo>
                      <a:pt x="9" y="0"/>
                    </a:lnTo>
                    <a:lnTo>
                      <a:pt x="177" y="17"/>
                    </a:lnTo>
                    <a:lnTo>
                      <a:pt x="167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49" name="Freeform 24"/>
              <p:cNvSpPr/>
              <p:nvPr/>
            </p:nvSpPr>
            <p:spPr bwMode="auto">
              <a:xfrm>
                <a:off x="3748088" y="-1447800"/>
                <a:ext cx="471488" cy="665163"/>
              </a:xfrm>
              <a:custGeom>
                <a:avLst/>
                <a:gdLst>
                  <a:gd name="T0" fmla="*/ 2147483646 w 126"/>
                  <a:gd name="T1" fmla="*/ 2147483646 h 177"/>
                  <a:gd name="T2" fmla="*/ 2147483646 w 126"/>
                  <a:gd name="T3" fmla="*/ 2147483646 h 177"/>
                  <a:gd name="T4" fmla="*/ 2147483646 w 126"/>
                  <a:gd name="T5" fmla="*/ 0 h 177"/>
                  <a:gd name="T6" fmla="*/ 2147483646 w 126"/>
                  <a:gd name="T7" fmla="*/ 2147483646 h 177"/>
                  <a:gd name="T8" fmla="*/ 0 w 126"/>
                  <a:gd name="T9" fmla="*/ 2147483646 h 177"/>
                  <a:gd name="T10" fmla="*/ 2147483646 w 126"/>
                  <a:gd name="T11" fmla="*/ 2147483646 h 177"/>
                  <a:gd name="T12" fmla="*/ 2147483646 w 126"/>
                  <a:gd name="T13" fmla="*/ 2147483646 h 1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6" h="177">
                    <a:moveTo>
                      <a:pt x="126" y="177"/>
                    </a:moveTo>
                    <a:cubicBezTo>
                      <a:pt x="75" y="145"/>
                      <a:pt x="75" y="145"/>
                      <a:pt x="75" y="14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1" y="0"/>
                      <a:pt x="1" y="1"/>
                      <a:pt x="1" y="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30" y="177"/>
                      <a:pt x="30" y="177"/>
                      <a:pt x="30" y="177"/>
                    </a:cubicBezTo>
                    <a:lnTo>
                      <a:pt x="126" y="1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50" name="Freeform 25"/>
              <p:cNvSpPr>
                <a:spLocks noEditPoints="1"/>
              </p:cNvSpPr>
              <p:nvPr/>
            </p:nvSpPr>
            <p:spPr bwMode="auto">
              <a:xfrm>
                <a:off x="2192338" y="-2128838"/>
                <a:ext cx="1371600" cy="854075"/>
              </a:xfrm>
              <a:custGeom>
                <a:avLst/>
                <a:gdLst>
                  <a:gd name="T0" fmla="*/ 2147483646 w 366"/>
                  <a:gd name="T1" fmla="*/ 2147483646 h 228"/>
                  <a:gd name="T2" fmla="*/ 2147483646 w 366"/>
                  <a:gd name="T3" fmla="*/ 2147483646 h 228"/>
                  <a:gd name="T4" fmla="*/ 2147483646 w 366"/>
                  <a:gd name="T5" fmla="*/ 2147483646 h 228"/>
                  <a:gd name="T6" fmla="*/ 2147483646 w 366"/>
                  <a:gd name="T7" fmla="*/ 0 h 228"/>
                  <a:gd name="T8" fmla="*/ 2147483646 w 366"/>
                  <a:gd name="T9" fmla="*/ 0 h 228"/>
                  <a:gd name="T10" fmla="*/ 2147483646 w 366"/>
                  <a:gd name="T11" fmla="*/ 2147483646 h 228"/>
                  <a:gd name="T12" fmla="*/ 2147483646 w 366"/>
                  <a:gd name="T13" fmla="*/ 2147483646 h 228"/>
                  <a:gd name="T14" fmla="*/ 2147483646 w 366"/>
                  <a:gd name="T15" fmla="*/ 2147483646 h 228"/>
                  <a:gd name="T16" fmla="*/ 2147483646 w 366"/>
                  <a:gd name="T17" fmla="*/ 2147483646 h 228"/>
                  <a:gd name="T18" fmla="*/ 2147483646 w 366"/>
                  <a:gd name="T19" fmla="*/ 2147483646 h 228"/>
                  <a:gd name="T20" fmla="*/ 2147483646 w 366"/>
                  <a:gd name="T21" fmla="*/ 2147483646 h 228"/>
                  <a:gd name="T22" fmla="*/ 2147483646 w 366"/>
                  <a:gd name="T23" fmla="*/ 2147483646 h 228"/>
                  <a:gd name="T24" fmla="*/ 0 w 366"/>
                  <a:gd name="T25" fmla="*/ 2147483646 h 228"/>
                  <a:gd name="T26" fmla="*/ 2147483646 w 366"/>
                  <a:gd name="T27" fmla="*/ 2147483646 h 228"/>
                  <a:gd name="T28" fmla="*/ 2147483646 w 366"/>
                  <a:gd name="T29" fmla="*/ 2147483646 h 228"/>
                  <a:gd name="T30" fmla="*/ 2147483646 w 366"/>
                  <a:gd name="T31" fmla="*/ 2147483646 h 228"/>
                  <a:gd name="T32" fmla="*/ 2147483646 w 366"/>
                  <a:gd name="T33" fmla="*/ 2147483646 h 228"/>
                  <a:gd name="T34" fmla="*/ 2147483646 w 366"/>
                  <a:gd name="T35" fmla="*/ 2147483646 h 228"/>
                  <a:gd name="T36" fmla="*/ 2147483646 w 366"/>
                  <a:gd name="T37" fmla="*/ 2147483646 h 228"/>
                  <a:gd name="T38" fmla="*/ 2147483646 w 366"/>
                  <a:gd name="T39" fmla="*/ 2147483646 h 228"/>
                  <a:gd name="T40" fmla="*/ 2147483646 w 366"/>
                  <a:gd name="T41" fmla="*/ 2147483646 h 228"/>
                  <a:gd name="T42" fmla="*/ 2147483646 w 366"/>
                  <a:gd name="T43" fmla="*/ 2147483646 h 228"/>
                  <a:gd name="T44" fmla="*/ 2147483646 w 366"/>
                  <a:gd name="T45" fmla="*/ 2147483646 h 228"/>
                  <a:gd name="T46" fmla="*/ 2147483646 w 366"/>
                  <a:gd name="T47" fmla="*/ 2147483646 h 228"/>
                  <a:gd name="T48" fmla="*/ 2147483646 w 366"/>
                  <a:gd name="T49" fmla="*/ 2147483646 h 228"/>
                  <a:gd name="T50" fmla="*/ 2147483646 w 366"/>
                  <a:gd name="T51" fmla="*/ 2147483646 h 228"/>
                  <a:gd name="T52" fmla="*/ 2147483646 w 366"/>
                  <a:gd name="T53" fmla="*/ 2147483646 h 22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366" h="228">
                    <a:moveTo>
                      <a:pt x="349" y="102"/>
                    </a:moveTo>
                    <a:cubicBezTo>
                      <a:pt x="193" y="102"/>
                      <a:pt x="193" y="102"/>
                      <a:pt x="193" y="102"/>
                    </a:cubicBezTo>
                    <a:cubicBezTo>
                      <a:pt x="188" y="17"/>
                      <a:pt x="188" y="17"/>
                      <a:pt x="188" y="17"/>
                    </a:cubicBezTo>
                    <a:cubicBezTo>
                      <a:pt x="188" y="8"/>
                      <a:pt x="180" y="0"/>
                      <a:pt x="171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4" y="0"/>
                      <a:pt x="7" y="8"/>
                      <a:pt x="7" y="1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42" y="36"/>
                      <a:pt x="43" y="37"/>
                      <a:pt x="43" y="39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3"/>
                      <a:pt x="42" y="114"/>
                      <a:pt x="40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0" y="222"/>
                      <a:pt x="0" y="222"/>
                      <a:pt x="0" y="222"/>
                    </a:cubicBezTo>
                    <a:cubicBezTo>
                      <a:pt x="8" y="219"/>
                      <a:pt x="17" y="217"/>
                      <a:pt x="26" y="217"/>
                    </a:cubicBezTo>
                    <a:cubicBezTo>
                      <a:pt x="330" y="217"/>
                      <a:pt x="330" y="217"/>
                      <a:pt x="330" y="217"/>
                    </a:cubicBezTo>
                    <a:cubicBezTo>
                      <a:pt x="343" y="217"/>
                      <a:pt x="355" y="221"/>
                      <a:pt x="366" y="228"/>
                    </a:cubicBezTo>
                    <a:cubicBezTo>
                      <a:pt x="366" y="120"/>
                      <a:pt x="366" y="120"/>
                      <a:pt x="366" y="120"/>
                    </a:cubicBezTo>
                    <a:cubicBezTo>
                      <a:pt x="366" y="110"/>
                      <a:pt x="358" y="102"/>
                      <a:pt x="349" y="102"/>
                    </a:cubicBezTo>
                    <a:close/>
                    <a:moveTo>
                      <a:pt x="174" y="185"/>
                    </a:moveTo>
                    <a:cubicBezTo>
                      <a:pt x="81" y="185"/>
                      <a:pt x="81" y="185"/>
                      <a:pt x="81" y="185"/>
                    </a:cubicBezTo>
                    <a:cubicBezTo>
                      <a:pt x="79" y="185"/>
                      <a:pt x="77" y="183"/>
                      <a:pt x="77" y="181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7" y="28"/>
                      <a:pt x="79" y="27"/>
                      <a:pt x="81" y="27"/>
                    </a:cubicBezTo>
                    <a:cubicBezTo>
                      <a:pt x="162" y="27"/>
                      <a:pt x="162" y="27"/>
                      <a:pt x="162" y="27"/>
                    </a:cubicBezTo>
                    <a:cubicBezTo>
                      <a:pt x="164" y="27"/>
                      <a:pt x="166" y="28"/>
                      <a:pt x="166" y="30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8" y="183"/>
                      <a:pt x="177" y="185"/>
                      <a:pt x="174" y="1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cxnSp>
        <p:nvCxnSpPr>
          <p:cNvPr id="155" name="Straight Arrow Connector 7"/>
          <p:cNvCxnSpPr/>
          <p:nvPr/>
        </p:nvCxnSpPr>
        <p:spPr>
          <a:xfrm>
            <a:off x="4843463" y="1916113"/>
            <a:ext cx="898525" cy="0"/>
          </a:xfrm>
          <a:prstGeom prst="straightConnector1">
            <a:avLst/>
          </a:prstGeom>
          <a:ln w="28575">
            <a:solidFill>
              <a:srgbClr val="26667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组合 25"/>
          <p:cNvGrpSpPr/>
          <p:nvPr/>
        </p:nvGrpSpPr>
        <p:grpSpPr bwMode="auto">
          <a:xfrm>
            <a:off x="703263" y="1192213"/>
            <a:ext cx="3792537" cy="1628775"/>
            <a:chOff x="703309" y="1192827"/>
            <a:chExt cx="3792399" cy="1628790"/>
          </a:xfrm>
        </p:grpSpPr>
        <p:sp>
          <p:nvSpPr>
            <p:cNvPr id="4" name="Rectangle 38"/>
            <p:cNvSpPr/>
            <p:nvPr/>
          </p:nvSpPr>
          <p:spPr bwMode="auto">
            <a:xfrm>
              <a:off x="703309" y="1192828"/>
              <a:ext cx="798094" cy="797774"/>
            </a:xfrm>
            <a:prstGeom prst="rect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15%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Rectangle 39"/>
            <p:cNvSpPr/>
            <p:nvPr/>
          </p:nvSpPr>
          <p:spPr bwMode="auto">
            <a:xfrm>
              <a:off x="1533676" y="2023843"/>
              <a:ext cx="798094" cy="797774"/>
            </a:xfrm>
            <a:prstGeom prst="rect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spc="-3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85%</a:t>
              </a:r>
              <a:endParaRPr lang="en-US" sz="1200" kern="0" spc="-32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1769" name="6 - pic movie"/>
            <p:cNvPicPr preferRelativeResize="0">
              <a:picLocks noChangeAspect="1" noChangeArrowheads="1"/>
            </p:cNvPicPr>
            <p:nvPr/>
          </p:nvPicPr>
          <p:blipFill>
            <a:blip r:embed="rId1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/>
            <a:stretch>
              <a:fillRect/>
            </a:stretch>
          </p:blipFill>
          <p:spPr bwMode="auto">
            <a:xfrm>
              <a:off x="1533676" y="1192828"/>
              <a:ext cx="798094" cy="7977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70" name="6 - pic movie"/>
            <p:cNvPicPr preferRelativeResize="0">
              <a:picLocks noChangeAspect="1" noChangeArrowheads="1"/>
            </p:cNvPicPr>
            <p:nvPr/>
          </p:nvPicPr>
          <p:blipFill>
            <a:blip r:embed="rId1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/>
            <a:stretch>
              <a:fillRect/>
            </a:stretch>
          </p:blipFill>
          <p:spPr bwMode="auto">
            <a:xfrm>
              <a:off x="703309" y="2023843"/>
              <a:ext cx="798094" cy="7977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44"/>
            <p:cNvSpPr/>
            <p:nvPr/>
          </p:nvSpPr>
          <p:spPr bwMode="auto">
            <a:xfrm>
              <a:off x="2400708" y="1192827"/>
              <a:ext cx="2095000" cy="1628788"/>
            </a:xfrm>
            <a:prstGeom prst="rect">
              <a:avLst/>
            </a:prstGeom>
            <a:solidFill>
              <a:schemeClr val="accent2"/>
            </a:soli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6492" tIns="139871" rIns="186492" bIns="139871" anchor="b"/>
            <a:lstStyle/>
            <a:p>
              <a:pPr defTabSz="931545" eaLnBrk="1" hangingPunct="1">
                <a:lnSpc>
                  <a:spcPct val="90000"/>
                </a:lnSpc>
                <a:defRPr/>
              </a:pPr>
              <a:r>
                <a:rPr lang="zh-CN" altLang="en-US" sz="2900" kern="0" spc="-4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900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747" name="组合 26"/>
          <p:cNvGrpSpPr/>
          <p:nvPr/>
        </p:nvGrpSpPr>
        <p:grpSpPr bwMode="auto">
          <a:xfrm>
            <a:off x="4564063" y="1192213"/>
            <a:ext cx="3819525" cy="1628775"/>
            <a:chOff x="4564644" y="1192827"/>
            <a:chExt cx="3819227" cy="1628790"/>
          </a:xfrm>
        </p:grpSpPr>
        <p:sp>
          <p:nvSpPr>
            <p:cNvPr id="3" name="Rectangle 42"/>
            <p:cNvSpPr/>
            <p:nvPr/>
          </p:nvSpPr>
          <p:spPr bwMode="auto">
            <a:xfrm>
              <a:off x="4564644" y="1192827"/>
              <a:ext cx="2095000" cy="1628788"/>
            </a:xfrm>
            <a:prstGeom prst="rect">
              <a:avLst/>
            </a:prstGeom>
            <a:gradFill>
              <a:gsLst>
                <a:gs pos="10000">
                  <a:schemeClr val="accent1">
                    <a:lumMod val="90000"/>
                  </a:schemeClr>
                </a:gs>
                <a:gs pos="100000">
                  <a:schemeClr val="accent1">
                    <a:lumMod val="90000"/>
                  </a:schemeClr>
                </a:gs>
              </a:gsLst>
              <a:lin ang="16200000" scaled="1"/>
            </a:gra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86492" tIns="139871" rIns="186492" bIns="139871" anchor="b"/>
            <a:lstStyle/>
            <a:p>
              <a:pPr defTabSz="931545" eaLnBrk="1" hangingPunct="1">
                <a:lnSpc>
                  <a:spcPct val="90000"/>
                </a:lnSpc>
                <a:defRPr/>
              </a:pPr>
              <a:r>
                <a:rPr lang="zh-CN" altLang="en-US" sz="2900" kern="0" spc="-4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sz="2900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753" name="Group 4"/>
            <p:cNvGrpSpPr/>
            <p:nvPr/>
          </p:nvGrpSpPr>
          <p:grpSpPr bwMode="auto">
            <a:xfrm>
              <a:off x="6728581" y="2023843"/>
              <a:ext cx="798096" cy="797774"/>
              <a:chOff x="780466" y="7239000"/>
              <a:chExt cx="1097281" cy="1097280"/>
            </a:xfrm>
          </p:grpSpPr>
          <p:sp>
            <p:nvSpPr>
              <p:cNvPr id="31765" name="Rectangle 70"/>
              <p:cNvSpPr>
                <a:spLocks noChangeArrowheads="1"/>
              </p:cNvSpPr>
              <p:nvPr/>
            </p:nvSpPr>
            <p:spPr bwMode="auto">
              <a:xfrm>
                <a:off x="779993" y="7237974"/>
                <a:ext cx="1097769" cy="1098306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1915" tIns="60957" rIns="121915" bIns="60957" anchor="b"/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5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31766" name="Picture 3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0410" y="7334967"/>
                <a:ext cx="1077393" cy="86205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2" name="Rectangle 29"/>
            <p:cNvSpPr/>
            <p:nvPr/>
          </p:nvSpPr>
          <p:spPr bwMode="auto">
            <a:xfrm>
              <a:off x="6728580" y="1192828"/>
              <a:ext cx="798094" cy="797774"/>
            </a:xfrm>
            <a:prstGeom prst="rect">
              <a:avLst/>
            </a:prstGeom>
            <a:gradFill>
              <a:gsLst>
                <a:gs pos="10000">
                  <a:schemeClr val="accent1">
                    <a:lumMod val="90000"/>
                  </a:schemeClr>
                </a:gs>
                <a:gs pos="100000">
                  <a:schemeClr val="accent1">
                    <a:lumMod val="90000"/>
                  </a:schemeClr>
                </a:gs>
              </a:gsLst>
              <a:lin ang="16200000" scaled="1"/>
            </a:gra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20%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Rectangle 30"/>
            <p:cNvSpPr/>
            <p:nvPr/>
          </p:nvSpPr>
          <p:spPr bwMode="auto">
            <a:xfrm>
              <a:off x="7558946" y="2023843"/>
              <a:ext cx="824925" cy="797774"/>
            </a:xfrm>
            <a:prstGeom prst="rect">
              <a:avLst/>
            </a:prstGeom>
            <a:gradFill>
              <a:gsLst>
                <a:gs pos="10000">
                  <a:schemeClr val="accent1">
                    <a:lumMod val="90000"/>
                  </a:schemeClr>
                </a:gs>
                <a:gs pos="100000">
                  <a:schemeClr val="accent1">
                    <a:lumMod val="90000"/>
                  </a:schemeClr>
                </a:gs>
              </a:gsLst>
              <a:lin ang="16200000" scaled="1"/>
            </a:gradFill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11895" tIns="74596" rIns="111895" bIns="74596"/>
            <a:lstStyle/>
            <a:p>
              <a:pPr defTabSz="931545" eaLnBrk="1" hangingPunct="1">
                <a:lnSpc>
                  <a:spcPct val="85000"/>
                </a:lnSpc>
                <a:defRPr/>
              </a:pPr>
              <a:r>
                <a:rPr lang="en-US" sz="24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80%</a:t>
              </a:r>
              <a:endPara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1756" name="Group 3"/>
            <p:cNvGrpSpPr/>
            <p:nvPr/>
          </p:nvGrpSpPr>
          <p:grpSpPr bwMode="auto">
            <a:xfrm>
              <a:off x="7558946" y="1192828"/>
              <a:ext cx="824925" cy="797774"/>
              <a:chOff x="1922117" y="6096000"/>
              <a:chExt cx="1097280" cy="1097280"/>
            </a:xfrm>
          </p:grpSpPr>
          <p:sp>
            <p:nvSpPr>
              <p:cNvPr id="31757" name="Rectangle 37"/>
              <p:cNvSpPr>
                <a:spLocks noChangeArrowheads="1"/>
              </p:cNvSpPr>
              <p:nvPr/>
            </p:nvSpPr>
            <p:spPr bwMode="auto">
              <a:xfrm>
                <a:off x="1921437" y="6095999"/>
                <a:ext cx="1097960" cy="1098305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1915" tIns="60957" rIns="121915" bIns="60957" anchor="b"/>
              <a:lstStyle>
                <a:lvl1pPr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31545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31545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r"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2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1758" name="Group 45"/>
              <p:cNvGrpSpPr/>
              <p:nvPr/>
            </p:nvGrpSpPr>
            <p:grpSpPr bwMode="auto">
              <a:xfrm>
                <a:off x="1953542" y="6244627"/>
                <a:ext cx="1034431" cy="800024"/>
                <a:chOff x="8958986" y="4228507"/>
                <a:chExt cx="2623029" cy="2099049"/>
              </a:xfrm>
            </p:grpSpPr>
            <p:pic>
              <p:nvPicPr>
                <p:cNvPr id="31759" name="Picture 2" descr="E:\iPad_Assets\ipad.png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958986" y="4228507"/>
                  <a:ext cx="1031089" cy="14569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1760" name="Picture 3" descr="G:\MyPhotos\DVD\DVD_Art_08-10-2010\Artwork_Imagery\Hardware Photos\OEM HW\COMPUTERS - PC\Windows 7\AIOs\acer aspire z5610-all-in-one.png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77681" y="4311753"/>
                  <a:ext cx="1704334" cy="178859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1761" name="Picture 4" descr="\\SFP\Work\White_Whale\2-20426_Lees_MCB_Partner\Art\Images\Phones\VerizonDroidPhone_Full.png"/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825512" y="5087133"/>
                  <a:ext cx="436093" cy="7945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1762" name="Picture 5" descr="\\SFP\Work\White_Whale\2-xxxxx_Anderson_MMS\SFP_Art\Device Freedom\Symbian_Phone.png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292954" y="5284139"/>
                  <a:ext cx="477529" cy="83855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1763" name="Picture 5"/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28485" y="5400328"/>
                  <a:ext cx="431560" cy="79372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1764" name="Picture 2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13542" y="5516707"/>
                  <a:ext cx="459867" cy="8108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  <p:grpSp>
        <p:nvGrpSpPr>
          <p:cNvPr id="31748" name="组合 27"/>
          <p:cNvGrpSpPr/>
          <p:nvPr/>
        </p:nvGrpSpPr>
        <p:grpSpPr bwMode="auto">
          <a:xfrm>
            <a:off x="638175" y="3184525"/>
            <a:ext cx="7745413" cy="1187450"/>
            <a:chOff x="637412" y="3185164"/>
            <a:chExt cx="7746457" cy="1186786"/>
          </a:xfrm>
        </p:grpSpPr>
        <p:sp>
          <p:nvSpPr>
            <p:cNvPr id="2" name="Rectangle 63"/>
            <p:cNvSpPr/>
            <p:nvPr/>
          </p:nvSpPr>
          <p:spPr bwMode="auto">
            <a:xfrm>
              <a:off x="909810" y="3313199"/>
              <a:ext cx="7474059" cy="105875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。</a:t>
              </a:r>
              <a:endPara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905" algn="r" defTabSz="931545" eaLnBrk="1" hangingPunct="1">
                <a:lnSpc>
                  <a:spcPct val="90000"/>
                </a:lnSpc>
                <a:spcBef>
                  <a:spcPts val="1225"/>
                </a:spcBef>
                <a:defRPr/>
              </a:pPr>
              <a:endParaRPr lang="en-US" sz="1100" kern="0" dirty="0">
                <a:gradFill>
                  <a:gsLst>
                    <a:gs pos="0">
                      <a:prstClr val="black"/>
                    </a:gs>
                    <a:gs pos="99000">
                      <a:prstClr val="black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1750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637412" y="3185164"/>
              <a:ext cx="336542" cy="2560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751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7117" y="3819667"/>
              <a:ext cx="336542" cy="2212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/>
          <p:cNvGrpSpPr/>
          <p:nvPr/>
        </p:nvGrpSpPr>
        <p:grpSpPr>
          <a:xfrm>
            <a:off x="3173779" y="2304938"/>
            <a:ext cx="1124036" cy="1166611"/>
            <a:chOff x="6407912" y="1938339"/>
            <a:chExt cx="1124036" cy="116661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6407912" y="2011582"/>
              <a:ext cx="1100685" cy="1093368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grpSp>
          <p:nvGrpSpPr>
            <p:cNvPr id="25" name="组合 24"/>
            <p:cNvGrpSpPr/>
            <p:nvPr/>
          </p:nvGrpSpPr>
          <p:grpSpPr>
            <a:xfrm>
              <a:off x="7092280" y="1938339"/>
              <a:ext cx="439668" cy="1042599"/>
              <a:chOff x="4852412" y="2376567"/>
              <a:chExt cx="439668" cy="1042599"/>
            </a:xfrm>
          </p:grpSpPr>
          <p:sp>
            <p:nvSpPr>
              <p:cNvPr id="26" name="TextBox 25"/>
              <p:cNvSpPr txBox="1"/>
              <p:nvPr/>
            </p:nvSpPr>
            <p:spPr>
              <a:xfrm>
                <a:off x="5059248" y="237656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852412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28" name="TextBox 27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2258632" y="2525489"/>
            <a:ext cx="1136625" cy="1174644"/>
            <a:chOff x="5277103" y="2170182"/>
            <a:chExt cx="1136625" cy="1174644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0" name="Rectangle 14"/>
            <p:cNvSpPr>
              <a:spLocks noChangeArrowheads="1"/>
            </p:cNvSpPr>
            <p:nvPr/>
          </p:nvSpPr>
          <p:spPr bwMode="auto">
            <a:xfrm>
              <a:off x="5277103" y="2251459"/>
              <a:ext cx="1105215" cy="109336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" name="组合 30"/>
            <p:cNvGrpSpPr/>
            <p:nvPr/>
          </p:nvGrpSpPr>
          <p:grpSpPr>
            <a:xfrm>
              <a:off x="5963012" y="2170182"/>
              <a:ext cx="450716" cy="999702"/>
              <a:chOff x="4847180" y="2285147"/>
              <a:chExt cx="450716" cy="999702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5065064" y="228514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4847180" y="2557939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4" name="组合 33"/>
          <p:cNvGrpSpPr/>
          <p:nvPr/>
        </p:nvGrpSpPr>
        <p:grpSpPr>
          <a:xfrm>
            <a:off x="1544321" y="2804742"/>
            <a:ext cx="1105511" cy="1161271"/>
            <a:chOff x="4160177" y="2389634"/>
            <a:chExt cx="1105511" cy="116127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5" name="Rectangle 14"/>
            <p:cNvSpPr>
              <a:spLocks noChangeArrowheads="1"/>
            </p:cNvSpPr>
            <p:nvPr/>
          </p:nvSpPr>
          <p:spPr bwMode="auto">
            <a:xfrm>
              <a:off x="4160177" y="2457538"/>
              <a:ext cx="1100684" cy="109336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200">
                <a:solidFill>
                  <a:prstClr val="black">
                    <a:alpha val="99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6" name="组合 35"/>
            <p:cNvGrpSpPr/>
            <p:nvPr/>
          </p:nvGrpSpPr>
          <p:grpSpPr>
            <a:xfrm>
              <a:off x="4852412" y="2389634"/>
              <a:ext cx="413276" cy="1034979"/>
              <a:chOff x="4742304" y="2384187"/>
              <a:chExt cx="413276" cy="1034979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4922748" y="238418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742304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9" name="组合 38"/>
          <p:cNvGrpSpPr/>
          <p:nvPr/>
        </p:nvGrpSpPr>
        <p:grpSpPr>
          <a:xfrm>
            <a:off x="5215896" y="1077357"/>
            <a:ext cx="2182322" cy="2270180"/>
            <a:chOff x="256115" y="1446863"/>
            <a:chExt cx="1710329" cy="1779185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0" name="组合 39"/>
            <p:cNvGrpSpPr/>
            <p:nvPr/>
          </p:nvGrpSpPr>
          <p:grpSpPr>
            <a:xfrm>
              <a:off x="256115" y="1446863"/>
              <a:ext cx="1710329" cy="1779185"/>
              <a:chOff x="1064646" y="1034182"/>
              <a:chExt cx="1710329" cy="1779185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42" name="Rectangle 14"/>
              <p:cNvSpPr>
                <a:spLocks noChangeArrowheads="1"/>
              </p:cNvSpPr>
              <p:nvPr/>
            </p:nvSpPr>
            <p:spPr bwMode="auto">
              <a:xfrm>
                <a:off x="1064646" y="1122637"/>
                <a:ext cx="1702045" cy="169073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414935" y="1034182"/>
                <a:ext cx="360040" cy="410058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1279500" y="1939546"/>
              <a:ext cx="434179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hevron 28"/>
          <p:cNvSpPr/>
          <p:nvPr>
            <p:custDataLst>
              <p:tags r:id="rId1"/>
            </p:custDataLst>
          </p:nvPr>
        </p:nvSpPr>
        <p:spPr bwMode="auto">
          <a:xfrm rot="10800000" flipH="1" flipV="1">
            <a:off x="4765675" y="796925"/>
            <a:ext cx="465138" cy="468313"/>
          </a:xfrm>
          <a:prstGeom prst="chevron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095" tIns="47546" rIns="95095" bIns="47546" anchor="ctr"/>
          <a:lstStyle>
            <a:lvl1pPr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zh-CN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Chevron 29"/>
          <p:cNvSpPr/>
          <p:nvPr>
            <p:custDataLst>
              <p:tags r:id="rId2"/>
            </p:custDataLst>
          </p:nvPr>
        </p:nvSpPr>
        <p:spPr bwMode="auto">
          <a:xfrm rot="10800000" flipH="1" flipV="1">
            <a:off x="6753225" y="796925"/>
            <a:ext cx="465138" cy="468313"/>
          </a:xfrm>
          <a:prstGeom prst="chevron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095" tIns="47546" rIns="95095" bIns="47546" anchor="ctr"/>
          <a:lstStyle>
            <a:lvl1pPr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4932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493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zh-CN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796" name="组合 74"/>
          <p:cNvGrpSpPr/>
          <p:nvPr/>
        </p:nvGrpSpPr>
        <p:grpSpPr bwMode="auto">
          <a:xfrm>
            <a:off x="7327900" y="750888"/>
            <a:ext cx="1419225" cy="517525"/>
            <a:chOff x="7328603" y="751426"/>
            <a:chExt cx="1417801" cy="517773"/>
          </a:xfrm>
        </p:grpSpPr>
        <p:grpSp>
          <p:nvGrpSpPr>
            <p:cNvPr id="33863" name="Group 24"/>
            <p:cNvGrpSpPr/>
            <p:nvPr/>
          </p:nvGrpSpPr>
          <p:grpSpPr bwMode="auto">
            <a:xfrm>
              <a:off x="7328603" y="800303"/>
              <a:ext cx="1417801" cy="468896"/>
              <a:chOff x="285063" y="1714500"/>
              <a:chExt cx="2020478" cy="668217"/>
            </a:xfrm>
          </p:grpSpPr>
          <p:sp>
            <p:nvSpPr>
              <p:cNvPr id="19" name="Rectangle 25"/>
              <p:cNvSpPr/>
              <p:nvPr/>
            </p:nvSpPr>
            <p:spPr bwMode="auto">
              <a:xfrm>
                <a:off x="285063" y="2237859"/>
                <a:ext cx="1356026" cy="144858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" name="Right Triangle 26"/>
              <p:cNvSpPr/>
              <p:nvPr>
                <p:custDataLst>
                  <p:tags r:id="rId3"/>
                </p:custDataLst>
              </p:nvPr>
            </p:nvSpPr>
            <p:spPr bwMode="auto">
              <a:xfrm rot="10800000" flipH="1" flipV="1">
                <a:off x="1641089" y="1715010"/>
                <a:ext cx="664452" cy="667707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64" name="矩形 52"/>
            <p:cNvSpPr>
              <a:spLocks noChangeArrowheads="1"/>
            </p:cNvSpPr>
            <p:nvPr/>
          </p:nvSpPr>
          <p:spPr bwMode="auto">
            <a:xfrm>
              <a:off x="7351737" y="751426"/>
              <a:ext cx="1040804" cy="443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797" name="组合 73"/>
          <p:cNvGrpSpPr/>
          <p:nvPr/>
        </p:nvGrpSpPr>
        <p:grpSpPr bwMode="auto">
          <a:xfrm>
            <a:off x="5307013" y="750888"/>
            <a:ext cx="1343025" cy="517525"/>
            <a:chOff x="5307258" y="751426"/>
            <a:chExt cx="1342440" cy="517775"/>
          </a:xfrm>
        </p:grpSpPr>
        <p:sp>
          <p:nvSpPr>
            <p:cNvPr id="15" name="Rectangle 21"/>
            <p:cNvSpPr/>
            <p:nvPr/>
          </p:nvSpPr>
          <p:spPr bwMode="auto">
            <a:xfrm>
              <a:off x="5334233" y="1178669"/>
              <a:ext cx="850529" cy="905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6" name="Right Triangle 22"/>
            <p:cNvSpPr/>
            <p:nvPr>
              <p:custDataLst>
                <p:tags r:id="rId4"/>
              </p:custDataLst>
            </p:nvPr>
          </p:nvSpPr>
          <p:spPr bwMode="auto">
            <a:xfrm rot="10800000" flipH="1" flipV="1">
              <a:off x="6184763" y="800662"/>
              <a:ext cx="464935" cy="468539"/>
            </a:xfrm>
            <a:prstGeom prst="rt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3862" name="矩形 53"/>
            <p:cNvSpPr>
              <a:spLocks noChangeArrowheads="1"/>
            </p:cNvSpPr>
            <p:nvPr/>
          </p:nvSpPr>
          <p:spPr bwMode="auto">
            <a:xfrm>
              <a:off x="5307258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798" name="组合 72"/>
          <p:cNvGrpSpPr/>
          <p:nvPr/>
        </p:nvGrpSpPr>
        <p:grpSpPr bwMode="auto">
          <a:xfrm>
            <a:off x="3303588" y="750888"/>
            <a:ext cx="1358900" cy="517525"/>
            <a:chOff x="3303924" y="751426"/>
            <a:chExt cx="1358802" cy="517777"/>
          </a:xfrm>
        </p:grpSpPr>
        <p:sp>
          <p:nvSpPr>
            <p:cNvPr id="11" name="Rectangle 17"/>
            <p:cNvSpPr/>
            <p:nvPr/>
          </p:nvSpPr>
          <p:spPr bwMode="auto">
            <a:xfrm>
              <a:off x="3346783" y="1178671"/>
              <a:ext cx="850839" cy="905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2" name="Right Triangle 18"/>
            <p:cNvSpPr/>
            <p:nvPr>
              <p:custDataLst>
                <p:tags r:id="rId5"/>
              </p:custDataLst>
            </p:nvPr>
          </p:nvSpPr>
          <p:spPr bwMode="auto">
            <a:xfrm rot="10800000" flipH="1" flipV="1">
              <a:off x="4197622" y="800662"/>
              <a:ext cx="465104" cy="468541"/>
            </a:xfrm>
            <a:prstGeom prst="rtTriangl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3859" name="矩形 54"/>
            <p:cNvSpPr>
              <a:spLocks noChangeArrowheads="1"/>
            </p:cNvSpPr>
            <p:nvPr/>
          </p:nvSpPr>
          <p:spPr bwMode="auto">
            <a:xfrm>
              <a:off x="3303924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799" name="组合 71"/>
          <p:cNvGrpSpPr/>
          <p:nvPr/>
        </p:nvGrpSpPr>
        <p:grpSpPr bwMode="auto">
          <a:xfrm>
            <a:off x="1833563" y="750888"/>
            <a:ext cx="1411287" cy="517525"/>
            <a:chOff x="1833467" y="751426"/>
            <a:chExt cx="1410825" cy="517776"/>
          </a:xfrm>
        </p:grpSpPr>
        <p:grpSp>
          <p:nvGrpSpPr>
            <p:cNvPr id="33853" name="Group 12"/>
            <p:cNvGrpSpPr/>
            <p:nvPr/>
          </p:nvGrpSpPr>
          <p:grpSpPr bwMode="auto">
            <a:xfrm>
              <a:off x="1928917" y="800306"/>
              <a:ext cx="1315375" cy="468896"/>
              <a:chOff x="274638" y="1714500"/>
              <a:chExt cx="1874520" cy="668216"/>
            </a:xfrm>
          </p:grpSpPr>
          <p:sp>
            <p:nvSpPr>
              <p:cNvPr id="7" name="Rectangle 13"/>
              <p:cNvSpPr/>
              <p:nvPr/>
            </p:nvSpPr>
            <p:spPr bwMode="auto">
              <a:xfrm>
                <a:off x="274309" y="2253701"/>
                <a:ext cx="1212207" cy="12901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8" name="Right Triangle 14"/>
              <p:cNvSpPr/>
              <p:nvPr>
                <p:custDataLst>
                  <p:tags r:id="rId6"/>
                </p:custDataLst>
              </p:nvPr>
            </p:nvSpPr>
            <p:spPr bwMode="auto">
              <a:xfrm rot="10800000" flipH="1" flipV="1">
                <a:off x="1486516" y="1715008"/>
                <a:ext cx="662642" cy="667708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54" name="矩形 55"/>
            <p:cNvSpPr>
              <a:spLocks noChangeArrowheads="1"/>
            </p:cNvSpPr>
            <p:nvPr/>
          </p:nvSpPr>
          <p:spPr bwMode="auto">
            <a:xfrm>
              <a:off x="1833467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800" name="组合 69"/>
          <p:cNvGrpSpPr/>
          <p:nvPr/>
        </p:nvGrpSpPr>
        <p:grpSpPr bwMode="auto">
          <a:xfrm>
            <a:off x="392113" y="750888"/>
            <a:ext cx="1433512" cy="517525"/>
            <a:chOff x="391344" y="751426"/>
            <a:chExt cx="1434509" cy="517773"/>
          </a:xfrm>
        </p:grpSpPr>
        <p:grpSp>
          <p:nvGrpSpPr>
            <p:cNvPr id="33849" name="Group 11"/>
            <p:cNvGrpSpPr/>
            <p:nvPr/>
          </p:nvGrpSpPr>
          <p:grpSpPr bwMode="auto">
            <a:xfrm>
              <a:off x="510478" y="800303"/>
              <a:ext cx="1315375" cy="468896"/>
              <a:chOff x="274638" y="1714500"/>
              <a:chExt cx="1874520" cy="668217"/>
            </a:xfrm>
          </p:grpSpPr>
          <p:sp>
            <p:nvSpPr>
              <p:cNvPr id="3" name="Rectangle 2"/>
              <p:cNvSpPr/>
              <p:nvPr/>
            </p:nvSpPr>
            <p:spPr bwMode="auto">
              <a:xfrm>
                <a:off x="274654" y="2253702"/>
                <a:ext cx="1211184" cy="12901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4" name="Right Triangle 9"/>
              <p:cNvSpPr/>
              <p:nvPr>
                <p:custDataLst>
                  <p:tags r:id="rId7"/>
                </p:custDataLst>
              </p:nvPr>
            </p:nvSpPr>
            <p:spPr bwMode="auto">
              <a:xfrm rot="10800000" flipH="1" flipV="1">
                <a:off x="1485838" y="1715010"/>
                <a:ext cx="663320" cy="667707"/>
              </a:xfrm>
              <a:prstGeom prst="rtTriangl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50" name="矩形 56"/>
            <p:cNvSpPr>
              <a:spLocks noChangeArrowheads="1"/>
            </p:cNvSpPr>
            <p:nvPr/>
          </p:nvSpPr>
          <p:spPr bwMode="auto">
            <a:xfrm>
              <a:off x="391344" y="751426"/>
              <a:ext cx="1040804" cy="416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14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9</a:t>
              </a:r>
              <a:endParaRPr lang="zh-CN" altLang="zh-CN" sz="20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801" name="组合 79"/>
          <p:cNvGrpSpPr/>
          <p:nvPr/>
        </p:nvGrpSpPr>
        <p:grpSpPr bwMode="auto">
          <a:xfrm>
            <a:off x="7215188" y="1335088"/>
            <a:ext cx="1522412" cy="1692275"/>
            <a:chOff x="7215052" y="1335525"/>
            <a:chExt cx="1522456" cy="1691748"/>
          </a:xfrm>
        </p:grpSpPr>
        <p:grpSp>
          <p:nvGrpSpPr>
            <p:cNvPr id="33842" name="Group 84"/>
            <p:cNvGrpSpPr/>
            <p:nvPr/>
          </p:nvGrpSpPr>
          <p:grpSpPr bwMode="auto">
            <a:xfrm>
              <a:off x="7215052" y="1335525"/>
              <a:ext cx="1522456" cy="1691748"/>
              <a:chOff x="9829214" y="2176613"/>
              <a:chExt cx="2169627" cy="1841352"/>
            </a:xfrm>
          </p:grpSpPr>
          <p:sp>
            <p:nvSpPr>
              <p:cNvPr id="29" name="Rectangle 60"/>
              <p:cNvSpPr/>
              <p:nvPr/>
            </p:nvSpPr>
            <p:spPr bwMode="auto">
              <a:xfrm>
                <a:off x="9833741" y="2667381"/>
                <a:ext cx="2165100" cy="135058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/>
              <a:lstStyle/>
              <a:p>
                <a:pPr marL="121285" indent="-121285" defTabSz="950595" eaLnBrk="1" hangingPunct="1">
                  <a:lnSpc>
                    <a:spcPct val="90000"/>
                  </a:lnSpc>
                  <a:spcAft>
                    <a:spcPts val="610"/>
                  </a:spcAft>
                  <a:buFont typeface="Arial" panose="020B0604020202020204" pitchFamily="34" charset="0"/>
                  <a:buChar char="•"/>
                  <a:defRPr/>
                </a:pPr>
                <a:endParaRPr lang="en-US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121285" indent="-121285" defTabSz="950595" eaLnBrk="1" hangingPunct="1">
                  <a:lnSpc>
                    <a:spcPct val="90000"/>
                  </a:lnSpc>
                  <a:spcAft>
                    <a:spcPts val="610"/>
                  </a:spcAft>
                  <a:buFont typeface="Arial" panose="020B0604020202020204" pitchFamily="34" charset="0"/>
                  <a:buChar char="•"/>
                  <a:defRPr/>
                </a:pPr>
                <a:endParaRPr lang="en-US" sz="1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Rectangle 61"/>
              <p:cNvSpPr/>
              <p:nvPr/>
            </p:nvSpPr>
            <p:spPr bwMode="auto">
              <a:xfrm>
                <a:off x="9829214" y="2176613"/>
                <a:ext cx="2168262" cy="561789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43" name="矩形 59"/>
            <p:cNvSpPr>
              <a:spLocks noChangeArrowheads="1"/>
            </p:cNvSpPr>
            <p:nvPr/>
          </p:nvSpPr>
          <p:spPr bwMode="auto">
            <a:xfrm>
              <a:off x="7454563" y="1484399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844" name="矩形 62"/>
            <p:cNvSpPr>
              <a:spLocks noChangeArrowheads="1"/>
            </p:cNvSpPr>
            <p:nvPr/>
          </p:nvSpPr>
          <p:spPr bwMode="auto">
            <a:xfrm>
              <a:off x="7362493" y="2026637"/>
              <a:ext cx="129910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802" name="组合 70"/>
          <p:cNvGrpSpPr/>
          <p:nvPr/>
        </p:nvGrpSpPr>
        <p:grpSpPr bwMode="auto">
          <a:xfrm>
            <a:off x="400050" y="1331913"/>
            <a:ext cx="1520825" cy="909637"/>
            <a:chOff x="399797" y="1331764"/>
            <a:chExt cx="1521498" cy="909313"/>
          </a:xfrm>
        </p:grpSpPr>
        <p:grpSp>
          <p:nvGrpSpPr>
            <p:cNvPr id="33835" name="Group 3"/>
            <p:cNvGrpSpPr/>
            <p:nvPr/>
          </p:nvGrpSpPr>
          <p:grpSpPr bwMode="auto">
            <a:xfrm>
              <a:off x="399797" y="1331764"/>
              <a:ext cx="1521498" cy="909313"/>
              <a:chOff x="116908" y="2171253"/>
              <a:chExt cx="2168262" cy="1295847"/>
            </a:xfrm>
          </p:grpSpPr>
          <p:sp>
            <p:nvSpPr>
              <p:cNvPr id="37" name="Rectangle 30"/>
              <p:cNvSpPr/>
              <p:nvPr/>
            </p:nvSpPr>
            <p:spPr bwMode="auto">
              <a:xfrm>
                <a:off x="128225" y="2171253"/>
                <a:ext cx="2156945" cy="129584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38" name="Rectangle 46"/>
              <p:cNvSpPr/>
              <p:nvPr/>
            </p:nvSpPr>
            <p:spPr bwMode="auto">
              <a:xfrm>
                <a:off x="116908" y="2171253"/>
                <a:ext cx="2168262" cy="478284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36" name="矩形 57"/>
            <p:cNvSpPr>
              <a:spLocks noChangeArrowheads="1"/>
            </p:cNvSpPr>
            <p:nvPr/>
          </p:nvSpPr>
          <p:spPr bwMode="auto">
            <a:xfrm>
              <a:off x="595158" y="1343145"/>
              <a:ext cx="105189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837" name="矩形 63"/>
            <p:cNvSpPr>
              <a:spLocks noChangeArrowheads="1"/>
            </p:cNvSpPr>
            <p:nvPr/>
          </p:nvSpPr>
          <p:spPr bwMode="auto">
            <a:xfrm>
              <a:off x="519564" y="1771180"/>
              <a:ext cx="12618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拒绝平庸的做事</a:t>
              </a:r>
              <a:endParaRPr lang="zh-CN" alt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33803" name="组合 76"/>
          <p:cNvGrpSpPr/>
          <p:nvPr/>
        </p:nvGrpSpPr>
        <p:grpSpPr bwMode="auto">
          <a:xfrm>
            <a:off x="1744663" y="2290763"/>
            <a:ext cx="1520825" cy="736600"/>
            <a:chOff x="1744764" y="2290935"/>
            <a:chExt cx="1521498" cy="736336"/>
          </a:xfrm>
        </p:grpSpPr>
        <p:grpSp>
          <p:nvGrpSpPr>
            <p:cNvPr id="33828" name="Group 87"/>
            <p:cNvGrpSpPr/>
            <p:nvPr/>
          </p:nvGrpSpPr>
          <p:grpSpPr bwMode="auto">
            <a:xfrm>
              <a:off x="1744764" y="2290935"/>
              <a:ext cx="1521498" cy="736336"/>
              <a:chOff x="2033599" y="3538154"/>
              <a:chExt cx="2168263" cy="1049341"/>
            </a:xfrm>
          </p:grpSpPr>
          <p:sp>
            <p:nvSpPr>
              <p:cNvPr id="25" name="Rectangle 34"/>
              <p:cNvSpPr/>
              <p:nvPr/>
            </p:nvSpPr>
            <p:spPr bwMode="auto">
              <a:xfrm>
                <a:off x="2040388" y="3549461"/>
                <a:ext cx="2161474" cy="103803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26" name="Rectangle 45"/>
              <p:cNvSpPr/>
              <p:nvPr/>
            </p:nvSpPr>
            <p:spPr bwMode="auto">
              <a:xfrm>
                <a:off x="2033599" y="3538154"/>
                <a:ext cx="2168262" cy="47828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29" name="矩形 58"/>
            <p:cNvSpPr>
              <a:spLocks noChangeArrowheads="1"/>
            </p:cNvSpPr>
            <p:nvPr/>
          </p:nvSpPr>
          <p:spPr bwMode="auto">
            <a:xfrm>
              <a:off x="1977116" y="2324159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830" name="矩形 64"/>
            <p:cNvSpPr>
              <a:spLocks noChangeArrowheads="1"/>
            </p:cNvSpPr>
            <p:nvPr/>
          </p:nvSpPr>
          <p:spPr bwMode="auto">
            <a:xfrm>
              <a:off x="1931980" y="2695217"/>
              <a:ext cx="110799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804" name="组合 75"/>
          <p:cNvGrpSpPr/>
          <p:nvPr/>
        </p:nvGrpSpPr>
        <p:grpSpPr bwMode="auto">
          <a:xfrm>
            <a:off x="3173413" y="3081338"/>
            <a:ext cx="1679575" cy="1343025"/>
            <a:chOff x="3172751" y="3081178"/>
            <a:chExt cx="1679455" cy="1343280"/>
          </a:xfrm>
        </p:grpSpPr>
        <p:grpSp>
          <p:nvGrpSpPr>
            <p:cNvPr id="33821" name="Group 86"/>
            <p:cNvGrpSpPr/>
            <p:nvPr/>
          </p:nvGrpSpPr>
          <p:grpSpPr bwMode="auto">
            <a:xfrm>
              <a:off x="3172751" y="3081178"/>
              <a:ext cx="1521498" cy="1343280"/>
              <a:chOff x="4068600" y="4664779"/>
              <a:chExt cx="2168262" cy="1716971"/>
            </a:xfrm>
          </p:grpSpPr>
          <p:sp>
            <p:nvSpPr>
              <p:cNvPr id="44" name="Rectangle 37"/>
              <p:cNvSpPr/>
              <p:nvPr/>
            </p:nvSpPr>
            <p:spPr bwMode="auto">
              <a:xfrm>
                <a:off x="4079910" y="4668838"/>
                <a:ext cx="2155838" cy="1712912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 bwMode="auto">
              <a:xfrm>
                <a:off x="4068600" y="4664779"/>
                <a:ext cx="2168262" cy="552959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22" name="矩形 65"/>
            <p:cNvSpPr>
              <a:spLocks noChangeArrowheads="1"/>
            </p:cNvSpPr>
            <p:nvPr/>
          </p:nvSpPr>
          <p:spPr bwMode="auto">
            <a:xfrm>
              <a:off x="3338339" y="3640822"/>
              <a:ext cx="1513867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拥有国内顶尖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823" name="矩形 66"/>
            <p:cNvSpPr>
              <a:spLocks noChangeArrowheads="1"/>
            </p:cNvSpPr>
            <p:nvPr/>
          </p:nvSpPr>
          <p:spPr bwMode="auto">
            <a:xfrm>
              <a:off x="3392720" y="3138996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805" name="组合 78"/>
          <p:cNvGrpSpPr/>
          <p:nvPr/>
        </p:nvGrpSpPr>
        <p:grpSpPr bwMode="auto">
          <a:xfrm>
            <a:off x="7207250" y="3300413"/>
            <a:ext cx="1538288" cy="941387"/>
            <a:chOff x="7207904" y="3300653"/>
            <a:chExt cx="1536957" cy="941041"/>
          </a:xfrm>
        </p:grpSpPr>
        <p:grpSp>
          <p:nvGrpSpPr>
            <p:cNvPr id="33814" name="Group 85"/>
            <p:cNvGrpSpPr/>
            <p:nvPr/>
          </p:nvGrpSpPr>
          <p:grpSpPr bwMode="auto">
            <a:xfrm>
              <a:off x="7207904" y="3300653"/>
              <a:ext cx="1531817" cy="941041"/>
              <a:chOff x="9819033" y="4271964"/>
              <a:chExt cx="2182968" cy="1341063"/>
            </a:xfrm>
          </p:grpSpPr>
          <p:sp>
            <p:nvSpPr>
              <p:cNvPr id="33" name="Rectangle 63"/>
              <p:cNvSpPr/>
              <p:nvPr/>
            </p:nvSpPr>
            <p:spPr bwMode="auto">
              <a:xfrm>
                <a:off x="9834856" y="4760446"/>
                <a:ext cx="2167687" cy="85258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34" name="Rectangle 64"/>
              <p:cNvSpPr/>
              <p:nvPr/>
            </p:nvSpPr>
            <p:spPr bwMode="auto">
              <a:xfrm>
                <a:off x="9819033" y="4271964"/>
                <a:ext cx="2168262" cy="48819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15" name="矩形 60"/>
            <p:cNvSpPr>
              <a:spLocks noChangeArrowheads="1"/>
            </p:cNvSpPr>
            <p:nvPr/>
          </p:nvSpPr>
          <p:spPr bwMode="auto">
            <a:xfrm>
              <a:off x="7454563" y="3304671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816" name="矩形 67"/>
            <p:cNvSpPr>
              <a:spLocks noChangeArrowheads="1"/>
            </p:cNvSpPr>
            <p:nvPr/>
          </p:nvSpPr>
          <p:spPr bwMode="auto">
            <a:xfrm>
              <a:off x="7274396" y="3718545"/>
              <a:ext cx="147046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观、精致、严谨。</a:t>
              </a:r>
              <a:endParaRPr lang="en-US" altLang="zh-CN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806" name="组合 77"/>
          <p:cNvGrpSpPr/>
          <p:nvPr/>
        </p:nvGrpSpPr>
        <p:grpSpPr bwMode="auto">
          <a:xfrm>
            <a:off x="5229225" y="1328738"/>
            <a:ext cx="1524000" cy="1427162"/>
            <a:chOff x="5228875" y="1329381"/>
            <a:chExt cx="1523880" cy="1426033"/>
          </a:xfrm>
        </p:grpSpPr>
        <p:grpSp>
          <p:nvGrpSpPr>
            <p:cNvPr id="33807" name="Group 83"/>
            <p:cNvGrpSpPr/>
            <p:nvPr/>
          </p:nvGrpSpPr>
          <p:grpSpPr bwMode="auto">
            <a:xfrm>
              <a:off x="5228875" y="1329381"/>
              <a:ext cx="1523880" cy="1426033"/>
              <a:chOff x="6998749" y="2167861"/>
              <a:chExt cx="2171657" cy="2032217"/>
            </a:xfrm>
          </p:grpSpPr>
          <p:sp>
            <p:nvSpPr>
              <p:cNvPr id="40" name="Rectangle 47"/>
              <p:cNvSpPr/>
              <p:nvPr/>
            </p:nvSpPr>
            <p:spPr bwMode="auto">
              <a:xfrm>
                <a:off x="7003273" y="2172382"/>
                <a:ext cx="2167133" cy="202769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3260" tIns="93260" rIns="93260" bIns="93260" anchor="b"/>
              <a:lstStyle>
                <a:lvl1pPr marL="120650" indent="-1206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defTabSz="9493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9493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Aft>
                    <a:spcPts val="615"/>
                  </a:spcAft>
                  <a:buFont typeface="Arial" panose="020B0604020202020204" pitchFamily="34" charset="0"/>
                  <a:buChar char="•"/>
                  <a:defRPr/>
                </a:pPr>
                <a:endParaRPr lang="en-US" altLang="zh-CN" sz="1400" smtClean="0">
                  <a:cs typeface="Segoe UI" panose="020B0502040204020203" pitchFamily="34" charset="0"/>
                </a:endParaRPr>
              </a:p>
            </p:txBody>
          </p:sp>
          <p:sp>
            <p:nvSpPr>
              <p:cNvPr id="41" name="Rectangle 48"/>
              <p:cNvSpPr/>
              <p:nvPr/>
            </p:nvSpPr>
            <p:spPr bwMode="auto">
              <a:xfrm>
                <a:off x="6998749" y="2167861"/>
                <a:ext cx="2168262" cy="677080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008FBA">
                    <a:satMod val="300000"/>
                  </a:srgbClr>
                </a:contourClr>
              </a:sp3d>
            </p:spPr>
            <p:txBody>
              <a:bodyPr lIns="186423" tIns="93212" rIns="186423" bIns="93212" anchor="b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33808" name="矩形 61"/>
            <p:cNvSpPr>
              <a:spLocks noChangeArrowheads="1"/>
            </p:cNvSpPr>
            <p:nvPr/>
          </p:nvSpPr>
          <p:spPr bwMode="auto">
            <a:xfrm>
              <a:off x="5428882" y="1395239"/>
              <a:ext cx="10663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altLang="zh-CN" sz="16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809" name="矩形 68"/>
            <p:cNvSpPr>
              <a:spLocks noChangeArrowheads="1"/>
            </p:cNvSpPr>
            <p:nvPr/>
          </p:nvSpPr>
          <p:spPr bwMode="auto">
            <a:xfrm>
              <a:off x="5370017" y="1851670"/>
              <a:ext cx="1363689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顶级的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818" name="组合 39"/>
          <p:cNvGrpSpPr/>
          <p:nvPr/>
        </p:nvGrpSpPr>
        <p:grpSpPr bwMode="auto">
          <a:xfrm>
            <a:off x="6321425" y="714375"/>
            <a:ext cx="1168400" cy="1152525"/>
            <a:chOff x="6321106" y="714375"/>
            <a:chExt cx="1169032" cy="1152153"/>
          </a:xfrm>
        </p:grpSpPr>
        <p:sp>
          <p:nvSpPr>
            <p:cNvPr id="3" name="Orange"/>
            <p:cNvSpPr/>
            <p:nvPr/>
          </p:nvSpPr>
          <p:spPr bwMode="auto">
            <a:xfrm>
              <a:off x="6321106" y="714375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4846" name="组合 16"/>
            <p:cNvGrpSpPr/>
            <p:nvPr/>
          </p:nvGrpSpPr>
          <p:grpSpPr bwMode="auto">
            <a:xfrm>
              <a:off x="6638637" y="976517"/>
              <a:ext cx="533969" cy="627868"/>
              <a:chOff x="7272348" y="1134678"/>
              <a:chExt cx="533969" cy="627868"/>
            </a:xfrm>
          </p:grpSpPr>
          <p:sp>
            <p:nvSpPr>
              <p:cNvPr id="34847" name="Freeform 88"/>
              <p:cNvSpPr>
                <a:spLocks noEditPoints="1"/>
              </p:cNvSpPr>
              <p:nvPr/>
            </p:nvSpPr>
            <p:spPr bwMode="auto">
              <a:xfrm>
                <a:off x="7568660" y="1141755"/>
                <a:ext cx="237657" cy="386730"/>
              </a:xfrm>
              <a:custGeom>
                <a:avLst/>
                <a:gdLst>
                  <a:gd name="T0" fmla="*/ 2147483646 w 199"/>
                  <a:gd name="T1" fmla="*/ 2147483646 h 324"/>
                  <a:gd name="T2" fmla="*/ 2147483646 w 199"/>
                  <a:gd name="T3" fmla="*/ 2147483646 h 324"/>
                  <a:gd name="T4" fmla="*/ 2147483646 w 199"/>
                  <a:gd name="T5" fmla="*/ 0 h 324"/>
                  <a:gd name="T6" fmla="*/ 2147483646 w 199"/>
                  <a:gd name="T7" fmla="*/ 2147483646 h 324"/>
                  <a:gd name="T8" fmla="*/ 2147483646 w 199"/>
                  <a:gd name="T9" fmla="*/ 2147483646 h 324"/>
                  <a:gd name="T10" fmla="*/ 0 w 199"/>
                  <a:gd name="T11" fmla="*/ 2147483646 h 324"/>
                  <a:gd name="T12" fmla="*/ 2147483646 w 199"/>
                  <a:gd name="T13" fmla="*/ 2147483646 h 324"/>
                  <a:gd name="T14" fmla="*/ 2147483646 w 199"/>
                  <a:gd name="T15" fmla="*/ 2147483646 h 324"/>
                  <a:gd name="T16" fmla="*/ 2147483646 w 199"/>
                  <a:gd name="T17" fmla="*/ 2147483646 h 324"/>
                  <a:gd name="T18" fmla="*/ 2147483646 w 199"/>
                  <a:gd name="T19" fmla="*/ 2147483646 h 324"/>
                  <a:gd name="T20" fmla="*/ 2147483646 w 199"/>
                  <a:gd name="T21" fmla="*/ 2147483646 h 324"/>
                  <a:gd name="T22" fmla="*/ 2147483646 w 199"/>
                  <a:gd name="T23" fmla="*/ 2147483646 h 324"/>
                  <a:gd name="T24" fmla="*/ 2147483646 w 199"/>
                  <a:gd name="T25" fmla="*/ 2147483646 h 324"/>
                  <a:gd name="T26" fmla="*/ 2147483646 w 199"/>
                  <a:gd name="T27" fmla="*/ 2147483646 h 324"/>
                  <a:gd name="T28" fmla="*/ 2147483646 w 199"/>
                  <a:gd name="T29" fmla="*/ 2147483646 h 324"/>
                  <a:gd name="T30" fmla="*/ 2147483646 w 199"/>
                  <a:gd name="T31" fmla="*/ 2147483646 h 32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99" h="324">
                    <a:moveTo>
                      <a:pt x="137" y="164"/>
                    </a:moveTo>
                    <a:cubicBezTo>
                      <a:pt x="183" y="1"/>
                      <a:pt x="183" y="1"/>
                      <a:pt x="183" y="1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75" y="134"/>
                      <a:pt x="75" y="134"/>
                      <a:pt x="75" y="134"/>
                    </a:cubicBezTo>
                    <a:cubicBezTo>
                      <a:pt x="3" y="156"/>
                      <a:pt x="3" y="156"/>
                      <a:pt x="3" y="156"/>
                    </a:cubicBezTo>
                    <a:cubicBezTo>
                      <a:pt x="1" y="161"/>
                      <a:pt x="1" y="164"/>
                      <a:pt x="0" y="165"/>
                    </a:cubicBezTo>
                    <a:cubicBezTo>
                      <a:pt x="1" y="167"/>
                      <a:pt x="6" y="179"/>
                      <a:pt x="13" y="196"/>
                    </a:cubicBezTo>
                    <a:cubicBezTo>
                      <a:pt x="79" y="203"/>
                      <a:pt x="79" y="203"/>
                      <a:pt x="79" y="203"/>
                    </a:cubicBezTo>
                    <a:cubicBezTo>
                      <a:pt x="197" y="324"/>
                      <a:pt x="197" y="324"/>
                      <a:pt x="197" y="324"/>
                    </a:cubicBezTo>
                    <a:cubicBezTo>
                      <a:pt x="199" y="323"/>
                      <a:pt x="199" y="323"/>
                      <a:pt x="199" y="323"/>
                    </a:cubicBezTo>
                    <a:lnTo>
                      <a:pt x="137" y="164"/>
                    </a:lnTo>
                    <a:close/>
                    <a:moveTo>
                      <a:pt x="77" y="177"/>
                    </a:moveTo>
                    <a:cubicBezTo>
                      <a:pt x="72" y="166"/>
                      <a:pt x="77" y="152"/>
                      <a:pt x="88" y="147"/>
                    </a:cubicBezTo>
                    <a:cubicBezTo>
                      <a:pt x="99" y="142"/>
                      <a:pt x="113" y="147"/>
                      <a:pt x="118" y="158"/>
                    </a:cubicBezTo>
                    <a:cubicBezTo>
                      <a:pt x="123" y="170"/>
                      <a:pt x="118" y="183"/>
                      <a:pt x="107" y="188"/>
                    </a:cubicBezTo>
                    <a:cubicBezTo>
                      <a:pt x="95" y="194"/>
                      <a:pt x="82" y="189"/>
                      <a:pt x="77" y="1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4848" name="Freeform 89"/>
              <p:cNvSpPr/>
              <p:nvPr/>
            </p:nvSpPr>
            <p:spPr bwMode="auto">
              <a:xfrm>
                <a:off x="7635406" y="1405642"/>
                <a:ext cx="106187" cy="348816"/>
              </a:xfrm>
              <a:custGeom>
                <a:avLst/>
                <a:gdLst>
                  <a:gd name="T0" fmla="*/ 2147483646 w 89"/>
                  <a:gd name="T1" fmla="*/ 2147483646 h 292"/>
                  <a:gd name="T2" fmla="*/ 2147483646 w 89"/>
                  <a:gd name="T3" fmla="*/ 2147483646 h 292"/>
                  <a:gd name="T4" fmla="*/ 2147483646 w 89"/>
                  <a:gd name="T5" fmla="*/ 0 h 292"/>
                  <a:gd name="T6" fmla="*/ 2147483646 w 89"/>
                  <a:gd name="T7" fmla="*/ 2147483646 h 292"/>
                  <a:gd name="T8" fmla="*/ 0 w 89"/>
                  <a:gd name="T9" fmla="*/ 2147483646 h 292"/>
                  <a:gd name="T10" fmla="*/ 0 w 89"/>
                  <a:gd name="T11" fmla="*/ 2147483646 h 292"/>
                  <a:gd name="T12" fmla="*/ 2147483646 w 89"/>
                  <a:gd name="T13" fmla="*/ 2147483646 h 292"/>
                  <a:gd name="T14" fmla="*/ 2147483646 w 89"/>
                  <a:gd name="T15" fmla="*/ 2147483646 h 292"/>
                  <a:gd name="T16" fmla="*/ 2147483646 w 89"/>
                  <a:gd name="T17" fmla="*/ 2147483646 h 292"/>
                  <a:gd name="T18" fmla="*/ 2147483646 w 89"/>
                  <a:gd name="T19" fmla="*/ 2147483646 h 29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89" h="292">
                    <a:moveTo>
                      <a:pt x="65" y="264"/>
                    </a:moveTo>
                    <a:cubicBezTo>
                      <a:pt x="55" y="24"/>
                      <a:pt x="55" y="24"/>
                      <a:pt x="55" y="24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1" y="264"/>
                      <a:pt x="21" y="264"/>
                      <a:pt x="21" y="264"/>
                    </a:cubicBezTo>
                    <a:cubicBezTo>
                      <a:pt x="8" y="266"/>
                      <a:pt x="0" y="268"/>
                      <a:pt x="0" y="271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0" y="289"/>
                      <a:pt x="20" y="292"/>
                      <a:pt x="44" y="292"/>
                    </a:cubicBezTo>
                    <a:cubicBezTo>
                      <a:pt x="69" y="292"/>
                      <a:pt x="89" y="289"/>
                      <a:pt x="89" y="285"/>
                    </a:cubicBezTo>
                    <a:cubicBezTo>
                      <a:pt x="89" y="271"/>
                      <a:pt x="89" y="271"/>
                      <a:pt x="89" y="271"/>
                    </a:cubicBezTo>
                    <a:cubicBezTo>
                      <a:pt x="89" y="268"/>
                      <a:pt x="79" y="266"/>
                      <a:pt x="65" y="2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4849" name="Freeform 90"/>
              <p:cNvSpPr/>
              <p:nvPr/>
            </p:nvSpPr>
            <p:spPr bwMode="auto">
              <a:xfrm>
                <a:off x="7452360" y="1418786"/>
                <a:ext cx="111244" cy="343760"/>
              </a:xfrm>
              <a:custGeom>
                <a:avLst/>
                <a:gdLst>
                  <a:gd name="T0" fmla="*/ 2147483646 w 93"/>
                  <a:gd name="T1" fmla="*/ 2147483646 h 288"/>
                  <a:gd name="T2" fmla="*/ 2147483646 w 93"/>
                  <a:gd name="T3" fmla="*/ 2147483646 h 288"/>
                  <a:gd name="T4" fmla="*/ 2147483646 w 93"/>
                  <a:gd name="T5" fmla="*/ 0 h 288"/>
                  <a:gd name="T6" fmla="*/ 2147483646 w 93"/>
                  <a:gd name="T7" fmla="*/ 2147483646 h 288"/>
                  <a:gd name="T8" fmla="*/ 0 w 93"/>
                  <a:gd name="T9" fmla="*/ 2147483646 h 288"/>
                  <a:gd name="T10" fmla="*/ 0 w 93"/>
                  <a:gd name="T11" fmla="*/ 2147483646 h 288"/>
                  <a:gd name="T12" fmla="*/ 2147483646 w 93"/>
                  <a:gd name="T13" fmla="*/ 2147483646 h 288"/>
                  <a:gd name="T14" fmla="*/ 2147483646 w 93"/>
                  <a:gd name="T15" fmla="*/ 2147483646 h 288"/>
                  <a:gd name="T16" fmla="*/ 2147483646 w 93"/>
                  <a:gd name="T17" fmla="*/ 2147483646 h 288"/>
                  <a:gd name="T18" fmla="*/ 2147483646 w 93"/>
                  <a:gd name="T19" fmla="*/ 2147483646 h 2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3" h="288">
                    <a:moveTo>
                      <a:pt x="69" y="259"/>
                    </a:moveTo>
                    <a:cubicBezTo>
                      <a:pt x="58" y="25"/>
                      <a:pt x="58" y="25"/>
                      <a:pt x="58" y="25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2" y="260"/>
                      <a:pt x="22" y="260"/>
                      <a:pt x="22" y="260"/>
                    </a:cubicBezTo>
                    <a:cubicBezTo>
                      <a:pt x="9" y="261"/>
                      <a:pt x="0" y="264"/>
                      <a:pt x="0" y="266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4"/>
                      <a:pt x="21" y="288"/>
                      <a:pt x="47" y="288"/>
                    </a:cubicBezTo>
                    <a:cubicBezTo>
                      <a:pt x="72" y="288"/>
                      <a:pt x="93" y="284"/>
                      <a:pt x="93" y="280"/>
                    </a:cubicBezTo>
                    <a:cubicBezTo>
                      <a:pt x="93" y="266"/>
                      <a:pt x="93" y="266"/>
                      <a:pt x="93" y="266"/>
                    </a:cubicBezTo>
                    <a:cubicBezTo>
                      <a:pt x="93" y="263"/>
                      <a:pt x="83" y="261"/>
                      <a:pt x="69" y="2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4850" name="Freeform 91"/>
              <p:cNvSpPr>
                <a:spLocks noEditPoints="1"/>
              </p:cNvSpPr>
              <p:nvPr/>
            </p:nvSpPr>
            <p:spPr bwMode="auto">
              <a:xfrm>
                <a:off x="7272348" y="1134678"/>
                <a:ext cx="359519" cy="404930"/>
              </a:xfrm>
              <a:custGeom>
                <a:avLst/>
                <a:gdLst>
                  <a:gd name="T0" fmla="*/ 2147483646 w 301"/>
                  <a:gd name="T1" fmla="*/ 2147483646 h 339"/>
                  <a:gd name="T2" fmla="*/ 2147483646 w 301"/>
                  <a:gd name="T3" fmla="*/ 2147483646 h 339"/>
                  <a:gd name="T4" fmla="*/ 2147483646 w 301"/>
                  <a:gd name="T5" fmla="*/ 0 h 339"/>
                  <a:gd name="T6" fmla="*/ 2147483646 w 301"/>
                  <a:gd name="T7" fmla="*/ 2147483646 h 339"/>
                  <a:gd name="T8" fmla="*/ 0 w 301"/>
                  <a:gd name="T9" fmla="*/ 2147483646 h 339"/>
                  <a:gd name="T10" fmla="*/ 0 w 301"/>
                  <a:gd name="T11" fmla="*/ 2147483646 h 339"/>
                  <a:gd name="T12" fmla="*/ 2147483646 w 301"/>
                  <a:gd name="T13" fmla="*/ 2147483646 h 339"/>
                  <a:gd name="T14" fmla="*/ 2147483646 w 301"/>
                  <a:gd name="T15" fmla="*/ 2147483646 h 339"/>
                  <a:gd name="T16" fmla="*/ 2147483646 w 301"/>
                  <a:gd name="T17" fmla="*/ 2147483646 h 339"/>
                  <a:gd name="T18" fmla="*/ 2147483646 w 301"/>
                  <a:gd name="T19" fmla="*/ 2147483646 h 339"/>
                  <a:gd name="T20" fmla="*/ 2147483646 w 301"/>
                  <a:gd name="T21" fmla="*/ 2147483646 h 339"/>
                  <a:gd name="T22" fmla="*/ 2147483646 w 301"/>
                  <a:gd name="T23" fmla="*/ 2147483646 h 339"/>
                  <a:gd name="T24" fmla="*/ 2147483646 w 301"/>
                  <a:gd name="T25" fmla="*/ 2147483646 h 339"/>
                  <a:gd name="T26" fmla="*/ 2147483646 w 301"/>
                  <a:gd name="T27" fmla="*/ 2147483646 h 339"/>
                  <a:gd name="T28" fmla="*/ 2147483646 w 301"/>
                  <a:gd name="T29" fmla="*/ 2147483646 h 33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01" h="339">
                    <a:moveTo>
                      <a:pt x="236" y="172"/>
                    </a:moveTo>
                    <a:cubicBezTo>
                      <a:pt x="284" y="1"/>
                      <a:pt x="284" y="1"/>
                      <a:pt x="284" y="1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171" y="140"/>
                      <a:pt x="171" y="140"/>
                      <a:pt x="171" y="140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176" y="212"/>
                      <a:pt x="176" y="212"/>
                      <a:pt x="176" y="212"/>
                    </a:cubicBezTo>
                    <a:cubicBezTo>
                      <a:pt x="299" y="339"/>
                      <a:pt x="299" y="339"/>
                      <a:pt x="299" y="339"/>
                    </a:cubicBezTo>
                    <a:cubicBezTo>
                      <a:pt x="301" y="338"/>
                      <a:pt x="301" y="338"/>
                      <a:pt x="301" y="338"/>
                    </a:cubicBezTo>
                    <a:lnTo>
                      <a:pt x="236" y="172"/>
                    </a:lnTo>
                    <a:close/>
                    <a:moveTo>
                      <a:pt x="205" y="197"/>
                    </a:moveTo>
                    <a:cubicBezTo>
                      <a:pt x="193" y="202"/>
                      <a:pt x="179" y="197"/>
                      <a:pt x="173" y="185"/>
                    </a:cubicBezTo>
                    <a:cubicBezTo>
                      <a:pt x="168" y="173"/>
                      <a:pt x="173" y="159"/>
                      <a:pt x="185" y="154"/>
                    </a:cubicBezTo>
                    <a:cubicBezTo>
                      <a:pt x="197" y="148"/>
                      <a:pt x="211" y="154"/>
                      <a:pt x="217" y="165"/>
                    </a:cubicBezTo>
                    <a:cubicBezTo>
                      <a:pt x="222" y="177"/>
                      <a:pt x="217" y="192"/>
                      <a:pt x="205" y="19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34819" name="组合 40"/>
          <p:cNvGrpSpPr/>
          <p:nvPr/>
        </p:nvGrpSpPr>
        <p:grpSpPr bwMode="auto">
          <a:xfrm>
            <a:off x="7559675" y="714375"/>
            <a:ext cx="1169988" cy="1152525"/>
            <a:chOff x="7560321" y="714375"/>
            <a:chExt cx="1169032" cy="1152153"/>
          </a:xfrm>
        </p:grpSpPr>
        <p:sp>
          <p:nvSpPr>
            <p:cNvPr id="10" name="Orange"/>
            <p:cNvSpPr/>
            <p:nvPr/>
          </p:nvSpPr>
          <p:spPr bwMode="auto">
            <a:xfrm>
              <a:off x="7560321" y="714375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tangle 92166"/>
            <p:cNvSpPr/>
            <p:nvPr>
              <p:custDataLst>
                <p:tags r:id="rId1"/>
              </p:custDataLst>
            </p:nvPr>
          </p:nvSpPr>
          <p:spPr bwMode="auto">
            <a:xfrm flipV="1">
              <a:off x="7928320" y="1038120"/>
              <a:ext cx="433034" cy="504662"/>
            </a:xfrm>
            <a:custGeom>
              <a:avLst/>
              <a:gdLst/>
              <a:ahLst/>
              <a:cxnLst/>
              <a:rect l="l" t="t" r="r" b="b"/>
              <a:pathLst>
                <a:path w="822103" h="1128292">
                  <a:moveTo>
                    <a:pt x="698119" y="563492"/>
                  </a:moveTo>
                  <a:lnTo>
                    <a:pt x="370918" y="284334"/>
                  </a:lnTo>
                  <a:lnTo>
                    <a:pt x="280941" y="205737"/>
                  </a:lnTo>
                  <a:lnTo>
                    <a:pt x="128851" y="379847"/>
                  </a:lnTo>
                  <a:lnTo>
                    <a:pt x="56929" y="317022"/>
                  </a:lnTo>
                  <a:lnTo>
                    <a:pt x="264169" y="79779"/>
                  </a:lnTo>
                  <a:cubicBezTo>
                    <a:pt x="269372" y="74505"/>
                    <a:pt x="274695" y="68970"/>
                    <a:pt x="280207" y="63224"/>
                  </a:cubicBezTo>
                  <a:lnTo>
                    <a:pt x="765173" y="487802"/>
                  </a:lnTo>
                  <a:lnTo>
                    <a:pt x="702684" y="559339"/>
                  </a:lnTo>
                  <a:close/>
                  <a:moveTo>
                    <a:pt x="574455" y="1110341"/>
                  </a:moveTo>
                  <a:lnTo>
                    <a:pt x="574455" y="823073"/>
                  </a:lnTo>
                  <a:lnTo>
                    <a:pt x="803055" y="823073"/>
                  </a:lnTo>
                  <a:close/>
                  <a:moveTo>
                    <a:pt x="0" y="1128292"/>
                  </a:moveTo>
                  <a:lnTo>
                    <a:pt x="593503" y="1128292"/>
                  </a:lnTo>
                  <a:lnTo>
                    <a:pt x="822103" y="841025"/>
                  </a:lnTo>
                  <a:lnTo>
                    <a:pt x="822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noFill/>
              <a:prstDash val="solid"/>
            </a:ln>
            <a:effectLst/>
          </p:spPr>
          <p:txBody>
            <a:bodyPr lIns="91406" tIns="45702" rIns="91406" bIns="45702" anchor="ctr"/>
            <a:lstStyle/>
            <a:p>
              <a:pPr algn="ctr" defTabSz="93154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err="1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4820" name="组合 44"/>
          <p:cNvGrpSpPr/>
          <p:nvPr/>
        </p:nvGrpSpPr>
        <p:grpSpPr bwMode="auto">
          <a:xfrm>
            <a:off x="6321425" y="1957388"/>
            <a:ext cx="1168400" cy="1152525"/>
            <a:chOff x="6321106" y="1957423"/>
            <a:chExt cx="1169032" cy="1152153"/>
          </a:xfrm>
        </p:grpSpPr>
        <p:sp>
          <p:nvSpPr>
            <p:cNvPr id="6" name="Orange"/>
            <p:cNvSpPr/>
            <p:nvPr/>
          </p:nvSpPr>
          <p:spPr bwMode="auto">
            <a:xfrm>
              <a:off x="6321106" y="1957423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9" name="Group 15"/>
            <p:cNvGrpSpPr/>
            <p:nvPr>
              <p:custDataLst>
                <p:tags r:id="rId2"/>
              </p:custDataLst>
            </p:nvPr>
          </p:nvGrpSpPr>
          <p:grpSpPr>
            <a:xfrm flipH="1">
              <a:off x="6540767" y="2291851"/>
              <a:ext cx="667008" cy="455268"/>
              <a:chOff x="8369398" y="1851899"/>
              <a:chExt cx="756170" cy="516124"/>
            </a:xfrm>
            <a:solidFill>
              <a:schemeClr val="bg1"/>
            </a:solidFill>
          </p:grpSpPr>
          <p:sp>
            <p:nvSpPr>
              <p:cNvPr id="20" name="Rounded Rectangle 307"/>
              <p:cNvSpPr/>
              <p:nvPr/>
            </p:nvSpPr>
            <p:spPr bwMode="auto">
              <a:xfrm rot="1411326">
                <a:off x="8816737" y="2158724"/>
                <a:ext cx="308831" cy="209299"/>
              </a:xfrm>
              <a:custGeom>
                <a:avLst/>
                <a:gdLst/>
                <a:ahLst/>
                <a:cxnLst/>
                <a:rect l="l" t="t" r="r" b="b"/>
                <a:pathLst>
                  <a:path w="308831" h="209299">
                    <a:moveTo>
                      <a:pt x="6932" y="0"/>
                    </a:moveTo>
                    <a:lnTo>
                      <a:pt x="62731" y="5004"/>
                    </a:lnTo>
                    <a:cubicBezTo>
                      <a:pt x="73820" y="4021"/>
                      <a:pt x="83149" y="12888"/>
                      <a:pt x="85697" y="24169"/>
                    </a:cubicBezTo>
                    <a:lnTo>
                      <a:pt x="85452" y="33272"/>
                    </a:lnTo>
                    <a:cubicBezTo>
                      <a:pt x="85954" y="32635"/>
                      <a:pt x="86485" y="32624"/>
                      <a:pt x="87017" y="32624"/>
                    </a:cubicBezTo>
                    <a:lnTo>
                      <a:pt x="270296" y="32624"/>
                    </a:lnTo>
                    <a:cubicBezTo>
                      <a:pt x="291578" y="32624"/>
                      <a:pt x="308831" y="49877"/>
                      <a:pt x="308831" y="71159"/>
                    </a:cubicBezTo>
                    <a:lnTo>
                      <a:pt x="308831" y="146071"/>
                    </a:lnTo>
                    <a:cubicBezTo>
                      <a:pt x="308831" y="167353"/>
                      <a:pt x="291578" y="184606"/>
                      <a:pt x="270296" y="184606"/>
                    </a:cubicBezTo>
                    <a:lnTo>
                      <a:pt x="87017" y="184606"/>
                    </a:lnTo>
                    <a:lnTo>
                      <a:pt x="81440" y="182295"/>
                    </a:lnTo>
                    <a:lnTo>
                      <a:pt x="81438" y="182371"/>
                    </a:lnTo>
                    <a:cubicBezTo>
                      <a:pt x="82699" y="196467"/>
                      <a:pt x="69880" y="211811"/>
                      <a:pt x="54012" y="208953"/>
                    </a:cubicBezTo>
                    <a:lnTo>
                      <a:pt x="0" y="208054"/>
                    </a:lnTo>
                    <a:cubicBezTo>
                      <a:pt x="11559" y="178614"/>
                      <a:pt x="19544" y="140965"/>
                      <a:pt x="23432" y="105100"/>
                    </a:cubicBezTo>
                    <a:cubicBezTo>
                      <a:pt x="23221" y="71020"/>
                      <a:pt x="17126" y="34619"/>
                      <a:pt x="693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Oval 247"/>
              <p:cNvSpPr/>
              <p:nvPr/>
            </p:nvSpPr>
            <p:spPr bwMode="auto">
              <a:xfrm>
                <a:off x="8369398" y="1851899"/>
                <a:ext cx="482863" cy="482862"/>
              </a:xfrm>
              <a:custGeom>
                <a:avLst/>
                <a:gdLst/>
                <a:ahLst/>
                <a:cxnLst/>
                <a:rect l="l" t="t" r="r" b="b"/>
                <a:pathLst>
                  <a:path w="573170" h="573170">
                    <a:moveTo>
                      <a:pt x="286585" y="47056"/>
                    </a:moveTo>
                    <a:cubicBezTo>
                      <a:pt x="154297" y="47056"/>
                      <a:pt x="47056" y="154297"/>
                      <a:pt x="47056" y="286585"/>
                    </a:cubicBezTo>
                    <a:cubicBezTo>
                      <a:pt x="47056" y="418873"/>
                      <a:pt x="154297" y="526114"/>
                      <a:pt x="286585" y="526114"/>
                    </a:cubicBezTo>
                    <a:cubicBezTo>
                      <a:pt x="418873" y="526114"/>
                      <a:pt x="526114" y="418873"/>
                      <a:pt x="526114" y="286585"/>
                    </a:cubicBezTo>
                    <a:cubicBezTo>
                      <a:pt x="526114" y="154297"/>
                      <a:pt x="418873" y="47056"/>
                      <a:pt x="286585" y="47056"/>
                    </a:cubicBezTo>
                    <a:close/>
                    <a:moveTo>
                      <a:pt x="286585" y="0"/>
                    </a:moveTo>
                    <a:cubicBezTo>
                      <a:pt x="444862" y="0"/>
                      <a:pt x="573170" y="128308"/>
                      <a:pt x="573170" y="286585"/>
                    </a:cubicBezTo>
                    <a:cubicBezTo>
                      <a:pt x="573170" y="444862"/>
                      <a:pt x="444862" y="573170"/>
                      <a:pt x="286585" y="573170"/>
                    </a:cubicBezTo>
                    <a:cubicBezTo>
                      <a:pt x="128308" y="573170"/>
                      <a:pt x="0" y="444862"/>
                      <a:pt x="0" y="286585"/>
                    </a:cubicBezTo>
                    <a:cubicBezTo>
                      <a:pt x="0" y="128308"/>
                      <a:pt x="128308" y="0"/>
                      <a:pt x="28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Freeform 257"/>
              <p:cNvSpPr/>
              <p:nvPr/>
            </p:nvSpPr>
            <p:spPr bwMode="black">
              <a:xfrm>
                <a:off x="8477432" y="1892946"/>
                <a:ext cx="187186" cy="125197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lIns="93247" tIns="46623" rIns="93247" bIns="46623"/>
              <a:lstStyle/>
              <a:p>
                <a:pPr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23" name="Group 19"/>
              <p:cNvGrpSpPr/>
              <p:nvPr/>
            </p:nvGrpSpPr>
            <p:grpSpPr bwMode="black">
              <a:xfrm>
                <a:off x="8459235" y="1994058"/>
                <a:ext cx="303219" cy="246679"/>
                <a:chOff x="5184779" y="225425"/>
                <a:chExt cx="1500184" cy="1220787"/>
              </a:xfrm>
              <a:grpFill/>
            </p:grpSpPr>
            <p:sp>
              <p:nvSpPr>
                <p:cNvPr id="24" name="Freeform 86"/>
                <p:cNvSpPr>
                  <a:spLocks noEditPoints="1"/>
                </p:cNvSpPr>
                <p:nvPr/>
              </p:nvSpPr>
              <p:spPr bwMode="black">
                <a:xfrm>
                  <a:off x="5184779" y="344490"/>
                  <a:ext cx="1095376" cy="1101722"/>
                </a:xfrm>
                <a:custGeom>
                  <a:avLst/>
                  <a:gdLst>
                    <a:gd name="T0" fmla="*/ 287 w 292"/>
                    <a:gd name="T1" fmla="*/ 113 h 294"/>
                    <a:gd name="T2" fmla="*/ 239 w 292"/>
                    <a:gd name="T3" fmla="*/ 105 h 294"/>
                    <a:gd name="T4" fmla="*/ 252 w 292"/>
                    <a:gd name="T5" fmla="*/ 58 h 294"/>
                    <a:gd name="T6" fmla="*/ 229 w 292"/>
                    <a:gd name="T7" fmla="*/ 32 h 294"/>
                    <a:gd name="T8" fmla="*/ 187 w 292"/>
                    <a:gd name="T9" fmla="*/ 57 h 294"/>
                    <a:gd name="T10" fmla="*/ 167 w 292"/>
                    <a:gd name="T11" fmla="*/ 6 h 294"/>
                    <a:gd name="T12" fmla="*/ 132 w 292"/>
                    <a:gd name="T13" fmla="*/ 0 h 294"/>
                    <a:gd name="T14" fmla="*/ 115 w 292"/>
                    <a:gd name="T15" fmla="*/ 53 h 294"/>
                    <a:gd name="T16" fmla="*/ 72 w 292"/>
                    <a:gd name="T17" fmla="*/ 31 h 294"/>
                    <a:gd name="T18" fmla="*/ 42 w 292"/>
                    <a:gd name="T19" fmla="*/ 49 h 294"/>
                    <a:gd name="T20" fmla="*/ 59 w 292"/>
                    <a:gd name="T21" fmla="*/ 95 h 294"/>
                    <a:gd name="T22" fmla="*/ 12 w 292"/>
                    <a:gd name="T23" fmla="*/ 107 h 294"/>
                    <a:gd name="T24" fmla="*/ 0 w 292"/>
                    <a:gd name="T25" fmla="*/ 140 h 294"/>
                    <a:gd name="T26" fmla="*/ 43 w 292"/>
                    <a:gd name="T27" fmla="*/ 164 h 294"/>
                    <a:gd name="T28" fmla="*/ 14 w 292"/>
                    <a:gd name="T29" fmla="*/ 204 h 294"/>
                    <a:gd name="T30" fmla="*/ 27 w 292"/>
                    <a:gd name="T31" fmla="*/ 237 h 294"/>
                    <a:gd name="T32" fmla="*/ 75 w 292"/>
                    <a:gd name="T33" fmla="*/ 227 h 294"/>
                    <a:gd name="T34" fmla="*/ 79 w 292"/>
                    <a:gd name="T35" fmla="*/ 276 h 294"/>
                    <a:gd name="T36" fmla="*/ 109 w 292"/>
                    <a:gd name="T37" fmla="*/ 293 h 294"/>
                    <a:gd name="T38" fmla="*/ 140 w 292"/>
                    <a:gd name="T39" fmla="*/ 255 h 294"/>
                    <a:gd name="T40" fmla="*/ 152 w 292"/>
                    <a:gd name="T41" fmla="*/ 255 h 294"/>
                    <a:gd name="T42" fmla="*/ 183 w 292"/>
                    <a:gd name="T43" fmla="*/ 293 h 294"/>
                    <a:gd name="T44" fmla="*/ 213 w 292"/>
                    <a:gd name="T45" fmla="*/ 276 h 294"/>
                    <a:gd name="T46" fmla="*/ 217 w 292"/>
                    <a:gd name="T47" fmla="*/ 227 h 294"/>
                    <a:gd name="T48" fmla="*/ 265 w 292"/>
                    <a:gd name="T49" fmla="*/ 237 h 294"/>
                    <a:gd name="T50" fmla="*/ 278 w 292"/>
                    <a:gd name="T51" fmla="*/ 204 h 294"/>
                    <a:gd name="T52" fmla="*/ 249 w 292"/>
                    <a:gd name="T53" fmla="*/ 164 h 294"/>
                    <a:gd name="T54" fmla="*/ 292 w 292"/>
                    <a:gd name="T55" fmla="*/ 140 h 294"/>
                    <a:gd name="T56" fmla="*/ 187 w 292"/>
                    <a:gd name="T57" fmla="*/ 193 h 294"/>
                    <a:gd name="T58" fmla="*/ 105 w 292"/>
                    <a:gd name="T59" fmla="*/ 193 h 294"/>
                    <a:gd name="T60" fmla="*/ 105 w 292"/>
                    <a:gd name="T61" fmla="*/ 111 h 294"/>
                    <a:gd name="T62" fmla="*/ 187 w 292"/>
                    <a:gd name="T63" fmla="*/ 111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2" h="294">
                      <a:moveTo>
                        <a:pt x="292" y="140"/>
                      </a:moveTo>
                      <a:cubicBezTo>
                        <a:pt x="287" y="113"/>
                        <a:pt x="287" y="113"/>
                        <a:pt x="287" y="113"/>
                      </a:cubicBezTo>
                      <a:cubicBezTo>
                        <a:pt x="286" y="110"/>
                        <a:pt x="284" y="108"/>
                        <a:pt x="280" y="107"/>
                      </a:cubicBezTo>
                      <a:cubicBezTo>
                        <a:pt x="239" y="105"/>
                        <a:pt x="239" y="105"/>
                        <a:pt x="239" y="105"/>
                      </a:cubicBezTo>
                      <a:cubicBezTo>
                        <a:pt x="237" y="102"/>
                        <a:pt x="235" y="98"/>
                        <a:pt x="233" y="95"/>
                      </a:cubicBezTo>
                      <a:cubicBezTo>
                        <a:pt x="252" y="58"/>
                        <a:pt x="252" y="58"/>
                        <a:pt x="252" y="58"/>
                      </a:cubicBezTo>
                      <a:cubicBezTo>
                        <a:pt x="254" y="55"/>
                        <a:pt x="253" y="51"/>
                        <a:pt x="250" y="49"/>
                      </a:cubicBezTo>
                      <a:cubicBezTo>
                        <a:pt x="229" y="32"/>
                        <a:pt x="229" y="32"/>
                        <a:pt x="229" y="32"/>
                      </a:cubicBezTo>
                      <a:cubicBezTo>
                        <a:pt x="227" y="29"/>
                        <a:pt x="223" y="29"/>
                        <a:pt x="220" y="31"/>
                      </a:cubicBezTo>
                      <a:cubicBezTo>
                        <a:pt x="187" y="57"/>
                        <a:pt x="187" y="57"/>
                        <a:pt x="187" y="57"/>
                      </a:cubicBezTo>
                      <a:cubicBezTo>
                        <a:pt x="184" y="55"/>
                        <a:pt x="181" y="54"/>
                        <a:pt x="177" y="53"/>
                      </a:cubicBezTo>
                      <a:cubicBezTo>
                        <a:pt x="167" y="6"/>
                        <a:pt x="167" y="6"/>
                        <a:pt x="167" y="6"/>
                      </a:cubicBezTo>
                      <a:cubicBezTo>
                        <a:pt x="166" y="3"/>
                        <a:pt x="163" y="0"/>
                        <a:pt x="160" y="0"/>
                      </a:cubicBezTo>
                      <a:cubicBezTo>
                        <a:pt x="132" y="0"/>
                        <a:pt x="132" y="0"/>
                        <a:pt x="132" y="0"/>
                      </a:cubicBezTo>
                      <a:cubicBezTo>
                        <a:pt x="129" y="0"/>
                        <a:pt x="126" y="3"/>
                        <a:pt x="125" y="6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1" y="54"/>
                        <a:pt x="108" y="55"/>
                        <a:pt x="105" y="57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69" y="29"/>
                        <a:pt x="65" y="29"/>
                        <a:pt x="63" y="31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39" y="51"/>
                        <a:pt x="39" y="55"/>
                        <a:pt x="40" y="58"/>
                      </a:cubicBezTo>
                      <a:cubicBezTo>
                        <a:pt x="59" y="95"/>
                        <a:pt x="59" y="95"/>
                        <a:pt x="59" y="95"/>
                      </a:cubicBezTo>
                      <a:cubicBezTo>
                        <a:pt x="57" y="98"/>
                        <a:pt x="55" y="102"/>
                        <a:pt x="53" y="105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8" y="107"/>
                        <a:pt x="6" y="110"/>
                        <a:pt x="5" y="113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43"/>
                        <a:pt x="1" y="147"/>
                        <a:pt x="4" y="148"/>
                      </a:cubicBezTo>
                      <a:cubicBezTo>
                        <a:pt x="43" y="164"/>
                        <a:pt x="43" y="164"/>
                        <a:pt x="43" y="164"/>
                      </a:cubicBezTo>
                      <a:cubicBezTo>
                        <a:pt x="44" y="168"/>
                        <a:pt x="44" y="172"/>
                        <a:pt x="45" y="176"/>
                      </a:cubicBezTo>
                      <a:cubicBezTo>
                        <a:pt x="14" y="204"/>
                        <a:pt x="14" y="204"/>
                        <a:pt x="14" y="204"/>
                      </a:cubicBezTo>
                      <a:cubicBezTo>
                        <a:pt x="12" y="206"/>
                        <a:pt x="11" y="210"/>
                        <a:pt x="13" y="213"/>
                      </a:cubicBezTo>
                      <a:cubicBezTo>
                        <a:pt x="27" y="237"/>
                        <a:pt x="27" y="237"/>
                        <a:pt x="27" y="237"/>
                      </a:cubicBezTo>
                      <a:cubicBezTo>
                        <a:pt x="28" y="239"/>
                        <a:pt x="32" y="241"/>
                        <a:pt x="35" y="240"/>
                      </a:cubicBezTo>
                      <a:cubicBezTo>
                        <a:pt x="75" y="227"/>
                        <a:pt x="75" y="227"/>
                        <a:pt x="75" y="227"/>
                      </a:cubicBezTo>
                      <a:cubicBezTo>
                        <a:pt x="78" y="230"/>
                        <a:pt x="81" y="233"/>
                        <a:pt x="84" y="235"/>
                      </a:cubicBezTo>
                      <a:cubicBezTo>
                        <a:pt x="79" y="276"/>
                        <a:pt x="79" y="276"/>
                        <a:pt x="79" y="276"/>
                      </a:cubicBezTo>
                      <a:cubicBezTo>
                        <a:pt x="78" y="280"/>
                        <a:pt x="80" y="283"/>
                        <a:pt x="83" y="284"/>
                      </a:cubicBezTo>
                      <a:cubicBezTo>
                        <a:pt x="109" y="293"/>
                        <a:pt x="109" y="293"/>
                        <a:pt x="109" y="293"/>
                      </a:cubicBezTo>
                      <a:cubicBezTo>
                        <a:pt x="112" y="294"/>
                        <a:pt x="116" y="293"/>
                        <a:pt x="118" y="291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142" y="255"/>
                        <a:pt x="144" y="256"/>
                        <a:pt x="146" y="256"/>
                      </a:cubicBezTo>
                      <a:cubicBezTo>
                        <a:pt x="148" y="256"/>
                        <a:pt x="150" y="255"/>
                        <a:pt x="152" y="255"/>
                      </a:cubicBezTo>
                      <a:cubicBezTo>
                        <a:pt x="174" y="291"/>
                        <a:pt x="174" y="291"/>
                        <a:pt x="174" y="291"/>
                      </a:cubicBezTo>
                      <a:cubicBezTo>
                        <a:pt x="176" y="293"/>
                        <a:pt x="180" y="294"/>
                        <a:pt x="183" y="293"/>
                      </a:cubicBezTo>
                      <a:cubicBezTo>
                        <a:pt x="209" y="284"/>
                        <a:pt x="209" y="284"/>
                        <a:pt x="209" y="284"/>
                      </a:cubicBezTo>
                      <a:cubicBezTo>
                        <a:pt x="212" y="283"/>
                        <a:pt x="214" y="280"/>
                        <a:pt x="213" y="276"/>
                      </a:cubicBezTo>
                      <a:cubicBezTo>
                        <a:pt x="208" y="235"/>
                        <a:pt x="208" y="235"/>
                        <a:pt x="208" y="235"/>
                      </a:cubicBezTo>
                      <a:cubicBezTo>
                        <a:pt x="211" y="232"/>
                        <a:pt x="214" y="230"/>
                        <a:pt x="217" y="227"/>
                      </a:cubicBezTo>
                      <a:cubicBezTo>
                        <a:pt x="257" y="240"/>
                        <a:pt x="257" y="240"/>
                        <a:pt x="257" y="240"/>
                      </a:cubicBezTo>
                      <a:cubicBezTo>
                        <a:pt x="260" y="241"/>
                        <a:pt x="264" y="239"/>
                        <a:pt x="265" y="237"/>
                      </a:cubicBezTo>
                      <a:cubicBezTo>
                        <a:pt x="279" y="213"/>
                        <a:pt x="279" y="213"/>
                        <a:pt x="279" y="213"/>
                      </a:cubicBezTo>
                      <a:cubicBezTo>
                        <a:pt x="281" y="210"/>
                        <a:pt x="280" y="206"/>
                        <a:pt x="278" y="204"/>
                      </a:cubicBezTo>
                      <a:cubicBezTo>
                        <a:pt x="247" y="176"/>
                        <a:pt x="247" y="176"/>
                        <a:pt x="247" y="176"/>
                      </a:cubicBezTo>
                      <a:cubicBezTo>
                        <a:pt x="248" y="172"/>
                        <a:pt x="248" y="168"/>
                        <a:pt x="249" y="164"/>
                      </a:cubicBezTo>
                      <a:cubicBezTo>
                        <a:pt x="288" y="148"/>
                        <a:pt x="288" y="148"/>
                        <a:pt x="288" y="148"/>
                      </a:cubicBezTo>
                      <a:cubicBezTo>
                        <a:pt x="291" y="147"/>
                        <a:pt x="292" y="144"/>
                        <a:pt x="292" y="140"/>
                      </a:cubicBezTo>
                      <a:close/>
                      <a:moveTo>
                        <a:pt x="204" y="152"/>
                      </a:moveTo>
                      <a:cubicBezTo>
                        <a:pt x="204" y="168"/>
                        <a:pt x="197" y="182"/>
                        <a:pt x="187" y="193"/>
                      </a:cubicBezTo>
                      <a:cubicBezTo>
                        <a:pt x="176" y="203"/>
                        <a:pt x="162" y="210"/>
                        <a:pt x="146" y="210"/>
                      </a:cubicBezTo>
                      <a:cubicBezTo>
                        <a:pt x="130" y="210"/>
                        <a:pt x="116" y="203"/>
                        <a:pt x="105" y="193"/>
                      </a:cubicBezTo>
                      <a:cubicBezTo>
                        <a:pt x="95" y="182"/>
                        <a:pt x="88" y="168"/>
                        <a:pt x="88" y="152"/>
                      </a:cubicBezTo>
                      <a:cubicBezTo>
                        <a:pt x="88" y="136"/>
                        <a:pt x="95" y="121"/>
                        <a:pt x="105" y="111"/>
                      </a:cubicBezTo>
                      <a:cubicBezTo>
                        <a:pt x="116" y="100"/>
                        <a:pt x="130" y="94"/>
                        <a:pt x="146" y="94"/>
                      </a:cubicBezTo>
                      <a:cubicBezTo>
                        <a:pt x="162" y="94"/>
                        <a:pt x="176" y="100"/>
                        <a:pt x="187" y="111"/>
                      </a:cubicBezTo>
                      <a:cubicBezTo>
                        <a:pt x="197" y="121"/>
                        <a:pt x="204" y="136"/>
                        <a:pt x="204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5" name="Oval 87"/>
                <p:cNvSpPr>
                  <a:spLocks noChangeArrowheads="1"/>
                </p:cNvSpPr>
                <p:nvPr/>
              </p:nvSpPr>
              <p:spPr bwMode="black">
                <a:xfrm>
                  <a:off x="5630869" y="812799"/>
                  <a:ext cx="203201" cy="20320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6" name="Freeform 88"/>
                <p:cNvSpPr>
                  <a:spLocks noEditPoints="1"/>
                </p:cNvSpPr>
                <p:nvPr/>
              </p:nvSpPr>
              <p:spPr bwMode="black">
                <a:xfrm>
                  <a:off x="6129339" y="225425"/>
                  <a:ext cx="555624" cy="598489"/>
                </a:xfrm>
                <a:custGeom>
                  <a:avLst/>
                  <a:gdLst>
                    <a:gd name="T0" fmla="*/ 129 w 148"/>
                    <a:gd name="T1" fmla="*/ 91 h 160"/>
                    <a:gd name="T2" fmla="*/ 131 w 148"/>
                    <a:gd name="T3" fmla="*/ 80 h 160"/>
                    <a:gd name="T4" fmla="*/ 129 w 148"/>
                    <a:gd name="T5" fmla="*/ 70 h 160"/>
                    <a:gd name="T6" fmla="*/ 145 w 148"/>
                    <a:gd name="T7" fmla="*/ 55 h 160"/>
                    <a:gd name="T8" fmla="*/ 147 w 148"/>
                    <a:gd name="T9" fmla="*/ 50 h 160"/>
                    <a:gd name="T10" fmla="*/ 147 w 148"/>
                    <a:gd name="T11" fmla="*/ 46 h 160"/>
                    <a:gd name="T12" fmla="*/ 140 w 148"/>
                    <a:gd name="T13" fmla="*/ 34 h 160"/>
                    <a:gd name="T14" fmla="*/ 133 w 148"/>
                    <a:gd name="T15" fmla="*/ 31 h 160"/>
                    <a:gd name="T16" fmla="*/ 131 w 148"/>
                    <a:gd name="T17" fmla="*/ 31 h 160"/>
                    <a:gd name="T18" fmla="*/ 111 w 148"/>
                    <a:gd name="T19" fmla="*/ 37 h 160"/>
                    <a:gd name="T20" fmla="*/ 92 w 148"/>
                    <a:gd name="T21" fmla="*/ 27 h 160"/>
                    <a:gd name="T22" fmla="*/ 88 w 148"/>
                    <a:gd name="T23" fmla="*/ 6 h 160"/>
                    <a:gd name="T24" fmla="*/ 81 w 148"/>
                    <a:gd name="T25" fmla="*/ 0 h 160"/>
                    <a:gd name="T26" fmla="*/ 67 w 148"/>
                    <a:gd name="T27" fmla="*/ 0 h 160"/>
                    <a:gd name="T28" fmla="*/ 60 w 148"/>
                    <a:gd name="T29" fmla="*/ 6 h 160"/>
                    <a:gd name="T30" fmla="*/ 55 w 148"/>
                    <a:gd name="T31" fmla="*/ 27 h 160"/>
                    <a:gd name="T32" fmla="*/ 37 w 148"/>
                    <a:gd name="T33" fmla="*/ 38 h 160"/>
                    <a:gd name="T34" fmla="*/ 16 w 148"/>
                    <a:gd name="T35" fmla="*/ 31 h 160"/>
                    <a:gd name="T36" fmla="*/ 14 w 148"/>
                    <a:gd name="T37" fmla="*/ 31 h 160"/>
                    <a:gd name="T38" fmla="*/ 8 w 148"/>
                    <a:gd name="T39" fmla="*/ 34 h 160"/>
                    <a:gd name="T40" fmla="*/ 1 w 148"/>
                    <a:gd name="T41" fmla="*/ 46 h 160"/>
                    <a:gd name="T42" fmla="*/ 0 w 148"/>
                    <a:gd name="T43" fmla="*/ 50 h 160"/>
                    <a:gd name="T44" fmla="*/ 2 w 148"/>
                    <a:gd name="T45" fmla="*/ 55 h 160"/>
                    <a:gd name="T46" fmla="*/ 19 w 148"/>
                    <a:gd name="T47" fmla="*/ 70 h 160"/>
                    <a:gd name="T48" fmla="*/ 17 w 148"/>
                    <a:gd name="T49" fmla="*/ 80 h 160"/>
                    <a:gd name="T50" fmla="*/ 19 w 148"/>
                    <a:gd name="T51" fmla="*/ 91 h 160"/>
                    <a:gd name="T52" fmla="*/ 2 w 148"/>
                    <a:gd name="T53" fmla="*/ 106 h 160"/>
                    <a:gd name="T54" fmla="*/ 0 w 148"/>
                    <a:gd name="T55" fmla="*/ 111 h 160"/>
                    <a:gd name="T56" fmla="*/ 1 w 148"/>
                    <a:gd name="T57" fmla="*/ 114 h 160"/>
                    <a:gd name="T58" fmla="*/ 8 w 148"/>
                    <a:gd name="T59" fmla="*/ 126 h 160"/>
                    <a:gd name="T60" fmla="*/ 14 w 148"/>
                    <a:gd name="T61" fmla="*/ 130 h 160"/>
                    <a:gd name="T62" fmla="*/ 16 w 148"/>
                    <a:gd name="T63" fmla="*/ 130 h 160"/>
                    <a:gd name="T64" fmla="*/ 37 w 148"/>
                    <a:gd name="T65" fmla="*/ 123 h 160"/>
                    <a:gd name="T66" fmla="*/ 55 w 148"/>
                    <a:gd name="T67" fmla="*/ 133 h 160"/>
                    <a:gd name="T68" fmla="*/ 60 w 148"/>
                    <a:gd name="T69" fmla="*/ 155 h 160"/>
                    <a:gd name="T70" fmla="*/ 67 w 148"/>
                    <a:gd name="T71" fmla="*/ 160 h 160"/>
                    <a:gd name="T72" fmla="*/ 81 w 148"/>
                    <a:gd name="T73" fmla="*/ 160 h 160"/>
                    <a:gd name="T74" fmla="*/ 88 w 148"/>
                    <a:gd name="T75" fmla="*/ 155 h 160"/>
                    <a:gd name="T76" fmla="*/ 92 w 148"/>
                    <a:gd name="T77" fmla="*/ 134 h 160"/>
                    <a:gd name="T78" fmla="*/ 111 w 148"/>
                    <a:gd name="T79" fmla="*/ 123 h 160"/>
                    <a:gd name="T80" fmla="*/ 131 w 148"/>
                    <a:gd name="T81" fmla="*/ 130 h 160"/>
                    <a:gd name="T82" fmla="*/ 133 w 148"/>
                    <a:gd name="T83" fmla="*/ 130 h 160"/>
                    <a:gd name="T84" fmla="*/ 140 w 148"/>
                    <a:gd name="T85" fmla="*/ 126 h 160"/>
                    <a:gd name="T86" fmla="*/ 147 w 148"/>
                    <a:gd name="T87" fmla="*/ 114 h 160"/>
                    <a:gd name="T88" fmla="*/ 147 w 148"/>
                    <a:gd name="T89" fmla="*/ 111 h 160"/>
                    <a:gd name="T90" fmla="*/ 145 w 148"/>
                    <a:gd name="T91" fmla="*/ 106 h 160"/>
                    <a:gd name="T92" fmla="*/ 129 w 148"/>
                    <a:gd name="T93" fmla="*/ 91 h 160"/>
                    <a:gd name="T94" fmla="*/ 96 w 148"/>
                    <a:gd name="T95" fmla="*/ 80 h 160"/>
                    <a:gd name="T96" fmla="*/ 74 w 148"/>
                    <a:gd name="T97" fmla="*/ 102 h 160"/>
                    <a:gd name="T98" fmla="*/ 52 w 148"/>
                    <a:gd name="T99" fmla="*/ 80 h 160"/>
                    <a:gd name="T100" fmla="*/ 74 w 148"/>
                    <a:gd name="T101" fmla="*/ 58 h 160"/>
                    <a:gd name="T102" fmla="*/ 96 w 148"/>
                    <a:gd name="T103" fmla="*/ 8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8" h="160">
                      <a:moveTo>
                        <a:pt x="129" y="91"/>
                      </a:moveTo>
                      <a:cubicBezTo>
                        <a:pt x="130" y="88"/>
                        <a:pt x="131" y="84"/>
                        <a:pt x="131" y="80"/>
                      </a:cubicBezTo>
                      <a:cubicBezTo>
                        <a:pt x="131" y="77"/>
                        <a:pt x="130" y="73"/>
                        <a:pt x="129" y="70"/>
                      </a:cubicBezTo>
                      <a:cubicBezTo>
                        <a:pt x="145" y="55"/>
                        <a:pt x="145" y="55"/>
                        <a:pt x="145" y="55"/>
                      </a:cubicBezTo>
                      <a:cubicBezTo>
                        <a:pt x="147" y="54"/>
                        <a:pt x="147" y="52"/>
                        <a:pt x="147" y="50"/>
                      </a:cubicBezTo>
                      <a:cubicBezTo>
                        <a:pt x="147" y="49"/>
                        <a:pt x="147" y="47"/>
                        <a:pt x="147" y="46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38" y="32"/>
                        <a:pt x="136" y="31"/>
                        <a:pt x="133" y="31"/>
                      </a:cubicBezTo>
                      <a:cubicBezTo>
                        <a:pt x="133" y="31"/>
                        <a:pt x="132" y="31"/>
                        <a:pt x="131" y="31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05" y="33"/>
                        <a:pt x="99" y="29"/>
                        <a:pt x="92" y="27"/>
                      </a:cubicBezTo>
                      <a:cubicBezTo>
                        <a:pt x="88" y="6"/>
                        <a:pt x="88" y="6"/>
                        <a:pt x="88" y="6"/>
                      </a:cubicBezTo>
                      <a:cubicBezTo>
                        <a:pt x="87" y="3"/>
                        <a:pt x="84" y="0"/>
                        <a:pt x="8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3" y="0"/>
                        <a:pt x="61" y="3"/>
                        <a:pt x="60" y="6"/>
                      </a:cubicBezTo>
                      <a:cubicBezTo>
                        <a:pt x="55" y="27"/>
                        <a:pt x="55" y="27"/>
                        <a:pt x="55" y="27"/>
                      </a:cubicBezTo>
                      <a:cubicBezTo>
                        <a:pt x="48" y="29"/>
                        <a:pt x="42" y="33"/>
                        <a:pt x="37" y="38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5" y="31"/>
                        <a:pt x="15" y="31"/>
                        <a:pt x="14" y="31"/>
                      </a:cubicBezTo>
                      <a:cubicBezTo>
                        <a:pt x="12" y="31"/>
                        <a:pt x="9" y="32"/>
                        <a:pt x="8" y="34"/>
                      </a:cubicBezTo>
                      <a:cubicBezTo>
                        <a:pt x="1" y="46"/>
                        <a:pt x="1" y="46"/>
                        <a:pt x="1" y="46"/>
                      </a:cubicBezTo>
                      <a:cubicBezTo>
                        <a:pt x="0" y="47"/>
                        <a:pt x="0" y="49"/>
                        <a:pt x="0" y="50"/>
                      </a:cubicBezTo>
                      <a:cubicBezTo>
                        <a:pt x="0" y="52"/>
                        <a:pt x="1" y="54"/>
                        <a:pt x="2" y="55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18" y="73"/>
                        <a:pt x="17" y="77"/>
                        <a:pt x="17" y="80"/>
                      </a:cubicBezTo>
                      <a:cubicBezTo>
                        <a:pt x="17" y="84"/>
                        <a:pt x="18" y="87"/>
                        <a:pt x="19" y="91"/>
                      </a:cubicBezTo>
                      <a:cubicBezTo>
                        <a:pt x="2" y="106"/>
                        <a:pt x="2" y="106"/>
                        <a:pt x="2" y="106"/>
                      </a:cubicBezTo>
                      <a:cubicBezTo>
                        <a:pt x="1" y="107"/>
                        <a:pt x="0" y="109"/>
                        <a:pt x="0" y="111"/>
                      </a:cubicBezTo>
                      <a:cubicBezTo>
                        <a:pt x="0" y="112"/>
                        <a:pt x="0" y="113"/>
                        <a:pt x="1" y="114"/>
                      </a:cubicBezTo>
                      <a:cubicBezTo>
                        <a:pt x="8" y="126"/>
                        <a:pt x="8" y="126"/>
                        <a:pt x="8" y="126"/>
                      </a:cubicBezTo>
                      <a:cubicBezTo>
                        <a:pt x="9" y="129"/>
                        <a:pt x="12" y="130"/>
                        <a:pt x="14" y="130"/>
                      </a:cubicBezTo>
                      <a:cubicBezTo>
                        <a:pt x="15" y="130"/>
                        <a:pt x="15" y="130"/>
                        <a:pt x="16" y="130"/>
                      </a:cubicBezTo>
                      <a:cubicBezTo>
                        <a:pt x="37" y="123"/>
                        <a:pt x="37" y="123"/>
                        <a:pt x="37" y="123"/>
                      </a:cubicBezTo>
                      <a:cubicBezTo>
                        <a:pt x="42" y="127"/>
                        <a:pt x="48" y="131"/>
                        <a:pt x="55" y="133"/>
                      </a:cubicBezTo>
                      <a:cubicBezTo>
                        <a:pt x="60" y="155"/>
                        <a:pt x="60" y="155"/>
                        <a:pt x="60" y="155"/>
                      </a:cubicBezTo>
                      <a:cubicBezTo>
                        <a:pt x="61" y="158"/>
                        <a:pt x="63" y="160"/>
                        <a:pt x="67" y="160"/>
                      </a:cubicBezTo>
                      <a:cubicBezTo>
                        <a:pt x="81" y="160"/>
                        <a:pt x="81" y="160"/>
                        <a:pt x="81" y="160"/>
                      </a:cubicBezTo>
                      <a:cubicBezTo>
                        <a:pt x="84" y="160"/>
                        <a:pt x="87" y="158"/>
                        <a:pt x="88" y="155"/>
                      </a:cubicBezTo>
                      <a:cubicBezTo>
                        <a:pt x="92" y="134"/>
                        <a:pt x="92" y="134"/>
                        <a:pt x="92" y="134"/>
                      </a:cubicBezTo>
                      <a:cubicBezTo>
                        <a:pt x="99" y="131"/>
                        <a:pt x="105" y="128"/>
                        <a:pt x="111" y="123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132" y="130"/>
                        <a:pt x="133" y="130"/>
                        <a:pt x="133" y="130"/>
                      </a:cubicBezTo>
                      <a:cubicBezTo>
                        <a:pt x="136" y="130"/>
                        <a:pt x="138" y="129"/>
                        <a:pt x="140" y="126"/>
                      </a:cubicBezTo>
                      <a:cubicBezTo>
                        <a:pt x="147" y="114"/>
                        <a:pt x="147" y="114"/>
                        <a:pt x="147" y="114"/>
                      </a:cubicBezTo>
                      <a:cubicBezTo>
                        <a:pt x="147" y="113"/>
                        <a:pt x="148" y="112"/>
                        <a:pt x="147" y="111"/>
                      </a:cubicBezTo>
                      <a:cubicBezTo>
                        <a:pt x="148" y="109"/>
                        <a:pt x="147" y="107"/>
                        <a:pt x="145" y="106"/>
                      </a:cubicBezTo>
                      <a:lnTo>
                        <a:pt x="129" y="91"/>
                      </a:lnTo>
                      <a:close/>
                      <a:moveTo>
                        <a:pt x="96" y="80"/>
                      </a:moveTo>
                      <a:cubicBezTo>
                        <a:pt x="96" y="92"/>
                        <a:pt x="86" y="102"/>
                        <a:pt x="74" y="102"/>
                      </a:cubicBezTo>
                      <a:cubicBezTo>
                        <a:pt x="62" y="102"/>
                        <a:pt x="52" y="92"/>
                        <a:pt x="52" y="80"/>
                      </a:cubicBezTo>
                      <a:cubicBezTo>
                        <a:pt x="52" y="68"/>
                        <a:pt x="62" y="58"/>
                        <a:pt x="74" y="58"/>
                      </a:cubicBezTo>
                      <a:cubicBezTo>
                        <a:pt x="86" y="58"/>
                        <a:pt x="96" y="68"/>
                        <a:pt x="96" y="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lIns="93247" tIns="46623" rIns="93247" bIns="46623"/>
                <a:lstStyle/>
                <a:p>
                  <a:pPr defTabSz="931545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60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grpSp>
        <p:nvGrpSpPr>
          <p:cNvPr id="34821" name="组合 41"/>
          <p:cNvGrpSpPr/>
          <p:nvPr/>
        </p:nvGrpSpPr>
        <p:grpSpPr bwMode="auto">
          <a:xfrm>
            <a:off x="7559675" y="1943100"/>
            <a:ext cx="1169988" cy="1152525"/>
            <a:chOff x="7560321" y="1943409"/>
            <a:chExt cx="1169032" cy="1152153"/>
          </a:xfrm>
        </p:grpSpPr>
        <p:sp>
          <p:nvSpPr>
            <p:cNvPr id="9" name="Orange"/>
            <p:cNvSpPr/>
            <p:nvPr/>
          </p:nvSpPr>
          <p:spPr bwMode="auto">
            <a:xfrm>
              <a:off x="7560321" y="1943409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60" tIns="93260" rIns="93260" bIns="93260" anchor="b"/>
            <a:lstStyle>
              <a:lvl1pPr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493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4932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615"/>
                </a:spcAft>
                <a:defRPr/>
              </a:pPr>
              <a:endParaRPr lang="en-US" altLang="zh-CN" sz="1400" smtClean="0">
                <a:cs typeface="Segoe UI" panose="020B0502040204020203" pitchFamily="34" charset="0"/>
              </a:endParaRPr>
            </a:p>
          </p:txBody>
        </p:sp>
        <p:sp>
          <p:nvSpPr>
            <p:cNvPr id="27" name="Rounded Rectangle 100"/>
            <p:cNvSpPr/>
            <p:nvPr>
              <p:custDataLst>
                <p:tags r:id="rId3"/>
              </p:custDataLst>
            </p:nvPr>
          </p:nvSpPr>
          <p:spPr bwMode="auto">
            <a:xfrm>
              <a:off x="7760183" y="2295720"/>
              <a:ext cx="769309" cy="536402"/>
            </a:xfrm>
            <a:custGeom>
              <a:avLst/>
              <a:gdLst/>
              <a:ahLst/>
              <a:cxnLst/>
              <a:rect l="l" t="t" r="r" b="b"/>
              <a:pathLst>
                <a:path w="2489828" h="1736658">
                  <a:moveTo>
                    <a:pt x="1355416" y="1347324"/>
                  </a:moveTo>
                  <a:lnTo>
                    <a:pt x="1341361" y="1364359"/>
                  </a:lnTo>
                  <a:cubicBezTo>
                    <a:pt x="1338975" y="1363255"/>
                    <a:pt x="1337389" y="1362710"/>
                    <a:pt x="1338454" y="1359514"/>
                  </a:cubicBezTo>
                  <a:cubicBezTo>
                    <a:pt x="1339738" y="1355661"/>
                    <a:pt x="1343591" y="1353094"/>
                    <a:pt x="1347444" y="1350525"/>
                  </a:cubicBezTo>
                  <a:cubicBezTo>
                    <a:pt x="1350183" y="1349156"/>
                    <a:pt x="1352921" y="1348517"/>
                    <a:pt x="1355416" y="1347324"/>
                  </a:cubicBezTo>
                  <a:close/>
                  <a:moveTo>
                    <a:pt x="1367094" y="1326896"/>
                  </a:moveTo>
                  <a:lnTo>
                    <a:pt x="1367848" y="1327412"/>
                  </a:lnTo>
                  <a:cubicBezTo>
                    <a:pt x="1367397" y="1329533"/>
                    <a:pt x="1366290" y="1331232"/>
                    <a:pt x="1365170" y="1332923"/>
                  </a:cubicBezTo>
                  <a:cubicBezTo>
                    <a:pt x="1366081" y="1331614"/>
                    <a:pt x="1366343" y="1330154"/>
                    <a:pt x="1366708" y="1328694"/>
                  </a:cubicBezTo>
                  <a:close/>
                  <a:moveTo>
                    <a:pt x="1425858" y="1165049"/>
                  </a:moveTo>
                  <a:cubicBezTo>
                    <a:pt x="1426272" y="1184566"/>
                    <a:pt x="1422052" y="1203165"/>
                    <a:pt x="1416359" y="1221185"/>
                  </a:cubicBezTo>
                  <a:lnTo>
                    <a:pt x="1362623" y="1257938"/>
                  </a:lnTo>
                  <a:cubicBezTo>
                    <a:pt x="1362614" y="1257515"/>
                    <a:pt x="1362734" y="1257141"/>
                    <a:pt x="1362855" y="1256779"/>
                  </a:cubicBezTo>
                  <a:cubicBezTo>
                    <a:pt x="1364139" y="1254210"/>
                    <a:pt x="1366708" y="1254210"/>
                    <a:pt x="1367992" y="1251642"/>
                  </a:cubicBezTo>
                  <a:cubicBezTo>
                    <a:pt x="1369276" y="1250358"/>
                    <a:pt x="1369276" y="1247790"/>
                    <a:pt x="1370561" y="1246506"/>
                  </a:cubicBezTo>
                  <a:cubicBezTo>
                    <a:pt x="1373129" y="1242653"/>
                    <a:pt x="1376981" y="1240084"/>
                    <a:pt x="1380834" y="1236232"/>
                  </a:cubicBezTo>
                  <a:cubicBezTo>
                    <a:pt x="1384687" y="1232379"/>
                    <a:pt x="1388539" y="1227243"/>
                    <a:pt x="1392392" y="1222106"/>
                  </a:cubicBezTo>
                  <a:cubicBezTo>
                    <a:pt x="1393676" y="1219538"/>
                    <a:pt x="1393676" y="1216969"/>
                    <a:pt x="1394961" y="1215685"/>
                  </a:cubicBezTo>
                  <a:cubicBezTo>
                    <a:pt x="1398814" y="1209264"/>
                    <a:pt x="1406519" y="1206696"/>
                    <a:pt x="1411656" y="1201559"/>
                  </a:cubicBezTo>
                  <a:cubicBezTo>
                    <a:pt x="1414224" y="1197706"/>
                    <a:pt x="1414224" y="1195138"/>
                    <a:pt x="1414224" y="1191285"/>
                  </a:cubicBezTo>
                  <a:cubicBezTo>
                    <a:pt x="1414224" y="1186148"/>
                    <a:pt x="1415509" y="1183580"/>
                    <a:pt x="1418077" y="1178444"/>
                  </a:cubicBezTo>
                  <a:cubicBezTo>
                    <a:pt x="1419361" y="1175875"/>
                    <a:pt x="1421930" y="1173307"/>
                    <a:pt x="1423214" y="1169454"/>
                  </a:cubicBezTo>
                  <a:close/>
                  <a:moveTo>
                    <a:pt x="1427937" y="1152759"/>
                  </a:moveTo>
                  <a:lnTo>
                    <a:pt x="1428351" y="1152759"/>
                  </a:lnTo>
                  <a:lnTo>
                    <a:pt x="1427067" y="1163033"/>
                  </a:lnTo>
                  <a:cubicBezTo>
                    <a:pt x="1426714" y="1163740"/>
                    <a:pt x="1426360" y="1164446"/>
                    <a:pt x="1425858" y="1165049"/>
                  </a:cubicBezTo>
                  <a:close/>
                  <a:moveTo>
                    <a:pt x="799274" y="1104029"/>
                  </a:moveTo>
                  <a:cubicBezTo>
                    <a:pt x="796686" y="1103387"/>
                    <a:pt x="794098" y="1104029"/>
                    <a:pt x="792804" y="1106598"/>
                  </a:cubicBezTo>
                  <a:cubicBezTo>
                    <a:pt x="791510" y="1107884"/>
                    <a:pt x="792804" y="1109168"/>
                    <a:pt x="791510" y="1110453"/>
                  </a:cubicBezTo>
                  <a:lnTo>
                    <a:pt x="787628" y="1110453"/>
                  </a:lnTo>
                  <a:cubicBezTo>
                    <a:pt x="786334" y="1110453"/>
                    <a:pt x="785040" y="1109168"/>
                    <a:pt x="783745" y="1109168"/>
                  </a:cubicBezTo>
                  <a:lnTo>
                    <a:pt x="781158" y="1113022"/>
                  </a:lnTo>
                  <a:lnTo>
                    <a:pt x="786334" y="1114307"/>
                  </a:lnTo>
                  <a:cubicBezTo>
                    <a:pt x="788922" y="1114307"/>
                    <a:pt x="791510" y="1113022"/>
                    <a:pt x="795392" y="1113022"/>
                  </a:cubicBezTo>
                  <a:cubicBezTo>
                    <a:pt x="797980" y="1113022"/>
                    <a:pt x="801862" y="1115591"/>
                    <a:pt x="804450" y="1114307"/>
                  </a:cubicBezTo>
                  <a:cubicBezTo>
                    <a:pt x="807038" y="1113022"/>
                    <a:pt x="807038" y="1110453"/>
                    <a:pt x="805745" y="1109168"/>
                  </a:cubicBezTo>
                  <a:cubicBezTo>
                    <a:pt x="804450" y="1106598"/>
                    <a:pt x="801862" y="1104672"/>
                    <a:pt x="799274" y="1104029"/>
                  </a:cubicBezTo>
                  <a:close/>
                  <a:moveTo>
                    <a:pt x="737364" y="1082105"/>
                  </a:moveTo>
                  <a:cubicBezTo>
                    <a:pt x="734797" y="1082105"/>
                    <a:pt x="733514" y="1082105"/>
                    <a:pt x="733514" y="1083404"/>
                  </a:cubicBezTo>
                  <a:cubicBezTo>
                    <a:pt x="730947" y="1087299"/>
                    <a:pt x="737364" y="1086000"/>
                    <a:pt x="738647" y="1086000"/>
                  </a:cubicBezTo>
                  <a:cubicBezTo>
                    <a:pt x="741214" y="1086000"/>
                    <a:pt x="742497" y="1084702"/>
                    <a:pt x="745063" y="1084702"/>
                  </a:cubicBezTo>
                  <a:cubicBezTo>
                    <a:pt x="746347" y="1086000"/>
                    <a:pt x="748913" y="1087299"/>
                    <a:pt x="751480" y="1088597"/>
                  </a:cubicBezTo>
                  <a:cubicBezTo>
                    <a:pt x="755330" y="1092492"/>
                    <a:pt x="760463" y="1096388"/>
                    <a:pt x="764313" y="1100283"/>
                  </a:cubicBezTo>
                  <a:cubicBezTo>
                    <a:pt x="766879" y="1102879"/>
                    <a:pt x="769446" y="1104178"/>
                    <a:pt x="773295" y="1104178"/>
                  </a:cubicBezTo>
                  <a:cubicBezTo>
                    <a:pt x="775862" y="1104178"/>
                    <a:pt x="777145" y="1101581"/>
                    <a:pt x="775862" y="1098984"/>
                  </a:cubicBezTo>
                  <a:cubicBezTo>
                    <a:pt x="773295" y="1097686"/>
                    <a:pt x="770729" y="1096388"/>
                    <a:pt x="768163" y="1095089"/>
                  </a:cubicBezTo>
                  <a:cubicBezTo>
                    <a:pt x="761746" y="1092492"/>
                    <a:pt x="755330" y="1088597"/>
                    <a:pt x="750197" y="1084702"/>
                  </a:cubicBezTo>
                  <a:cubicBezTo>
                    <a:pt x="747630" y="1083404"/>
                    <a:pt x="745063" y="1082105"/>
                    <a:pt x="742497" y="1082105"/>
                  </a:cubicBezTo>
                  <a:close/>
                  <a:moveTo>
                    <a:pt x="1335565" y="1042800"/>
                  </a:moveTo>
                  <a:lnTo>
                    <a:pt x="1341023" y="1043603"/>
                  </a:lnTo>
                  <a:cubicBezTo>
                    <a:pt x="1343591" y="1046172"/>
                    <a:pt x="1347444" y="1050024"/>
                    <a:pt x="1348728" y="1053877"/>
                  </a:cubicBezTo>
                  <a:cubicBezTo>
                    <a:pt x="1350013" y="1056445"/>
                    <a:pt x="1350013" y="1059014"/>
                    <a:pt x="1352581" y="1062866"/>
                  </a:cubicBezTo>
                  <a:cubicBezTo>
                    <a:pt x="1353865" y="1065434"/>
                    <a:pt x="1355149" y="1066719"/>
                    <a:pt x="1356433" y="1071856"/>
                  </a:cubicBezTo>
                  <a:cubicBezTo>
                    <a:pt x="1357718" y="1075708"/>
                    <a:pt x="1359002" y="1078276"/>
                    <a:pt x="1361571" y="1080845"/>
                  </a:cubicBezTo>
                  <a:cubicBezTo>
                    <a:pt x="1364139" y="1084697"/>
                    <a:pt x="1364139" y="1088550"/>
                    <a:pt x="1365423" y="1092402"/>
                  </a:cubicBezTo>
                  <a:cubicBezTo>
                    <a:pt x="1365423" y="1096255"/>
                    <a:pt x="1367992" y="1096255"/>
                    <a:pt x="1369276" y="1100108"/>
                  </a:cubicBezTo>
                  <a:cubicBezTo>
                    <a:pt x="1370561" y="1102676"/>
                    <a:pt x="1370561" y="1106528"/>
                    <a:pt x="1373129" y="1110381"/>
                  </a:cubicBezTo>
                  <a:cubicBezTo>
                    <a:pt x="1374413" y="1114234"/>
                    <a:pt x="1378266" y="1114234"/>
                    <a:pt x="1380834" y="1116802"/>
                  </a:cubicBezTo>
                  <a:cubicBezTo>
                    <a:pt x="1383403" y="1120655"/>
                    <a:pt x="1382118" y="1125791"/>
                    <a:pt x="1382118" y="1129644"/>
                  </a:cubicBezTo>
                  <a:cubicBezTo>
                    <a:pt x="1380834" y="1137349"/>
                    <a:pt x="1384687" y="1142486"/>
                    <a:pt x="1392392" y="1143770"/>
                  </a:cubicBezTo>
                  <a:cubicBezTo>
                    <a:pt x="1397529" y="1145054"/>
                    <a:pt x="1401382" y="1142486"/>
                    <a:pt x="1405234" y="1142486"/>
                  </a:cubicBezTo>
                  <a:cubicBezTo>
                    <a:pt x="1409087" y="1141202"/>
                    <a:pt x="1412940" y="1142486"/>
                    <a:pt x="1416793" y="1141202"/>
                  </a:cubicBezTo>
                  <a:lnTo>
                    <a:pt x="1420646" y="1134781"/>
                  </a:lnTo>
                  <a:cubicBezTo>
                    <a:pt x="1423214" y="1133497"/>
                    <a:pt x="1427067" y="1136065"/>
                    <a:pt x="1429635" y="1132213"/>
                  </a:cubicBezTo>
                  <a:lnTo>
                    <a:pt x="1430919" y="1125791"/>
                  </a:lnTo>
                  <a:lnTo>
                    <a:pt x="1432822" y="1123889"/>
                  </a:lnTo>
                  <a:lnTo>
                    <a:pt x="1427937" y="1152759"/>
                  </a:lnTo>
                  <a:cubicBezTo>
                    <a:pt x="1426944" y="1150253"/>
                    <a:pt x="1424467" y="1151506"/>
                    <a:pt x="1423214" y="1152759"/>
                  </a:cubicBezTo>
                  <a:cubicBezTo>
                    <a:pt x="1420646" y="1155328"/>
                    <a:pt x="1419361" y="1155328"/>
                    <a:pt x="1415509" y="1156612"/>
                  </a:cubicBezTo>
                  <a:lnTo>
                    <a:pt x="1410372" y="1156612"/>
                  </a:lnTo>
                  <a:cubicBezTo>
                    <a:pt x="1409087" y="1156612"/>
                    <a:pt x="1409087" y="1157896"/>
                    <a:pt x="1407803" y="1159181"/>
                  </a:cubicBezTo>
                  <a:cubicBezTo>
                    <a:pt x="1403951" y="1160465"/>
                    <a:pt x="1400098" y="1159181"/>
                    <a:pt x="1396245" y="1159181"/>
                  </a:cubicBezTo>
                  <a:lnTo>
                    <a:pt x="1389824" y="1159181"/>
                  </a:lnTo>
                  <a:cubicBezTo>
                    <a:pt x="1387256" y="1157896"/>
                    <a:pt x="1387256" y="1156612"/>
                    <a:pt x="1385971" y="1154044"/>
                  </a:cubicBezTo>
                  <a:cubicBezTo>
                    <a:pt x="1383403" y="1146339"/>
                    <a:pt x="1376981" y="1142486"/>
                    <a:pt x="1373129" y="1136065"/>
                  </a:cubicBezTo>
                  <a:cubicBezTo>
                    <a:pt x="1369276" y="1128360"/>
                    <a:pt x="1362855" y="1120655"/>
                    <a:pt x="1361571" y="1112950"/>
                  </a:cubicBezTo>
                  <a:cubicBezTo>
                    <a:pt x="1360286" y="1107813"/>
                    <a:pt x="1360286" y="1102676"/>
                    <a:pt x="1357718" y="1097539"/>
                  </a:cubicBezTo>
                  <a:cubicBezTo>
                    <a:pt x="1353865" y="1091119"/>
                    <a:pt x="1347444" y="1084697"/>
                    <a:pt x="1344876" y="1076993"/>
                  </a:cubicBezTo>
                  <a:lnTo>
                    <a:pt x="1343591" y="1065434"/>
                  </a:lnTo>
                  <a:cubicBezTo>
                    <a:pt x="1342307" y="1062866"/>
                    <a:pt x="1339738" y="1059014"/>
                    <a:pt x="1338454" y="1055161"/>
                  </a:cubicBezTo>
                  <a:cubicBezTo>
                    <a:pt x="1337170" y="1053877"/>
                    <a:pt x="1330749" y="1047456"/>
                    <a:pt x="1332033" y="1044888"/>
                  </a:cubicBezTo>
                  <a:close/>
                  <a:moveTo>
                    <a:pt x="1419361" y="1034614"/>
                  </a:moveTo>
                  <a:cubicBezTo>
                    <a:pt x="1421930" y="1038466"/>
                    <a:pt x="1421930" y="1043603"/>
                    <a:pt x="1424498" y="1047456"/>
                  </a:cubicBezTo>
                  <a:cubicBezTo>
                    <a:pt x="1425962" y="1051116"/>
                    <a:pt x="1428261" y="1052690"/>
                    <a:pt x="1431200" y="1053177"/>
                  </a:cubicBezTo>
                  <a:lnTo>
                    <a:pt x="1433627" y="1077251"/>
                  </a:lnTo>
                  <a:lnTo>
                    <a:pt x="1423214" y="1071856"/>
                  </a:lnTo>
                  <a:cubicBezTo>
                    <a:pt x="1420646" y="1069287"/>
                    <a:pt x="1419361" y="1066719"/>
                    <a:pt x="1418077" y="1064150"/>
                  </a:cubicBezTo>
                  <a:cubicBezTo>
                    <a:pt x="1418077" y="1061582"/>
                    <a:pt x="1418077" y="1059014"/>
                    <a:pt x="1418077" y="1056445"/>
                  </a:cubicBezTo>
                  <a:cubicBezTo>
                    <a:pt x="1416793" y="1052593"/>
                    <a:pt x="1414224" y="1050024"/>
                    <a:pt x="1411656" y="1047456"/>
                  </a:cubicBezTo>
                  <a:cubicBezTo>
                    <a:pt x="1409087" y="1046172"/>
                    <a:pt x="1409087" y="1043603"/>
                    <a:pt x="1407803" y="1041035"/>
                  </a:cubicBezTo>
                  <a:cubicBezTo>
                    <a:pt x="1407803" y="1035898"/>
                    <a:pt x="1414224" y="1032046"/>
                    <a:pt x="1419361" y="1034614"/>
                  </a:cubicBezTo>
                  <a:close/>
                  <a:moveTo>
                    <a:pt x="586040" y="1028332"/>
                  </a:moveTo>
                  <a:cubicBezTo>
                    <a:pt x="588608" y="1030899"/>
                    <a:pt x="589892" y="1034750"/>
                    <a:pt x="591176" y="1037317"/>
                  </a:cubicBezTo>
                  <a:cubicBezTo>
                    <a:pt x="593743" y="1039884"/>
                    <a:pt x="596311" y="1043735"/>
                    <a:pt x="598879" y="1047586"/>
                  </a:cubicBezTo>
                  <a:cubicBezTo>
                    <a:pt x="604014" y="1056571"/>
                    <a:pt x="607866" y="1065556"/>
                    <a:pt x="613001" y="1074541"/>
                  </a:cubicBezTo>
                  <a:lnTo>
                    <a:pt x="618136" y="1079675"/>
                  </a:lnTo>
                  <a:cubicBezTo>
                    <a:pt x="619420" y="1082242"/>
                    <a:pt x="619420" y="1082242"/>
                    <a:pt x="620704" y="1084809"/>
                  </a:cubicBezTo>
                  <a:cubicBezTo>
                    <a:pt x="621987" y="1087376"/>
                    <a:pt x="623271" y="1088660"/>
                    <a:pt x="623271" y="1091227"/>
                  </a:cubicBezTo>
                  <a:cubicBezTo>
                    <a:pt x="624555" y="1095078"/>
                    <a:pt x="623271" y="1098929"/>
                    <a:pt x="623271" y="1102779"/>
                  </a:cubicBezTo>
                  <a:lnTo>
                    <a:pt x="628406" y="1113048"/>
                  </a:lnTo>
                  <a:cubicBezTo>
                    <a:pt x="630974" y="1115615"/>
                    <a:pt x="633542" y="1115615"/>
                    <a:pt x="637393" y="1116899"/>
                  </a:cubicBezTo>
                  <a:cubicBezTo>
                    <a:pt x="638677" y="1118182"/>
                    <a:pt x="639961" y="1120750"/>
                    <a:pt x="642528" y="1120750"/>
                  </a:cubicBezTo>
                  <a:cubicBezTo>
                    <a:pt x="643812" y="1122033"/>
                    <a:pt x="646380" y="1120750"/>
                    <a:pt x="647664" y="1122033"/>
                  </a:cubicBezTo>
                  <a:cubicBezTo>
                    <a:pt x="648948" y="1123317"/>
                    <a:pt x="648948" y="1124600"/>
                    <a:pt x="650231" y="1124600"/>
                  </a:cubicBezTo>
                  <a:cubicBezTo>
                    <a:pt x="652800" y="1127167"/>
                    <a:pt x="654083" y="1129735"/>
                    <a:pt x="657935" y="1131018"/>
                  </a:cubicBezTo>
                  <a:cubicBezTo>
                    <a:pt x="661786" y="1132302"/>
                    <a:pt x="668206" y="1132302"/>
                    <a:pt x="672057" y="1131018"/>
                  </a:cubicBezTo>
                  <a:cubicBezTo>
                    <a:pt x="675908" y="1129735"/>
                    <a:pt x="679760" y="1128451"/>
                    <a:pt x="683611" y="1129735"/>
                  </a:cubicBezTo>
                  <a:cubicBezTo>
                    <a:pt x="686179" y="1131018"/>
                    <a:pt x="687463" y="1133585"/>
                    <a:pt x="690030" y="1134869"/>
                  </a:cubicBezTo>
                  <a:cubicBezTo>
                    <a:pt x="693882" y="1137436"/>
                    <a:pt x="695165" y="1142570"/>
                    <a:pt x="699017" y="1143854"/>
                  </a:cubicBezTo>
                  <a:cubicBezTo>
                    <a:pt x="700301" y="1145138"/>
                    <a:pt x="701584" y="1145138"/>
                    <a:pt x="702868" y="1145138"/>
                  </a:cubicBezTo>
                  <a:cubicBezTo>
                    <a:pt x="708004" y="1146421"/>
                    <a:pt x="710571" y="1147705"/>
                    <a:pt x="713139" y="1150271"/>
                  </a:cubicBezTo>
                  <a:cubicBezTo>
                    <a:pt x="718274" y="1154123"/>
                    <a:pt x="716991" y="1161824"/>
                    <a:pt x="719558" y="1165674"/>
                  </a:cubicBezTo>
                  <a:cubicBezTo>
                    <a:pt x="722126" y="1168242"/>
                    <a:pt x="724694" y="1168242"/>
                    <a:pt x="727261" y="1169526"/>
                  </a:cubicBezTo>
                  <a:cubicBezTo>
                    <a:pt x="729829" y="1170809"/>
                    <a:pt x="729829" y="1174659"/>
                    <a:pt x="733680" y="1175943"/>
                  </a:cubicBezTo>
                  <a:lnTo>
                    <a:pt x="746519" y="1175943"/>
                  </a:lnTo>
                  <a:cubicBezTo>
                    <a:pt x="749087" y="1175943"/>
                    <a:pt x="752938" y="1174659"/>
                    <a:pt x="756789" y="1175943"/>
                  </a:cubicBezTo>
                  <a:lnTo>
                    <a:pt x="760641" y="1179794"/>
                  </a:lnTo>
                  <a:cubicBezTo>
                    <a:pt x="761925" y="1182361"/>
                    <a:pt x="760641" y="1183645"/>
                    <a:pt x="763208" y="1186212"/>
                  </a:cubicBezTo>
                  <a:cubicBezTo>
                    <a:pt x="768344" y="1190062"/>
                    <a:pt x="765776" y="1196480"/>
                    <a:pt x="764492" y="1202898"/>
                  </a:cubicBezTo>
                  <a:cubicBezTo>
                    <a:pt x="763208" y="1205465"/>
                    <a:pt x="763208" y="1208033"/>
                    <a:pt x="763208" y="1210600"/>
                  </a:cubicBezTo>
                  <a:cubicBezTo>
                    <a:pt x="763208" y="1213167"/>
                    <a:pt x="763208" y="1214450"/>
                    <a:pt x="764492" y="1217018"/>
                  </a:cubicBezTo>
                  <a:cubicBezTo>
                    <a:pt x="764492" y="1220868"/>
                    <a:pt x="763208" y="1222152"/>
                    <a:pt x="761925" y="1224719"/>
                  </a:cubicBezTo>
                  <a:cubicBezTo>
                    <a:pt x="758073" y="1232421"/>
                    <a:pt x="752938" y="1237554"/>
                    <a:pt x="749087" y="1243973"/>
                  </a:cubicBezTo>
                  <a:cubicBezTo>
                    <a:pt x="746519" y="1249107"/>
                    <a:pt x="746519" y="1256809"/>
                    <a:pt x="746519" y="1261942"/>
                  </a:cubicBezTo>
                  <a:cubicBezTo>
                    <a:pt x="747803" y="1270928"/>
                    <a:pt x="751654" y="1276062"/>
                    <a:pt x="758073" y="1282480"/>
                  </a:cubicBezTo>
                  <a:cubicBezTo>
                    <a:pt x="763208" y="1287614"/>
                    <a:pt x="763208" y="1294032"/>
                    <a:pt x="765776" y="1300450"/>
                  </a:cubicBezTo>
                  <a:cubicBezTo>
                    <a:pt x="765776" y="1303017"/>
                    <a:pt x="767060" y="1305584"/>
                    <a:pt x="768344" y="1308151"/>
                  </a:cubicBezTo>
                  <a:cubicBezTo>
                    <a:pt x="769627" y="1310718"/>
                    <a:pt x="772195" y="1312002"/>
                    <a:pt x="772195" y="1315853"/>
                  </a:cubicBezTo>
                  <a:cubicBezTo>
                    <a:pt x="772195" y="1317136"/>
                    <a:pt x="772195" y="1318420"/>
                    <a:pt x="772195" y="1320987"/>
                  </a:cubicBezTo>
                  <a:cubicBezTo>
                    <a:pt x="772195" y="1323554"/>
                    <a:pt x="773479" y="1329972"/>
                    <a:pt x="776046" y="1331256"/>
                  </a:cubicBezTo>
                  <a:cubicBezTo>
                    <a:pt x="777330" y="1332539"/>
                    <a:pt x="779898" y="1333823"/>
                    <a:pt x="782465" y="1333823"/>
                  </a:cubicBezTo>
                  <a:cubicBezTo>
                    <a:pt x="785033" y="1335106"/>
                    <a:pt x="788885" y="1336390"/>
                    <a:pt x="791452" y="1338957"/>
                  </a:cubicBezTo>
                  <a:cubicBezTo>
                    <a:pt x="794020" y="1341524"/>
                    <a:pt x="796588" y="1342808"/>
                    <a:pt x="799155" y="1345375"/>
                  </a:cubicBezTo>
                  <a:cubicBezTo>
                    <a:pt x="800439" y="1346659"/>
                    <a:pt x="800439" y="1349225"/>
                    <a:pt x="801723" y="1351793"/>
                  </a:cubicBezTo>
                  <a:cubicBezTo>
                    <a:pt x="803007" y="1354360"/>
                    <a:pt x="803007" y="1358211"/>
                    <a:pt x="803007" y="1362062"/>
                  </a:cubicBezTo>
                  <a:cubicBezTo>
                    <a:pt x="803007" y="1363345"/>
                    <a:pt x="801723" y="1364628"/>
                    <a:pt x="801723" y="1367196"/>
                  </a:cubicBezTo>
                  <a:cubicBezTo>
                    <a:pt x="801723" y="1368480"/>
                    <a:pt x="803007" y="1369763"/>
                    <a:pt x="801723" y="1371046"/>
                  </a:cubicBezTo>
                  <a:lnTo>
                    <a:pt x="801723" y="1376181"/>
                  </a:lnTo>
                  <a:cubicBezTo>
                    <a:pt x="801723" y="1380031"/>
                    <a:pt x="799155" y="1382599"/>
                    <a:pt x="799155" y="1386449"/>
                  </a:cubicBezTo>
                  <a:cubicBezTo>
                    <a:pt x="799155" y="1390300"/>
                    <a:pt x="800439" y="1392868"/>
                    <a:pt x="800439" y="1395434"/>
                  </a:cubicBezTo>
                  <a:cubicBezTo>
                    <a:pt x="799155" y="1398001"/>
                    <a:pt x="797872" y="1399285"/>
                    <a:pt x="799155" y="1403136"/>
                  </a:cubicBezTo>
                  <a:cubicBezTo>
                    <a:pt x="799155" y="1404419"/>
                    <a:pt x="799155" y="1405703"/>
                    <a:pt x="799155" y="1408270"/>
                  </a:cubicBezTo>
                  <a:cubicBezTo>
                    <a:pt x="799155" y="1409554"/>
                    <a:pt x="797872" y="1410837"/>
                    <a:pt x="797872" y="1413404"/>
                  </a:cubicBezTo>
                  <a:lnTo>
                    <a:pt x="796588" y="1418539"/>
                  </a:lnTo>
                  <a:lnTo>
                    <a:pt x="795304" y="1423673"/>
                  </a:lnTo>
                  <a:cubicBezTo>
                    <a:pt x="796588" y="1424957"/>
                    <a:pt x="796588" y="1426240"/>
                    <a:pt x="796588" y="1428807"/>
                  </a:cubicBezTo>
                  <a:cubicBezTo>
                    <a:pt x="796588" y="1430091"/>
                    <a:pt x="795304" y="1431375"/>
                    <a:pt x="795304" y="1433942"/>
                  </a:cubicBezTo>
                  <a:cubicBezTo>
                    <a:pt x="795304" y="1436509"/>
                    <a:pt x="796588" y="1437792"/>
                    <a:pt x="797872" y="1439076"/>
                  </a:cubicBezTo>
                  <a:cubicBezTo>
                    <a:pt x="800439" y="1444210"/>
                    <a:pt x="794020" y="1449345"/>
                    <a:pt x="792736" y="1454479"/>
                  </a:cubicBezTo>
                  <a:cubicBezTo>
                    <a:pt x="791452" y="1458330"/>
                    <a:pt x="790168" y="1462180"/>
                    <a:pt x="790168" y="1466031"/>
                  </a:cubicBezTo>
                  <a:lnTo>
                    <a:pt x="787732" y="1475775"/>
                  </a:lnTo>
                  <a:cubicBezTo>
                    <a:pt x="653361" y="1402919"/>
                    <a:pt x="563183" y="1260279"/>
                    <a:pt x="563183" y="1096578"/>
                  </a:cubicBezTo>
                  <a:lnTo>
                    <a:pt x="569630" y="1032630"/>
                  </a:lnTo>
                  <a:cubicBezTo>
                    <a:pt x="572113" y="1036233"/>
                    <a:pt x="574535" y="1038748"/>
                    <a:pt x="575770" y="1042452"/>
                  </a:cubicBezTo>
                  <a:cubicBezTo>
                    <a:pt x="578337" y="1045018"/>
                    <a:pt x="575770" y="1047586"/>
                    <a:pt x="575770" y="1050153"/>
                  </a:cubicBezTo>
                  <a:cubicBezTo>
                    <a:pt x="574486" y="1054003"/>
                    <a:pt x="579621" y="1056571"/>
                    <a:pt x="580905" y="1057855"/>
                  </a:cubicBezTo>
                  <a:cubicBezTo>
                    <a:pt x="583473" y="1060421"/>
                    <a:pt x="586040" y="1062988"/>
                    <a:pt x="587324" y="1065556"/>
                  </a:cubicBezTo>
                  <a:cubicBezTo>
                    <a:pt x="589892" y="1068123"/>
                    <a:pt x="591176" y="1071974"/>
                    <a:pt x="592460" y="1075824"/>
                  </a:cubicBezTo>
                  <a:lnTo>
                    <a:pt x="596311" y="1079675"/>
                  </a:lnTo>
                  <a:lnTo>
                    <a:pt x="598879" y="1075824"/>
                  </a:lnTo>
                  <a:lnTo>
                    <a:pt x="596311" y="1070690"/>
                  </a:lnTo>
                  <a:cubicBezTo>
                    <a:pt x="595027" y="1069406"/>
                    <a:pt x="593743" y="1066839"/>
                    <a:pt x="592460" y="1064272"/>
                  </a:cubicBezTo>
                  <a:cubicBezTo>
                    <a:pt x="591176" y="1062988"/>
                    <a:pt x="589892" y="1061705"/>
                    <a:pt x="588608" y="1059138"/>
                  </a:cubicBezTo>
                  <a:cubicBezTo>
                    <a:pt x="586040" y="1056571"/>
                    <a:pt x="584757" y="1054003"/>
                    <a:pt x="583473" y="1050153"/>
                  </a:cubicBezTo>
                  <a:cubicBezTo>
                    <a:pt x="582189" y="1046302"/>
                    <a:pt x="579621" y="1043735"/>
                    <a:pt x="579621" y="1039884"/>
                  </a:cubicBezTo>
                  <a:cubicBezTo>
                    <a:pt x="578337" y="1037317"/>
                    <a:pt x="578337" y="1034750"/>
                    <a:pt x="578337" y="1030899"/>
                  </a:cubicBezTo>
                  <a:cubicBezTo>
                    <a:pt x="578337" y="1027049"/>
                    <a:pt x="582189" y="1025765"/>
                    <a:pt x="586040" y="1028332"/>
                  </a:cubicBezTo>
                  <a:close/>
                  <a:moveTo>
                    <a:pt x="1769979" y="1006408"/>
                  </a:moveTo>
                  <a:lnTo>
                    <a:pt x="1769979" y="1206966"/>
                  </a:lnTo>
                  <a:lnTo>
                    <a:pt x="2103009" y="1206966"/>
                  </a:lnTo>
                  <a:lnTo>
                    <a:pt x="2103009" y="1378873"/>
                  </a:lnTo>
                  <a:lnTo>
                    <a:pt x="1769979" y="1378873"/>
                  </a:lnTo>
                  <a:lnTo>
                    <a:pt x="1769979" y="1579431"/>
                  </a:lnTo>
                  <a:lnTo>
                    <a:pt x="1341008" y="1292920"/>
                  </a:lnTo>
                  <a:close/>
                  <a:moveTo>
                    <a:pt x="874865" y="879164"/>
                  </a:moveTo>
                  <a:cubicBezTo>
                    <a:pt x="872278" y="879164"/>
                    <a:pt x="872278" y="884318"/>
                    <a:pt x="872278" y="886895"/>
                  </a:cubicBezTo>
                  <a:cubicBezTo>
                    <a:pt x="870986" y="893336"/>
                    <a:pt x="861933" y="897201"/>
                    <a:pt x="861933" y="902354"/>
                  </a:cubicBezTo>
                  <a:cubicBezTo>
                    <a:pt x="863226" y="910085"/>
                    <a:pt x="869692" y="911373"/>
                    <a:pt x="874865" y="911373"/>
                  </a:cubicBezTo>
                  <a:cubicBezTo>
                    <a:pt x="878745" y="910085"/>
                    <a:pt x="881331" y="910085"/>
                    <a:pt x="885210" y="911373"/>
                  </a:cubicBezTo>
                  <a:cubicBezTo>
                    <a:pt x="887797" y="911373"/>
                    <a:pt x="889090" y="913949"/>
                    <a:pt x="891677" y="913949"/>
                  </a:cubicBezTo>
                  <a:cubicBezTo>
                    <a:pt x="894263" y="913949"/>
                    <a:pt x="896849" y="913949"/>
                    <a:pt x="898142" y="911373"/>
                  </a:cubicBezTo>
                  <a:cubicBezTo>
                    <a:pt x="899435" y="907507"/>
                    <a:pt x="896849" y="906219"/>
                    <a:pt x="894263" y="903643"/>
                  </a:cubicBezTo>
                  <a:cubicBezTo>
                    <a:pt x="892970" y="902354"/>
                    <a:pt x="891677" y="901066"/>
                    <a:pt x="890383" y="899778"/>
                  </a:cubicBezTo>
                  <a:cubicBezTo>
                    <a:pt x="889090" y="897201"/>
                    <a:pt x="886504" y="893336"/>
                    <a:pt x="882624" y="894624"/>
                  </a:cubicBezTo>
                  <a:cubicBezTo>
                    <a:pt x="881331" y="894624"/>
                    <a:pt x="881331" y="895912"/>
                    <a:pt x="880038" y="895912"/>
                  </a:cubicBezTo>
                  <a:lnTo>
                    <a:pt x="876158" y="894624"/>
                  </a:lnTo>
                  <a:cubicBezTo>
                    <a:pt x="874865" y="893336"/>
                    <a:pt x="876158" y="892048"/>
                    <a:pt x="876158" y="889471"/>
                  </a:cubicBezTo>
                  <a:cubicBezTo>
                    <a:pt x="877451" y="888183"/>
                    <a:pt x="877451" y="885606"/>
                    <a:pt x="878745" y="883030"/>
                  </a:cubicBezTo>
                  <a:lnTo>
                    <a:pt x="877451" y="879164"/>
                  </a:lnTo>
                  <a:cubicBezTo>
                    <a:pt x="876158" y="879164"/>
                    <a:pt x="876158" y="879164"/>
                    <a:pt x="874865" y="879164"/>
                  </a:cubicBezTo>
                  <a:close/>
                  <a:moveTo>
                    <a:pt x="1125354" y="850902"/>
                  </a:moveTo>
                  <a:cubicBezTo>
                    <a:pt x="1124056" y="850902"/>
                    <a:pt x="1122757" y="852202"/>
                    <a:pt x="1121459" y="853502"/>
                  </a:cubicBezTo>
                  <a:cubicBezTo>
                    <a:pt x="1120160" y="854801"/>
                    <a:pt x="1118862" y="856101"/>
                    <a:pt x="1117564" y="856101"/>
                  </a:cubicBezTo>
                  <a:cubicBezTo>
                    <a:pt x="1116265" y="857401"/>
                    <a:pt x="1114967" y="856101"/>
                    <a:pt x="1113669" y="857401"/>
                  </a:cubicBezTo>
                  <a:cubicBezTo>
                    <a:pt x="1113669" y="858701"/>
                    <a:pt x="1114967" y="858701"/>
                    <a:pt x="1114967" y="860001"/>
                  </a:cubicBezTo>
                  <a:cubicBezTo>
                    <a:pt x="1114967" y="862600"/>
                    <a:pt x="1111072" y="861300"/>
                    <a:pt x="1112370" y="863900"/>
                  </a:cubicBezTo>
                  <a:cubicBezTo>
                    <a:pt x="1112370" y="865199"/>
                    <a:pt x="1113669" y="865199"/>
                    <a:pt x="1114967" y="866499"/>
                  </a:cubicBezTo>
                  <a:lnTo>
                    <a:pt x="1114967" y="870398"/>
                  </a:lnTo>
                  <a:cubicBezTo>
                    <a:pt x="1114967" y="871698"/>
                    <a:pt x="1114967" y="872997"/>
                    <a:pt x="1111072" y="874297"/>
                  </a:cubicBezTo>
                  <a:cubicBezTo>
                    <a:pt x="1111072" y="875597"/>
                    <a:pt x="1111072" y="876896"/>
                    <a:pt x="1111072" y="879496"/>
                  </a:cubicBezTo>
                  <a:lnTo>
                    <a:pt x="1112370" y="879496"/>
                  </a:lnTo>
                  <a:cubicBezTo>
                    <a:pt x="1113669" y="879496"/>
                    <a:pt x="1113669" y="879496"/>
                    <a:pt x="1114967" y="879496"/>
                  </a:cubicBezTo>
                  <a:cubicBezTo>
                    <a:pt x="1116265" y="879496"/>
                    <a:pt x="1117564" y="880795"/>
                    <a:pt x="1118862" y="880795"/>
                  </a:cubicBezTo>
                  <a:cubicBezTo>
                    <a:pt x="1120160" y="880795"/>
                    <a:pt x="1120160" y="879496"/>
                    <a:pt x="1121459" y="878196"/>
                  </a:cubicBezTo>
                  <a:cubicBezTo>
                    <a:pt x="1122757" y="878196"/>
                    <a:pt x="1122757" y="876896"/>
                    <a:pt x="1124056" y="876896"/>
                  </a:cubicBezTo>
                  <a:cubicBezTo>
                    <a:pt x="1125354" y="875597"/>
                    <a:pt x="1125354" y="875597"/>
                    <a:pt x="1127950" y="874297"/>
                  </a:cubicBezTo>
                  <a:cubicBezTo>
                    <a:pt x="1129249" y="872997"/>
                    <a:pt x="1129249" y="871698"/>
                    <a:pt x="1130547" y="871698"/>
                  </a:cubicBezTo>
                  <a:cubicBezTo>
                    <a:pt x="1130547" y="869098"/>
                    <a:pt x="1129249" y="867799"/>
                    <a:pt x="1129249" y="861300"/>
                  </a:cubicBezTo>
                  <a:cubicBezTo>
                    <a:pt x="1129249" y="860001"/>
                    <a:pt x="1131845" y="860001"/>
                    <a:pt x="1131845" y="858701"/>
                  </a:cubicBezTo>
                  <a:lnTo>
                    <a:pt x="1127950" y="852202"/>
                  </a:lnTo>
                  <a:cubicBezTo>
                    <a:pt x="1126652" y="852202"/>
                    <a:pt x="1126652" y="850902"/>
                    <a:pt x="1125354" y="850902"/>
                  </a:cubicBezTo>
                  <a:close/>
                  <a:moveTo>
                    <a:pt x="1222389" y="844426"/>
                  </a:moveTo>
                  <a:cubicBezTo>
                    <a:pt x="1221084" y="845060"/>
                    <a:pt x="1220105" y="846645"/>
                    <a:pt x="1220105" y="848548"/>
                  </a:cubicBezTo>
                  <a:cubicBezTo>
                    <a:pt x="1220105" y="851084"/>
                    <a:pt x="1221410" y="853620"/>
                    <a:pt x="1224019" y="852352"/>
                  </a:cubicBezTo>
                  <a:cubicBezTo>
                    <a:pt x="1226628" y="852352"/>
                    <a:pt x="1226628" y="848548"/>
                    <a:pt x="1226628" y="846011"/>
                  </a:cubicBezTo>
                  <a:cubicBezTo>
                    <a:pt x="1225323" y="844108"/>
                    <a:pt x="1223693" y="843792"/>
                    <a:pt x="1222389" y="844426"/>
                  </a:cubicBezTo>
                  <a:close/>
                  <a:moveTo>
                    <a:pt x="1143190" y="820466"/>
                  </a:moveTo>
                  <a:cubicBezTo>
                    <a:pt x="1141893" y="821747"/>
                    <a:pt x="1140595" y="821747"/>
                    <a:pt x="1139298" y="821747"/>
                  </a:cubicBezTo>
                  <a:cubicBezTo>
                    <a:pt x="1138001" y="821747"/>
                    <a:pt x="1138001" y="823028"/>
                    <a:pt x="1138001" y="824309"/>
                  </a:cubicBezTo>
                  <a:cubicBezTo>
                    <a:pt x="1138001" y="825590"/>
                    <a:pt x="1136703" y="824309"/>
                    <a:pt x="1136703" y="825590"/>
                  </a:cubicBezTo>
                  <a:cubicBezTo>
                    <a:pt x="1135406" y="826871"/>
                    <a:pt x="1136703" y="826871"/>
                    <a:pt x="1134109" y="829434"/>
                  </a:cubicBezTo>
                  <a:cubicBezTo>
                    <a:pt x="1132811" y="830715"/>
                    <a:pt x="1134109" y="831996"/>
                    <a:pt x="1134109" y="833277"/>
                  </a:cubicBezTo>
                  <a:cubicBezTo>
                    <a:pt x="1136703" y="833277"/>
                    <a:pt x="1134109" y="835840"/>
                    <a:pt x="1132811" y="837121"/>
                  </a:cubicBezTo>
                  <a:cubicBezTo>
                    <a:pt x="1132811" y="838402"/>
                    <a:pt x="1134109" y="838402"/>
                    <a:pt x="1134109" y="839683"/>
                  </a:cubicBezTo>
                  <a:cubicBezTo>
                    <a:pt x="1134109" y="840964"/>
                    <a:pt x="1134109" y="840964"/>
                    <a:pt x="1135406" y="843526"/>
                  </a:cubicBezTo>
                  <a:cubicBezTo>
                    <a:pt x="1136703" y="844807"/>
                    <a:pt x="1138001" y="844807"/>
                    <a:pt x="1138001" y="848651"/>
                  </a:cubicBezTo>
                  <a:cubicBezTo>
                    <a:pt x="1138001" y="849932"/>
                    <a:pt x="1139298" y="851213"/>
                    <a:pt x="1140595" y="851213"/>
                  </a:cubicBezTo>
                  <a:lnTo>
                    <a:pt x="1145785" y="852494"/>
                  </a:lnTo>
                  <a:cubicBezTo>
                    <a:pt x="1147083" y="853775"/>
                    <a:pt x="1141893" y="856337"/>
                    <a:pt x="1144488" y="857618"/>
                  </a:cubicBezTo>
                  <a:cubicBezTo>
                    <a:pt x="1145785" y="857618"/>
                    <a:pt x="1147083" y="856337"/>
                    <a:pt x="1148380" y="857618"/>
                  </a:cubicBezTo>
                  <a:cubicBezTo>
                    <a:pt x="1149677" y="862743"/>
                    <a:pt x="1141893" y="861462"/>
                    <a:pt x="1140595" y="864025"/>
                  </a:cubicBezTo>
                  <a:cubicBezTo>
                    <a:pt x="1139298" y="865306"/>
                    <a:pt x="1140595" y="865306"/>
                    <a:pt x="1140595" y="866587"/>
                  </a:cubicBezTo>
                  <a:cubicBezTo>
                    <a:pt x="1140595" y="867868"/>
                    <a:pt x="1139298" y="867868"/>
                    <a:pt x="1139298" y="870430"/>
                  </a:cubicBezTo>
                  <a:cubicBezTo>
                    <a:pt x="1139298" y="871711"/>
                    <a:pt x="1140595" y="871711"/>
                    <a:pt x="1139298" y="872992"/>
                  </a:cubicBezTo>
                  <a:cubicBezTo>
                    <a:pt x="1139298" y="874273"/>
                    <a:pt x="1138001" y="874273"/>
                    <a:pt x="1136703" y="875554"/>
                  </a:cubicBezTo>
                  <a:cubicBezTo>
                    <a:pt x="1140595" y="878117"/>
                    <a:pt x="1140595" y="879398"/>
                    <a:pt x="1141893" y="879398"/>
                  </a:cubicBezTo>
                  <a:cubicBezTo>
                    <a:pt x="1143190" y="879398"/>
                    <a:pt x="1144488" y="879398"/>
                    <a:pt x="1148380" y="880679"/>
                  </a:cubicBezTo>
                  <a:lnTo>
                    <a:pt x="1141893" y="881960"/>
                  </a:lnTo>
                  <a:cubicBezTo>
                    <a:pt x="1140595" y="881960"/>
                    <a:pt x="1139298" y="881960"/>
                    <a:pt x="1138001" y="883241"/>
                  </a:cubicBezTo>
                  <a:cubicBezTo>
                    <a:pt x="1138001" y="884522"/>
                    <a:pt x="1136703" y="885803"/>
                    <a:pt x="1135406" y="887084"/>
                  </a:cubicBezTo>
                  <a:cubicBezTo>
                    <a:pt x="1134109" y="888366"/>
                    <a:pt x="1132811" y="888366"/>
                    <a:pt x="1131513" y="889647"/>
                  </a:cubicBezTo>
                  <a:cubicBezTo>
                    <a:pt x="1131513" y="890928"/>
                    <a:pt x="1131513" y="892209"/>
                    <a:pt x="1132811" y="892209"/>
                  </a:cubicBezTo>
                  <a:cubicBezTo>
                    <a:pt x="1135406" y="892209"/>
                    <a:pt x="1135406" y="890928"/>
                    <a:pt x="1136703" y="889647"/>
                  </a:cubicBezTo>
                  <a:cubicBezTo>
                    <a:pt x="1138001" y="889647"/>
                    <a:pt x="1139298" y="888366"/>
                    <a:pt x="1141893" y="888366"/>
                  </a:cubicBezTo>
                  <a:cubicBezTo>
                    <a:pt x="1143190" y="888366"/>
                    <a:pt x="1144488" y="888366"/>
                    <a:pt x="1145785" y="887084"/>
                  </a:cubicBezTo>
                  <a:cubicBezTo>
                    <a:pt x="1147083" y="885803"/>
                    <a:pt x="1148380" y="887084"/>
                    <a:pt x="1149677" y="887084"/>
                  </a:cubicBezTo>
                  <a:cubicBezTo>
                    <a:pt x="1152272" y="887084"/>
                    <a:pt x="1153569" y="885803"/>
                    <a:pt x="1154867" y="884522"/>
                  </a:cubicBezTo>
                  <a:cubicBezTo>
                    <a:pt x="1157462" y="884522"/>
                    <a:pt x="1158759" y="885803"/>
                    <a:pt x="1160057" y="885803"/>
                  </a:cubicBezTo>
                  <a:lnTo>
                    <a:pt x="1165246" y="885803"/>
                  </a:lnTo>
                  <a:lnTo>
                    <a:pt x="1166544" y="879398"/>
                  </a:lnTo>
                  <a:cubicBezTo>
                    <a:pt x="1169138" y="876836"/>
                    <a:pt x="1170436" y="876836"/>
                    <a:pt x="1170436" y="875554"/>
                  </a:cubicBezTo>
                  <a:cubicBezTo>
                    <a:pt x="1171733" y="875554"/>
                    <a:pt x="1171733" y="874273"/>
                    <a:pt x="1171733" y="872992"/>
                  </a:cubicBezTo>
                  <a:cubicBezTo>
                    <a:pt x="1171733" y="870430"/>
                    <a:pt x="1171733" y="867868"/>
                    <a:pt x="1167841" y="867868"/>
                  </a:cubicBezTo>
                  <a:cubicBezTo>
                    <a:pt x="1166544" y="867868"/>
                    <a:pt x="1165246" y="869149"/>
                    <a:pt x="1163949" y="865306"/>
                  </a:cubicBezTo>
                  <a:cubicBezTo>
                    <a:pt x="1163949" y="864025"/>
                    <a:pt x="1163949" y="864025"/>
                    <a:pt x="1163949" y="862743"/>
                  </a:cubicBezTo>
                  <a:cubicBezTo>
                    <a:pt x="1161354" y="858900"/>
                    <a:pt x="1160057" y="858900"/>
                    <a:pt x="1157462" y="855056"/>
                  </a:cubicBezTo>
                  <a:cubicBezTo>
                    <a:pt x="1156165" y="853775"/>
                    <a:pt x="1156165" y="852494"/>
                    <a:pt x="1154867" y="851213"/>
                  </a:cubicBezTo>
                  <a:cubicBezTo>
                    <a:pt x="1154867" y="849932"/>
                    <a:pt x="1153569" y="848651"/>
                    <a:pt x="1152272" y="848651"/>
                  </a:cubicBezTo>
                  <a:cubicBezTo>
                    <a:pt x="1152272" y="847370"/>
                    <a:pt x="1152272" y="846089"/>
                    <a:pt x="1150975" y="846089"/>
                  </a:cubicBezTo>
                  <a:cubicBezTo>
                    <a:pt x="1150975" y="844807"/>
                    <a:pt x="1149677" y="844807"/>
                    <a:pt x="1148380" y="843526"/>
                  </a:cubicBezTo>
                  <a:cubicBezTo>
                    <a:pt x="1148380" y="842245"/>
                    <a:pt x="1148380" y="842245"/>
                    <a:pt x="1149677" y="840964"/>
                  </a:cubicBezTo>
                  <a:cubicBezTo>
                    <a:pt x="1149677" y="839683"/>
                    <a:pt x="1149677" y="839683"/>
                    <a:pt x="1149677" y="838402"/>
                  </a:cubicBezTo>
                  <a:cubicBezTo>
                    <a:pt x="1149677" y="837121"/>
                    <a:pt x="1150975" y="837121"/>
                    <a:pt x="1153569" y="833277"/>
                  </a:cubicBezTo>
                  <a:cubicBezTo>
                    <a:pt x="1154867" y="831996"/>
                    <a:pt x="1154867" y="829434"/>
                    <a:pt x="1153569" y="828153"/>
                  </a:cubicBezTo>
                  <a:cubicBezTo>
                    <a:pt x="1152272" y="828153"/>
                    <a:pt x="1152272" y="828153"/>
                    <a:pt x="1150975" y="828153"/>
                  </a:cubicBezTo>
                  <a:cubicBezTo>
                    <a:pt x="1149677" y="826871"/>
                    <a:pt x="1144488" y="828153"/>
                    <a:pt x="1145785" y="823028"/>
                  </a:cubicBezTo>
                  <a:cubicBezTo>
                    <a:pt x="1145785" y="820466"/>
                    <a:pt x="1144488" y="820466"/>
                    <a:pt x="1143190" y="820466"/>
                  </a:cubicBezTo>
                  <a:close/>
                  <a:moveTo>
                    <a:pt x="835030" y="783181"/>
                  </a:moveTo>
                  <a:cubicBezTo>
                    <a:pt x="833806" y="781877"/>
                    <a:pt x="832584" y="785790"/>
                    <a:pt x="833806" y="785790"/>
                  </a:cubicBezTo>
                  <a:cubicBezTo>
                    <a:pt x="836252" y="788399"/>
                    <a:pt x="837475" y="784486"/>
                    <a:pt x="835030" y="783181"/>
                  </a:cubicBezTo>
                  <a:close/>
                  <a:moveTo>
                    <a:pt x="724721" y="765209"/>
                  </a:moveTo>
                  <a:cubicBezTo>
                    <a:pt x="723437" y="765209"/>
                    <a:pt x="723437" y="766477"/>
                    <a:pt x="722152" y="766477"/>
                  </a:cubicBezTo>
                  <a:cubicBezTo>
                    <a:pt x="720867" y="769014"/>
                    <a:pt x="723437" y="770282"/>
                    <a:pt x="723437" y="771550"/>
                  </a:cubicBezTo>
                  <a:lnTo>
                    <a:pt x="720867" y="775354"/>
                  </a:lnTo>
                  <a:cubicBezTo>
                    <a:pt x="715729" y="777891"/>
                    <a:pt x="724721" y="782963"/>
                    <a:pt x="727291" y="780427"/>
                  </a:cubicBezTo>
                  <a:cubicBezTo>
                    <a:pt x="731145" y="777891"/>
                    <a:pt x="727291" y="771550"/>
                    <a:pt x="732429" y="771550"/>
                  </a:cubicBezTo>
                  <a:cubicBezTo>
                    <a:pt x="733714" y="771550"/>
                    <a:pt x="733714" y="776623"/>
                    <a:pt x="734998" y="777891"/>
                  </a:cubicBezTo>
                  <a:lnTo>
                    <a:pt x="742707" y="779159"/>
                  </a:lnTo>
                  <a:lnTo>
                    <a:pt x="740137" y="774086"/>
                  </a:lnTo>
                  <a:cubicBezTo>
                    <a:pt x="738852" y="774086"/>
                    <a:pt x="737568" y="772818"/>
                    <a:pt x="736283" y="771550"/>
                  </a:cubicBezTo>
                  <a:lnTo>
                    <a:pt x="729860" y="765209"/>
                  </a:lnTo>
                  <a:close/>
                  <a:moveTo>
                    <a:pt x="1080541" y="753287"/>
                  </a:moveTo>
                  <a:lnTo>
                    <a:pt x="1079249" y="754592"/>
                  </a:lnTo>
                  <a:cubicBezTo>
                    <a:pt x="1077956" y="755897"/>
                    <a:pt x="1076663" y="754592"/>
                    <a:pt x="1075371" y="755897"/>
                  </a:cubicBezTo>
                  <a:cubicBezTo>
                    <a:pt x="1074078" y="755897"/>
                    <a:pt x="1074078" y="757201"/>
                    <a:pt x="1072785" y="757201"/>
                  </a:cubicBezTo>
                  <a:cubicBezTo>
                    <a:pt x="1071493" y="757201"/>
                    <a:pt x="1071493" y="755897"/>
                    <a:pt x="1067615" y="755897"/>
                  </a:cubicBezTo>
                  <a:cubicBezTo>
                    <a:pt x="1066322" y="754592"/>
                    <a:pt x="1066322" y="753287"/>
                    <a:pt x="1065029" y="754592"/>
                  </a:cubicBezTo>
                  <a:lnTo>
                    <a:pt x="1061151" y="757201"/>
                  </a:lnTo>
                  <a:lnTo>
                    <a:pt x="1057273" y="761114"/>
                  </a:lnTo>
                  <a:cubicBezTo>
                    <a:pt x="1055981" y="761114"/>
                    <a:pt x="1055981" y="762418"/>
                    <a:pt x="1053395" y="761114"/>
                  </a:cubicBezTo>
                  <a:lnTo>
                    <a:pt x="1052103" y="757201"/>
                  </a:lnTo>
                  <a:cubicBezTo>
                    <a:pt x="1050810" y="757201"/>
                    <a:pt x="1049517" y="757201"/>
                    <a:pt x="1048225" y="757201"/>
                  </a:cubicBezTo>
                  <a:cubicBezTo>
                    <a:pt x="1046932" y="758505"/>
                    <a:pt x="1046932" y="759810"/>
                    <a:pt x="1048225" y="761114"/>
                  </a:cubicBezTo>
                  <a:cubicBezTo>
                    <a:pt x="1047255" y="764376"/>
                    <a:pt x="1046932" y="764376"/>
                    <a:pt x="1046932" y="765028"/>
                  </a:cubicBezTo>
                  <a:cubicBezTo>
                    <a:pt x="1045639" y="767636"/>
                    <a:pt x="1049517" y="767636"/>
                    <a:pt x="1052103" y="770245"/>
                  </a:cubicBezTo>
                  <a:cubicBezTo>
                    <a:pt x="1052103" y="771549"/>
                    <a:pt x="1050810" y="771549"/>
                    <a:pt x="1049517" y="774159"/>
                  </a:cubicBezTo>
                  <a:cubicBezTo>
                    <a:pt x="1050810" y="775463"/>
                    <a:pt x="1053395" y="774159"/>
                    <a:pt x="1054688" y="772854"/>
                  </a:cubicBezTo>
                  <a:cubicBezTo>
                    <a:pt x="1055981" y="772854"/>
                    <a:pt x="1055981" y="772854"/>
                    <a:pt x="1057273" y="774159"/>
                  </a:cubicBezTo>
                  <a:cubicBezTo>
                    <a:pt x="1058566" y="774159"/>
                    <a:pt x="1057273" y="775463"/>
                    <a:pt x="1058566" y="775463"/>
                  </a:cubicBezTo>
                  <a:cubicBezTo>
                    <a:pt x="1062444" y="776767"/>
                    <a:pt x="1065029" y="778072"/>
                    <a:pt x="1067615" y="776767"/>
                  </a:cubicBezTo>
                  <a:cubicBezTo>
                    <a:pt x="1070200" y="776767"/>
                    <a:pt x="1071493" y="774159"/>
                    <a:pt x="1076663" y="774159"/>
                  </a:cubicBezTo>
                  <a:cubicBezTo>
                    <a:pt x="1079249" y="775463"/>
                    <a:pt x="1081834" y="774159"/>
                    <a:pt x="1083127" y="772854"/>
                  </a:cubicBezTo>
                  <a:cubicBezTo>
                    <a:pt x="1085712" y="771549"/>
                    <a:pt x="1088297" y="770245"/>
                    <a:pt x="1092175" y="765028"/>
                  </a:cubicBezTo>
                  <a:cubicBezTo>
                    <a:pt x="1093468" y="763723"/>
                    <a:pt x="1093468" y="761114"/>
                    <a:pt x="1092175" y="759810"/>
                  </a:cubicBezTo>
                  <a:cubicBezTo>
                    <a:pt x="1090883" y="757201"/>
                    <a:pt x="1087005" y="761114"/>
                    <a:pt x="1085712" y="757201"/>
                  </a:cubicBezTo>
                  <a:cubicBezTo>
                    <a:pt x="1084419" y="755897"/>
                    <a:pt x="1084419" y="754592"/>
                    <a:pt x="1080541" y="753287"/>
                  </a:cubicBezTo>
                  <a:close/>
                  <a:moveTo>
                    <a:pt x="774894" y="735678"/>
                  </a:moveTo>
                  <a:cubicBezTo>
                    <a:pt x="771167" y="735678"/>
                    <a:pt x="771167" y="742132"/>
                    <a:pt x="773652" y="743423"/>
                  </a:cubicBezTo>
                  <a:cubicBezTo>
                    <a:pt x="778621" y="746005"/>
                    <a:pt x="779863" y="735678"/>
                    <a:pt x="774894" y="735678"/>
                  </a:cubicBezTo>
                  <a:close/>
                  <a:moveTo>
                    <a:pt x="1060679" y="666562"/>
                  </a:moveTo>
                  <a:cubicBezTo>
                    <a:pt x="1131042" y="674596"/>
                    <a:pt x="1195785" y="701162"/>
                    <a:pt x="1250573" y="740911"/>
                  </a:cubicBezTo>
                  <a:cubicBezTo>
                    <a:pt x="1251422" y="743780"/>
                    <a:pt x="1248221" y="741987"/>
                    <a:pt x="1245989" y="743102"/>
                  </a:cubicBezTo>
                  <a:cubicBezTo>
                    <a:pt x="1243421" y="744387"/>
                    <a:pt x="1245989" y="745671"/>
                    <a:pt x="1245989" y="746955"/>
                  </a:cubicBezTo>
                  <a:cubicBezTo>
                    <a:pt x="1245989" y="752092"/>
                    <a:pt x="1240852" y="748239"/>
                    <a:pt x="1238284" y="748239"/>
                  </a:cubicBezTo>
                  <a:cubicBezTo>
                    <a:pt x="1230578" y="748239"/>
                    <a:pt x="1240852" y="757229"/>
                    <a:pt x="1239568" y="758513"/>
                  </a:cubicBezTo>
                  <a:cubicBezTo>
                    <a:pt x="1235715" y="762365"/>
                    <a:pt x="1231863" y="754661"/>
                    <a:pt x="1228010" y="759797"/>
                  </a:cubicBezTo>
                  <a:cubicBezTo>
                    <a:pt x="1226726" y="762365"/>
                    <a:pt x="1225441" y="766218"/>
                    <a:pt x="1222873" y="768787"/>
                  </a:cubicBezTo>
                  <a:cubicBezTo>
                    <a:pt x="1222231" y="770071"/>
                    <a:pt x="1220625" y="770713"/>
                    <a:pt x="1219823" y="771355"/>
                  </a:cubicBezTo>
                  <a:lnTo>
                    <a:pt x="1221589" y="773923"/>
                  </a:lnTo>
                  <a:cubicBezTo>
                    <a:pt x="1222873" y="775207"/>
                    <a:pt x="1225441" y="776492"/>
                    <a:pt x="1222873" y="777776"/>
                  </a:cubicBezTo>
                  <a:cubicBezTo>
                    <a:pt x="1220304" y="777776"/>
                    <a:pt x="1216451" y="776492"/>
                    <a:pt x="1213883" y="776492"/>
                  </a:cubicBezTo>
                  <a:cubicBezTo>
                    <a:pt x="1212599" y="775207"/>
                    <a:pt x="1210031" y="775207"/>
                    <a:pt x="1208746" y="776492"/>
                  </a:cubicBezTo>
                  <a:cubicBezTo>
                    <a:pt x="1207462" y="779060"/>
                    <a:pt x="1210031" y="780344"/>
                    <a:pt x="1208746" y="781628"/>
                  </a:cubicBezTo>
                  <a:cubicBezTo>
                    <a:pt x="1208746" y="786765"/>
                    <a:pt x="1199756" y="781628"/>
                    <a:pt x="1198473" y="786765"/>
                  </a:cubicBezTo>
                  <a:lnTo>
                    <a:pt x="1198473" y="791902"/>
                  </a:lnTo>
                  <a:cubicBezTo>
                    <a:pt x="1197188" y="794470"/>
                    <a:pt x="1193335" y="793186"/>
                    <a:pt x="1190767" y="798323"/>
                  </a:cubicBezTo>
                  <a:cubicBezTo>
                    <a:pt x="1189483" y="799607"/>
                    <a:pt x="1189483" y="798323"/>
                    <a:pt x="1188198" y="799607"/>
                  </a:cubicBezTo>
                  <a:cubicBezTo>
                    <a:pt x="1188198" y="799928"/>
                    <a:pt x="1188118" y="800089"/>
                    <a:pt x="1188399" y="800570"/>
                  </a:cubicBezTo>
                  <a:lnTo>
                    <a:pt x="1190767" y="803459"/>
                  </a:lnTo>
                  <a:cubicBezTo>
                    <a:pt x="1192051" y="806028"/>
                    <a:pt x="1190767" y="804744"/>
                    <a:pt x="1189483" y="807312"/>
                  </a:cubicBezTo>
                  <a:cubicBezTo>
                    <a:pt x="1186914" y="809881"/>
                    <a:pt x="1193335" y="808596"/>
                    <a:pt x="1194620" y="809881"/>
                  </a:cubicBezTo>
                  <a:cubicBezTo>
                    <a:pt x="1198473" y="813733"/>
                    <a:pt x="1188198" y="813733"/>
                    <a:pt x="1189483" y="817586"/>
                  </a:cubicBezTo>
                  <a:cubicBezTo>
                    <a:pt x="1190767" y="820154"/>
                    <a:pt x="1197188" y="816301"/>
                    <a:pt x="1194620" y="821438"/>
                  </a:cubicBezTo>
                  <a:cubicBezTo>
                    <a:pt x="1193335" y="822723"/>
                    <a:pt x="1192051" y="822723"/>
                    <a:pt x="1192051" y="824007"/>
                  </a:cubicBezTo>
                  <a:cubicBezTo>
                    <a:pt x="1192051" y="827859"/>
                    <a:pt x="1194620" y="825291"/>
                    <a:pt x="1195904" y="825291"/>
                  </a:cubicBezTo>
                  <a:cubicBezTo>
                    <a:pt x="1198473" y="826575"/>
                    <a:pt x="1195904" y="831712"/>
                    <a:pt x="1199756" y="830427"/>
                  </a:cubicBezTo>
                  <a:cubicBezTo>
                    <a:pt x="1203609" y="830427"/>
                    <a:pt x="1202325" y="825291"/>
                    <a:pt x="1206178" y="825291"/>
                  </a:cubicBezTo>
                  <a:cubicBezTo>
                    <a:pt x="1207462" y="825291"/>
                    <a:pt x="1208746" y="826575"/>
                    <a:pt x="1210031" y="825291"/>
                  </a:cubicBezTo>
                  <a:lnTo>
                    <a:pt x="1212599" y="821438"/>
                  </a:lnTo>
                  <a:cubicBezTo>
                    <a:pt x="1215168" y="820154"/>
                    <a:pt x="1216451" y="822723"/>
                    <a:pt x="1217736" y="822723"/>
                  </a:cubicBezTo>
                  <a:cubicBezTo>
                    <a:pt x="1220304" y="822723"/>
                    <a:pt x="1221589" y="820154"/>
                    <a:pt x="1222873" y="822723"/>
                  </a:cubicBezTo>
                  <a:cubicBezTo>
                    <a:pt x="1222873" y="826575"/>
                    <a:pt x="1219020" y="829144"/>
                    <a:pt x="1221589" y="831712"/>
                  </a:cubicBezTo>
                  <a:lnTo>
                    <a:pt x="1231863" y="836849"/>
                  </a:lnTo>
                  <a:lnTo>
                    <a:pt x="1232665" y="840059"/>
                  </a:lnTo>
                  <a:cubicBezTo>
                    <a:pt x="1231863" y="840701"/>
                    <a:pt x="1230578" y="841343"/>
                    <a:pt x="1230578" y="843270"/>
                  </a:cubicBezTo>
                  <a:cubicBezTo>
                    <a:pt x="1229294" y="848406"/>
                    <a:pt x="1235715" y="850975"/>
                    <a:pt x="1238284" y="845838"/>
                  </a:cubicBezTo>
                  <a:cubicBezTo>
                    <a:pt x="1239568" y="841986"/>
                    <a:pt x="1238284" y="839417"/>
                    <a:pt x="1244705" y="840701"/>
                  </a:cubicBezTo>
                  <a:cubicBezTo>
                    <a:pt x="1248558" y="841986"/>
                    <a:pt x="1249842" y="839417"/>
                    <a:pt x="1248558" y="835564"/>
                  </a:cubicBezTo>
                  <a:cubicBezTo>
                    <a:pt x="1247274" y="830427"/>
                    <a:pt x="1244705" y="826575"/>
                    <a:pt x="1249842" y="824007"/>
                  </a:cubicBezTo>
                  <a:cubicBezTo>
                    <a:pt x="1252410" y="822723"/>
                    <a:pt x="1256263" y="822723"/>
                    <a:pt x="1257547" y="820154"/>
                  </a:cubicBezTo>
                  <a:cubicBezTo>
                    <a:pt x="1260116" y="816301"/>
                    <a:pt x="1258832" y="812449"/>
                    <a:pt x="1256263" y="809881"/>
                  </a:cubicBezTo>
                  <a:cubicBezTo>
                    <a:pt x="1253694" y="807312"/>
                    <a:pt x="1251126" y="804744"/>
                    <a:pt x="1251126" y="802175"/>
                  </a:cubicBezTo>
                  <a:cubicBezTo>
                    <a:pt x="1251126" y="799607"/>
                    <a:pt x="1253694" y="797039"/>
                    <a:pt x="1253694" y="794470"/>
                  </a:cubicBezTo>
                  <a:cubicBezTo>
                    <a:pt x="1253694" y="791902"/>
                    <a:pt x="1252410" y="788049"/>
                    <a:pt x="1254979" y="785481"/>
                  </a:cubicBezTo>
                  <a:cubicBezTo>
                    <a:pt x="1256263" y="784197"/>
                    <a:pt x="1258832" y="785481"/>
                    <a:pt x="1258832" y="781628"/>
                  </a:cubicBezTo>
                  <a:cubicBezTo>
                    <a:pt x="1260116" y="780344"/>
                    <a:pt x="1258832" y="779060"/>
                    <a:pt x="1261400" y="777776"/>
                  </a:cubicBezTo>
                  <a:cubicBezTo>
                    <a:pt x="1265253" y="775207"/>
                    <a:pt x="1267821" y="777776"/>
                    <a:pt x="1270390" y="772639"/>
                  </a:cubicBezTo>
                  <a:cubicBezTo>
                    <a:pt x="1271674" y="770071"/>
                    <a:pt x="1274242" y="766218"/>
                    <a:pt x="1274242" y="762365"/>
                  </a:cubicBezTo>
                  <a:lnTo>
                    <a:pt x="1275695" y="761639"/>
                  </a:lnTo>
                  <a:lnTo>
                    <a:pt x="1286268" y="770363"/>
                  </a:lnTo>
                  <a:cubicBezTo>
                    <a:pt x="1279379" y="775207"/>
                    <a:pt x="1276811" y="776492"/>
                    <a:pt x="1275527" y="779060"/>
                  </a:cubicBezTo>
                  <a:cubicBezTo>
                    <a:pt x="1274242" y="780344"/>
                    <a:pt x="1274242" y="781628"/>
                    <a:pt x="1274242" y="782913"/>
                  </a:cubicBezTo>
                  <a:cubicBezTo>
                    <a:pt x="1272958" y="786765"/>
                    <a:pt x="1275527" y="789333"/>
                    <a:pt x="1275527" y="793186"/>
                  </a:cubicBezTo>
                  <a:cubicBezTo>
                    <a:pt x="1276811" y="795755"/>
                    <a:pt x="1278095" y="797039"/>
                    <a:pt x="1278095" y="799607"/>
                  </a:cubicBezTo>
                  <a:cubicBezTo>
                    <a:pt x="1280664" y="802175"/>
                    <a:pt x="1279379" y="806028"/>
                    <a:pt x="1281948" y="808596"/>
                  </a:cubicBezTo>
                  <a:cubicBezTo>
                    <a:pt x="1284517" y="809881"/>
                    <a:pt x="1287085" y="809881"/>
                    <a:pt x="1289653" y="808596"/>
                  </a:cubicBezTo>
                  <a:cubicBezTo>
                    <a:pt x="1292222" y="806028"/>
                    <a:pt x="1294790" y="803459"/>
                    <a:pt x="1298643" y="803459"/>
                  </a:cubicBezTo>
                  <a:lnTo>
                    <a:pt x="1303780" y="806028"/>
                  </a:lnTo>
                  <a:cubicBezTo>
                    <a:pt x="1306348" y="807312"/>
                    <a:pt x="1307633" y="806028"/>
                    <a:pt x="1310201" y="806028"/>
                  </a:cubicBezTo>
                  <a:cubicBezTo>
                    <a:pt x="1312770" y="807312"/>
                    <a:pt x="1316622" y="811165"/>
                    <a:pt x="1311485" y="812449"/>
                  </a:cubicBezTo>
                  <a:cubicBezTo>
                    <a:pt x="1308917" y="813733"/>
                    <a:pt x="1306348" y="812449"/>
                    <a:pt x="1303780" y="812449"/>
                  </a:cubicBezTo>
                  <a:cubicBezTo>
                    <a:pt x="1299927" y="812449"/>
                    <a:pt x="1299927" y="815018"/>
                    <a:pt x="1297359" y="815018"/>
                  </a:cubicBezTo>
                  <a:cubicBezTo>
                    <a:pt x="1293506" y="816301"/>
                    <a:pt x="1290937" y="812449"/>
                    <a:pt x="1287085" y="815018"/>
                  </a:cubicBezTo>
                  <a:cubicBezTo>
                    <a:pt x="1279379" y="820154"/>
                    <a:pt x="1290937" y="826575"/>
                    <a:pt x="1285800" y="831712"/>
                  </a:cubicBezTo>
                  <a:cubicBezTo>
                    <a:pt x="1283232" y="835564"/>
                    <a:pt x="1280664" y="830427"/>
                    <a:pt x="1279379" y="829144"/>
                  </a:cubicBezTo>
                  <a:lnTo>
                    <a:pt x="1271674" y="832996"/>
                  </a:lnTo>
                  <a:cubicBezTo>
                    <a:pt x="1270390" y="836849"/>
                    <a:pt x="1272958" y="839417"/>
                    <a:pt x="1271674" y="843270"/>
                  </a:cubicBezTo>
                  <a:cubicBezTo>
                    <a:pt x="1271674" y="844553"/>
                    <a:pt x="1270390" y="844553"/>
                    <a:pt x="1269105" y="845838"/>
                  </a:cubicBezTo>
                  <a:cubicBezTo>
                    <a:pt x="1269105" y="848406"/>
                    <a:pt x="1270390" y="848406"/>
                    <a:pt x="1270390" y="849690"/>
                  </a:cubicBezTo>
                  <a:cubicBezTo>
                    <a:pt x="1269105" y="852259"/>
                    <a:pt x="1267821" y="850975"/>
                    <a:pt x="1266537" y="852259"/>
                  </a:cubicBezTo>
                  <a:cubicBezTo>
                    <a:pt x="1262684" y="852259"/>
                    <a:pt x="1263969" y="854827"/>
                    <a:pt x="1262684" y="856112"/>
                  </a:cubicBezTo>
                  <a:cubicBezTo>
                    <a:pt x="1260116" y="859964"/>
                    <a:pt x="1256263" y="858680"/>
                    <a:pt x="1252410" y="858680"/>
                  </a:cubicBezTo>
                  <a:cubicBezTo>
                    <a:pt x="1247274" y="858680"/>
                    <a:pt x="1244705" y="859964"/>
                    <a:pt x="1239568" y="862532"/>
                  </a:cubicBezTo>
                  <a:cubicBezTo>
                    <a:pt x="1234431" y="863817"/>
                    <a:pt x="1231863" y="859964"/>
                    <a:pt x="1228010" y="859964"/>
                  </a:cubicBezTo>
                  <a:cubicBezTo>
                    <a:pt x="1224157" y="858680"/>
                    <a:pt x="1226726" y="861248"/>
                    <a:pt x="1224157" y="862532"/>
                  </a:cubicBezTo>
                  <a:cubicBezTo>
                    <a:pt x="1221589" y="863817"/>
                    <a:pt x="1220304" y="862532"/>
                    <a:pt x="1219020" y="861248"/>
                  </a:cubicBezTo>
                  <a:cubicBezTo>
                    <a:pt x="1217736" y="861248"/>
                    <a:pt x="1216451" y="859964"/>
                    <a:pt x="1215168" y="858680"/>
                  </a:cubicBezTo>
                  <a:cubicBezTo>
                    <a:pt x="1211315" y="854827"/>
                    <a:pt x="1216451" y="853543"/>
                    <a:pt x="1215168" y="850975"/>
                  </a:cubicBezTo>
                  <a:cubicBezTo>
                    <a:pt x="1215168" y="847122"/>
                    <a:pt x="1213883" y="847122"/>
                    <a:pt x="1215168" y="844553"/>
                  </a:cubicBezTo>
                  <a:cubicBezTo>
                    <a:pt x="1215168" y="843270"/>
                    <a:pt x="1215168" y="841986"/>
                    <a:pt x="1215168" y="840701"/>
                  </a:cubicBezTo>
                  <a:cubicBezTo>
                    <a:pt x="1215168" y="839417"/>
                    <a:pt x="1215168" y="838133"/>
                    <a:pt x="1215168" y="835564"/>
                  </a:cubicBezTo>
                  <a:cubicBezTo>
                    <a:pt x="1216451" y="834280"/>
                    <a:pt x="1217736" y="827859"/>
                    <a:pt x="1213883" y="830427"/>
                  </a:cubicBezTo>
                  <a:cubicBezTo>
                    <a:pt x="1211315" y="830427"/>
                    <a:pt x="1212599" y="832996"/>
                    <a:pt x="1211315" y="832996"/>
                  </a:cubicBezTo>
                  <a:cubicBezTo>
                    <a:pt x="1210031" y="834280"/>
                    <a:pt x="1208746" y="832996"/>
                    <a:pt x="1207462" y="832996"/>
                  </a:cubicBezTo>
                  <a:cubicBezTo>
                    <a:pt x="1204893" y="835564"/>
                    <a:pt x="1211315" y="836849"/>
                    <a:pt x="1211315" y="838133"/>
                  </a:cubicBezTo>
                  <a:cubicBezTo>
                    <a:pt x="1208746" y="839417"/>
                    <a:pt x="1199756" y="839417"/>
                    <a:pt x="1202325" y="844553"/>
                  </a:cubicBezTo>
                  <a:cubicBezTo>
                    <a:pt x="1203609" y="845838"/>
                    <a:pt x="1204893" y="845838"/>
                    <a:pt x="1206178" y="847122"/>
                  </a:cubicBezTo>
                  <a:cubicBezTo>
                    <a:pt x="1206178" y="849690"/>
                    <a:pt x="1204893" y="849690"/>
                    <a:pt x="1204893" y="850975"/>
                  </a:cubicBezTo>
                  <a:cubicBezTo>
                    <a:pt x="1203609" y="854827"/>
                    <a:pt x="1208746" y="857396"/>
                    <a:pt x="1210031" y="859964"/>
                  </a:cubicBezTo>
                  <a:cubicBezTo>
                    <a:pt x="1211315" y="866385"/>
                    <a:pt x="1206178" y="865101"/>
                    <a:pt x="1199756" y="867669"/>
                  </a:cubicBezTo>
                  <a:cubicBezTo>
                    <a:pt x="1198473" y="868953"/>
                    <a:pt x="1197188" y="867669"/>
                    <a:pt x="1195904" y="867669"/>
                  </a:cubicBezTo>
                  <a:cubicBezTo>
                    <a:pt x="1192051" y="867669"/>
                    <a:pt x="1189483" y="868953"/>
                    <a:pt x="1186914" y="871522"/>
                  </a:cubicBezTo>
                  <a:cubicBezTo>
                    <a:pt x="1185630" y="875374"/>
                    <a:pt x="1186914" y="877943"/>
                    <a:pt x="1185630" y="880511"/>
                  </a:cubicBezTo>
                  <a:cubicBezTo>
                    <a:pt x="1183061" y="884364"/>
                    <a:pt x="1177925" y="884364"/>
                    <a:pt x="1174072" y="883080"/>
                  </a:cubicBezTo>
                  <a:cubicBezTo>
                    <a:pt x="1171503" y="883080"/>
                    <a:pt x="1168935" y="883080"/>
                    <a:pt x="1168935" y="886932"/>
                  </a:cubicBezTo>
                  <a:cubicBezTo>
                    <a:pt x="1168935" y="889500"/>
                    <a:pt x="1171503" y="890784"/>
                    <a:pt x="1170219" y="893353"/>
                  </a:cubicBezTo>
                  <a:cubicBezTo>
                    <a:pt x="1170219" y="895921"/>
                    <a:pt x="1166366" y="895921"/>
                    <a:pt x="1163798" y="895921"/>
                  </a:cubicBezTo>
                  <a:cubicBezTo>
                    <a:pt x="1161230" y="895921"/>
                    <a:pt x="1159945" y="893353"/>
                    <a:pt x="1157377" y="893353"/>
                  </a:cubicBezTo>
                  <a:lnTo>
                    <a:pt x="1154326" y="894477"/>
                  </a:lnTo>
                  <a:cubicBezTo>
                    <a:pt x="1154487" y="895600"/>
                    <a:pt x="1155451" y="897206"/>
                    <a:pt x="1156093" y="898490"/>
                  </a:cubicBezTo>
                  <a:cubicBezTo>
                    <a:pt x="1157377" y="902343"/>
                    <a:pt x="1152240" y="901058"/>
                    <a:pt x="1149671" y="901058"/>
                  </a:cubicBezTo>
                  <a:cubicBezTo>
                    <a:pt x="1145819" y="902343"/>
                    <a:pt x="1138113" y="899774"/>
                    <a:pt x="1138113" y="904911"/>
                  </a:cubicBezTo>
                  <a:cubicBezTo>
                    <a:pt x="1138113" y="908763"/>
                    <a:pt x="1143250" y="908763"/>
                    <a:pt x="1147103" y="910047"/>
                  </a:cubicBezTo>
                  <a:cubicBezTo>
                    <a:pt x="1150955" y="911332"/>
                    <a:pt x="1148387" y="916469"/>
                    <a:pt x="1152240" y="919037"/>
                  </a:cubicBezTo>
                  <a:cubicBezTo>
                    <a:pt x="1156093" y="921605"/>
                    <a:pt x="1163798" y="921605"/>
                    <a:pt x="1159945" y="928026"/>
                  </a:cubicBezTo>
                  <a:cubicBezTo>
                    <a:pt x="1158661" y="930595"/>
                    <a:pt x="1157377" y="930595"/>
                    <a:pt x="1156093" y="933163"/>
                  </a:cubicBezTo>
                  <a:cubicBezTo>
                    <a:pt x="1156093" y="935731"/>
                    <a:pt x="1156093" y="938300"/>
                    <a:pt x="1154808" y="940868"/>
                  </a:cubicBezTo>
                  <a:cubicBezTo>
                    <a:pt x="1152240" y="944721"/>
                    <a:pt x="1145819" y="944721"/>
                    <a:pt x="1141966" y="944721"/>
                  </a:cubicBezTo>
                  <a:cubicBezTo>
                    <a:pt x="1139397" y="944721"/>
                    <a:pt x="1135545" y="944721"/>
                    <a:pt x="1132976" y="943437"/>
                  </a:cubicBezTo>
                  <a:cubicBezTo>
                    <a:pt x="1131692" y="943437"/>
                    <a:pt x="1130407" y="943437"/>
                    <a:pt x="1129124" y="942152"/>
                  </a:cubicBezTo>
                  <a:cubicBezTo>
                    <a:pt x="1127839" y="942152"/>
                    <a:pt x="1126555" y="939584"/>
                    <a:pt x="1122702" y="940868"/>
                  </a:cubicBezTo>
                  <a:cubicBezTo>
                    <a:pt x="1121418" y="942152"/>
                    <a:pt x="1121418" y="942152"/>
                    <a:pt x="1120134" y="942152"/>
                  </a:cubicBezTo>
                  <a:cubicBezTo>
                    <a:pt x="1116281" y="943437"/>
                    <a:pt x="1113712" y="944721"/>
                    <a:pt x="1114997" y="948573"/>
                  </a:cubicBezTo>
                  <a:cubicBezTo>
                    <a:pt x="1114997" y="953710"/>
                    <a:pt x="1118850" y="957563"/>
                    <a:pt x="1116281" y="962699"/>
                  </a:cubicBezTo>
                  <a:cubicBezTo>
                    <a:pt x="1113712" y="965268"/>
                    <a:pt x="1112429" y="967836"/>
                    <a:pt x="1113712" y="970405"/>
                  </a:cubicBezTo>
                  <a:cubicBezTo>
                    <a:pt x="1113712" y="975541"/>
                    <a:pt x="1116281" y="981962"/>
                    <a:pt x="1120134" y="984531"/>
                  </a:cubicBezTo>
                  <a:lnTo>
                    <a:pt x="1126555" y="985815"/>
                  </a:lnTo>
                  <a:cubicBezTo>
                    <a:pt x="1129124" y="988383"/>
                    <a:pt x="1131692" y="989668"/>
                    <a:pt x="1135545" y="989668"/>
                  </a:cubicBezTo>
                  <a:cubicBezTo>
                    <a:pt x="1138113" y="989668"/>
                    <a:pt x="1139397" y="988383"/>
                    <a:pt x="1141966" y="988383"/>
                  </a:cubicBezTo>
                  <a:cubicBezTo>
                    <a:pt x="1144535" y="988383"/>
                    <a:pt x="1145819" y="990951"/>
                    <a:pt x="1148387" y="989668"/>
                  </a:cubicBezTo>
                  <a:cubicBezTo>
                    <a:pt x="1150955" y="989668"/>
                    <a:pt x="1152240" y="988383"/>
                    <a:pt x="1153524" y="985815"/>
                  </a:cubicBezTo>
                  <a:cubicBezTo>
                    <a:pt x="1153524" y="983246"/>
                    <a:pt x="1154808" y="983246"/>
                    <a:pt x="1157377" y="981962"/>
                  </a:cubicBezTo>
                  <a:cubicBezTo>
                    <a:pt x="1159945" y="980678"/>
                    <a:pt x="1162514" y="978109"/>
                    <a:pt x="1162514" y="975541"/>
                  </a:cubicBezTo>
                  <a:cubicBezTo>
                    <a:pt x="1163798" y="972973"/>
                    <a:pt x="1162514" y="970405"/>
                    <a:pt x="1163798" y="966552"/>
                  </a:cubicBezTo>
                  <a:cubicBezTo>
                    <a:pt x="1166366" y="963983"/>
                    <a:pt x="1167650" y="958847"/>
                    <a:pt x="1171503" y="957563"/>
                  </a:cubicBezTo>
                  <a:lnTo>
                    <a:pt x="1179209" y="953710"/>
                  </a:lnTo>
                  <a:cubicBezTo>
                    <a:pt x="1180493" y="949857"/>
                    <a:pt x="1177925" y="946005"/>
                    <a:pt x="1180493" y="943437"/>
                  </a:cubicBezTo>
                  <a:cubicBezTo>
                    <a:pt x="1181778" y="942152"/>
                    <a:pt x="1184346" y="942152"/>
                    <a:pt x="1186914" y="942152"/>
                  </a:cubicBezTo>
                  <a:lnTo>
                    <a:pt x="1193335" y="943437"/>
                  </a:lnTo>
                  <a:cubicBezTo>
                    <a:pt x="1194620" y="944721"/>
                    <a:pt x="1195904" y="943437"/>
                    <a:pt x="1198473" y="942152"/>
                  </a:cubicBezTo>
                  <a:lnTo>
                    <a:pt x="1203609" y="937015"/>
                  </a:lnTo>
                  <a:cubicBezTo>
                    <a:pt x="1204893" y="935731"/>
                    <a:pt x="1206178" y="935731"/>
                    <a:pt x="1208746" y="935731"/>
                  </a:cubicBezTo>
                  <a:cubicBezTo>
                    <a:pt x="1212599" y="935731"/>
                    <a:pt x="1215168" y="939584"/>
                    <a:pt x="1216451" y="942152"/>
                  </a:cubicBezTo>
                  <a:cubicBezTo>
                    <a:pt x="1216451" y="944721"/>
                    <a:pt x="1217736" y="946005"/>
                    <a:pt x="1219020" y="948573"/>
                  </a:cubicBezTo>
                  <a:cubicBezTo>
                    <a:pt x="1219020" y="949857"/>
                    <a:pt x="1220304" y="951141"/>
                    <a:pt x="1221589" y="952426"/>
                  </a:cubicBezTo>
                  <a:cubicBezTo>
                    <a:pt x="1224157" y="954994"/>
                    <a:pt x="1228010" y="957563"/>
                    <a:pt x="1230578" y="958847"/>
                  </a:cubicBezTo>
                  <a:cubicBezTo>
                    <a:pt x="1235715" y="960131"/>
                    <a:pt x="1238284" y="961415"/>
                    <a:pt x="1240852" y="966552"/>
                  </a:cubicBezTo>
                  <a:cubicBezTo>
                    <a:pt x="1242136" y="969120"/>
                    <a:pt x="1243421" y="971689"/>
                    <a:pt x="1243421" y="975541"/>
                  </a:cubicBezTo>
                  <a:lnTo>
                    <a:pt x="1242136" y="980678"/>
                  </a:lnTo>
                  <a:cubicBezTo>
                    <a:pt x="1240852" y="981962"/>
                    <a:pt x="1239568" y="981962"/>
                    <a:pt x="1238284" y="981962"/>
                  </a:cubicBezTo>
                  <a:cubicBezTo>
                    <a:pt x="1235715" y="981962"/>
                    <a:pt x="1234431" y="980678"/>
                    <a:pt x="1231863" y="980678"/>
                  </a:cubicBezTo>
                  <a:cubicBezTo>
                    <a:pt x="1228010" y="981962"/>
                    <a:pt x="1228010" y="984531"/>
                    <a:pt x="1230578" y="987099"/>
                  </a:cubicBezTo>
                  <a:cubicBezTo>
                    <a:pt x="1231863" y="988383"/>
                    <a:pt x="1233147" y="988383"/>
                    <a:pt x="1234431" y="988383"/>
                  </a:cubicBezTo>
                  <a:cubicBezTo>
                    <a:pt x="1235715" y="989668"/>
                    <a:pt x="1236999" y="989668"/>
                    <a:pt x="1238284" y="988383"/>
                  </a:cubicBezTo>
                  <a:cubicBezTo>
                    <a:pt x="1239568" y="987099"/>
                    <a:pt x="1239568" y="985815"/>
                    <a:pt x="1240852" y="984531"/>
                  </a:cubicBezTo>
                  <a:cubicBezTo>
                    <a:pt x="1242136" y="983246"/>
                    <a:pt x="1243421" y="983246"/>
                    <a:pt x="1244705" y="980678"/>
                  </a:cubicBezTo>
                  <a:cubicBezTo>
                    <a:pt x="1245989" y="979394"/>
                    <a:pt x="1245989" y="979394"/>
                    <a:pt x="1248558" y="975541"/>
                  </a:cubicBezTo>
                  <a:cubicBezTo>
                    <a:pt x="1249842" y="972973"/>
                    <a:pt x="1249842" y="972973"/>
                    <a:pt x="1248558" y="970405"/>
                  </a:cubicBezTo>
                  <a:cubicBezTo>
                    <a:pt x="1247274" y="969120"/>
                    <a:pt x="1247274" y="966552"/>
                    <a:pt x="1248558" y="965268"/>
                  </a:cubicBezTo>
                  <a:cubicBezTo>
                    <a:pt x="1249842" y="962699"/>
                    <a:pt x="1253694" y="967836"/>
                    <a:pt x="1254979" y="966552"/>
                  </a:cubicBezTo>
                  <a:cubicBezTo>
                    <a:pt x="1257547" y="965268"/>
                    <a:pt x="1252410" y="961415"/>
                    <a:pt x="1251126" y="960131"/>
                  </a:cubicBezTo>
                  <a:cubicBezTo>
                    <a:pt x="1249842" y="960131"/>
                    <a:pt x="1248558" y="960131"/>
                    <a:pt x="1245989" y="958847"/>
                  </a:cubicBezTo>
                  <a:cubicBezTo>
                    <a:pt x="1244705" y="957563"/>
                    <a:pt x="1244705" y="956278"/>
                    <a:pt x="1243421" y="954994"/>
                  </a:cubicBezTo>
                  <a:cubicBezTo>
                    <a:pt x="1239568" y="952426"/>
                    <a:pt x="1235715" y="951141"/>
                    <a:pt x="1233147" y="948573"/>
                  </a:cubicBezTo>
                  <a:cubicBezTo>
                    <a:pt x="1231863" y="946005"/>
                    <a:pt x="1230578" y="944721"/>
                    <a:pt x="1229294" y="942152"/>
                  </a:cubicBezTo>
                  <a:cubicBezTo>
                    <a:pt x="1228010" y="939584"/>
                    <a:pt x="1226726" y="938300"/>
                    <a:pt x="1225441" y="937015"/>
                  </a:cubicBezTo>
                  <a:cubicBezTo>
                    <a:pt x="1224157" y="933163"/>
                    <a:pt x="1224157" y="929311"/>
                    <a:pt x="1228010" y="929311"/>
                  </a:cubicBezTo>
                  <a:cubicBezTo>
                    <a:pt x="1230578" y="930595"/>
                    <a:pt x="1231863" y="931878"/>
                    <a:pt x="1233147" y="933163"/>
                  </a:cubicBezTo>
                  <a:cubicBezTo>
                    <a:pt x="1234431" y="935731"/>
                    <a:pt x="1235715" y="938300"/>
                    <a:pt x="1238284" y="939584"/>
                  </a:cubicBezTo>
                  <a:cubicBezTo>
                    <a:pt x="1240852" y="943437"/>
                    <a:pt x="1244705" y="946005"/>
                    <a:pt x="1248558" y="947289"/>
                  </a:cubicBezTo>
                  <a:cubicBezTo>
                    <a:pt x="1251126" y="948573"/>
                    <a:pt x="1254979" y="949857"/>
                    <a:pt x="1257547" y="951141"/>
                  </a:cubicBezTo>
                  <a:cubicBezTo>
                    <a:pt x="1258832" y="952426"/>
                    <a:pt x="1260116" y="953710"/>
                    <a:pt x="1261400" y="956278"/>
                  </a:cubicBezTo>
                  <a:cubicBezTo>
                    <a:pt x="1261400" y="958847"/>
                    <a:pt x="1261400" y="961415"/>
                    <a:pt x="1261400" y="965268"/>
                  </a:cubicBezTo>
                  <a:cubicBezTo>
                    <a:pt x="1262684" y="967836"/>
                    <a:pt x="1263969" y="970405"/>
                    <a:pt x="1266537" y="972973"/>
                  </a:cubicBezTo>
                  <a:cubicBezTo>
                    <a:pt x="1267821" y="974257"/>
                    <a:pt x="1267821" y="974257"/>
                    <a:pt x="1269105" y="975541"/>
                  </a:cubicBezTo>
                  <a:cubicBezTo>
                    <a:pt x="1270390" y="976825"/>
                    <a:pt x="1270390" y="976825"/>
                    <a:pt x="1271674" y="978109"/>
                  </a:cubicBezTo>
                  <a:lnTo>
                    <a:pt x="1276811" y="980678"/>
                  </a:lnTo>
                  <a:cubicBezTo>
                    <a:pt x="1278088" y="983233"/>
                    <a:pt x="1274281" y="981976"/>
                    <a:pt x="1274242" y="981962"/>
                  </a:cubicBezTo>
                  <a:cubicBezTo>
                    <a:pt x="1271674" y="981962"/>
                    <a:pt x="1271674" y="984531"/>
                    <a:pt x="1272958" y="985815"/>
                  </a:cubicBezTo>
                  <a:cubicBezTo>
                    <a:pt x="1272958" y="988383"/>
                    <a:pt x="1275527" y="989668"/>
                    <a:pt x="1278095" y="989668"/>
                  </a:cubicBezTo>
                  <a:cubicBezTo>
                    <a:pt x="1280664" y="989668"/>
                    <a:pt x="1280664" y="988383"/>
                    <a:pt x="1280664" y="987099"/>
                  </a:cubicBezTo>
                  <a:cubicBezTo>
                    <a:pt x="1280664" y="983246"/>
                    <a:pt x="1281948" y="983246"/>
                    <a:pt x="1284517" y="983246"/>
                  </a:cubicBezTo>
                  <a:lnTo>
                    <a:pt x="1285800" y="978109"/>
                  </a:lnTo>
                  <a:cubicBezTo>
                    <a:pt x="1285800" y="976825"/>
                    <a:pt x="1284517" y="975541"/>
                    <a:pt x="1283232" y="974257"/>
                  </a:cubicBezTo>
                  <a:cubicBezTo>
                    <a:pt x="1281948" y="972973"/>
                    <a:pt x="1280664" y="971689"/>
                    <a:pt x="1280664" y="969120"/>
                  </a:cubicBezTo>
                  <a:lnTo>
                    <a:pt x="1285800" y="967836"/>
                  </a:lnTo>
                  <a:cubicBezTo>
                    <a:pt x="1287085" y="966552"/>
                    <a:pt x="1287085" y="966552"/>
                    <a:pt x="1288369" y="966552"/>
                  </a:cubicBezTo>
                  <a:cubicBezTo>
                    <a:pt x="1288369" y="965268"/>
                    <a:pt x="1288369" y="963983"/>
                    <a:pt x="1288369" y="962699"/>
                  </a:cubicBezTo>
                  <a:cubicBezTo>
                    <a:pt x="1289653" y="961415"/>
                    <a:pt x="1290937" y="961415"/>
                    <a:pt x="1292222" y="961415"/>
                  </a:cubicBezTo>
                  <a:cubicBezTo>
                    <a:pt x="1293506" y="961415"/>
                    <a:pt x="1293506" y="961415"/>
                    <a:pt x="1294790" y="961415"/>
                  </a:cubicBezTo>
                  <a:cubicBezTo>
                    <a:pt x="1297359" y="962699"/>
                    <a:pt x="1297359" y="962699"/>
                    <a:pt x="1298643" y="965268"/>
                  </a:cubicBezTo>
                  <a:cubicBezTo>
                    <a:pt x="1299927" y="967836"/>
                    <a:pt x="1301212" y="970405"/>
                    <a:pt x="1301212" y="972973"/>
                  </a:cubicBezTo>
                  <a:cubicBezTo>
                    <a:pt x="1301212" y="978109"/>
                    <a:pt x="1299927" y="981962"/>
                    <a:pt x="1303780" y="987099"/>
                  </a:cubicBezTo>
                  <a:cubicBezTo>
                    <a:pt x="1305064" y="988383"/>
                    <a:pt x="1307633" y="988383"/>
                    <a:pt x="1308917" y="989668"/>
                  </a:cubicBezTo>
                  <a:lnTo>
                    <a:pt x="1314054" y="996088"/>
                  </a:lnTo>
                  <a:cubicBezTo>
                    <a:pt x="1317907" y="998657"/>
                    <a:pt x="1319190" y="993520"/>
                    <a:pt x="1323043" y="993520"/>
                  </a:cubicBezTo>
                  <a:cubicBezTo>
                    <a:pt x="1326896" y="990951"/>
                    <a:pt x="1328180" y="994804"/>
                    <a:pt x="1330749" y="996088"/>
                  </a:cubicBezTo>
                  <a:cubicBezTo>
                    <a:pt x="1334602" y="997372"/>
                    <a:pt x="1341023" y="996088"/>
                    <a:pt x="1342307" y="994804"/>
                  </a:cubicBezTo>
                  <a:cubicBezTo>
                    <a:pt x="1343591" y="993520"/>
                    <a:pt x="1346160" y="988383"/>
                    <a:pt x="1348728" y="992236"/>
                  </a:cubicBezTo>
                  <a:cubicBezTo>
                    <a:pt x="1353865" y="997372"/>
                    <a:pt x="1342307" y="1007646"/>
                    <a:pt x="1343591" y="1014067"/>
                  </a:cubicBezTo>
                  <a:cubicBezTo>
                    <a:pt x="1343591" y="1016635"/>
                    <a:pt x="1346160" y="1020488"/>
                    <a:pt x="1342307" y="1023056"/>
                  </a:cubicBezTo>
                  <a:cubicBezTo>
                    <a:pt x="1338454" y="1024340"/>
                    <a:pt x="1333318" y="1023056"/>
                    <a:pt x="1329465" y="1024340"/>
                  </a:cubicBezTo>
                  <a:cubicBezTo>
                    <a:pt x="1326896" y="1024340"/>
                    <a:pt x="1324328" y="1025625"/>
                    <a:pt x="1321759" y="1026909"/>
                  </a:cubicBezTo>
                  <a:cubicBezTo>
                    <a:pt x="1317907" y="1029477"/>
                    <a:pt x="1315338" y="1028193"/>
                    <a:pt x="1311485" y="1026909"/>
                  </a:cubicBezTo>
                  <a:cubicBezTo>
                    <a:pt x="1310201" y="1025625"/>
                    <a:pt x="1308917" y="1025625"/>
                    <a:pt x="1307633" y="1025625"/>
                  </a:cubicBezTo>
                  <a:cubicBezTo>
                    <a:pt x="1306348" y="1025625"/>
                    <a:pt x="1306348" y="1026909"/>
                    <a:pt x="1305064" y="1026909"/>
                  </a:cubicBezTo>
                  <a:cubicBezTo>
                    <a:pt x="1303780" y="1028193"/>
                    <a:pt x="1303780" y="1026909"/>
                    <a:pt x="1301212" y="1026909"/>
                  </a:cubicBezTo>
                  <a:cubicBezTo>
                    <a:pt x="1296075" y="1026909"/>
                    <a:pt x="1290937" y="1028193"/>
                    <a:pt x="1285800" y="1024340"/>
                  </a:cubicBezTo>
                  <a:cubicBezTo>
                    <a:pt x="1281948" y="1020488"/>
                    <a:pt x="1278095" y="1016635"/>
                    <a:pt x="1272958" y="1016635"/>
                  </a:cubicBezTo>
                  <a:cubicBezTo>
                    <a:pt x="1269105" y="1017920"/>
                    <a:pt x="1265253" y="1019203"/>
                    <a:pt x="1263969" y="1024340"/>
                  </a:cubicBezTo>
                  <a:cubicBezTo>
                    <a:pt x="1263969" y="1026909"/>
                    <a:pt x="1265253" y="1030762"/>
                    <a:pt x="1261400" y="1032046"/>
                  </a:cubicBezTo>
                  <a:cubicBezTo>
                    <a:pt x="1257547" y="1034614"/>
                    <a:pt x="1245989" y="1030762"/>
                    <a:pt x="1243421" y="1026909"/>
                  </a:cubicBezTo>
                  <a:cubicBezTo>
                    <a:pt x="1239568" y="1023056"/>
                    <a:pt x="1235715" y="1020488"/>
                    <a:pt x="1229294" y="1019203"/>
                  </a:cubicBezTo>
                  <a:cubicBezTo>
                    <a:pt x="1224157" y="1017920"/>
                    <a:pt x="1217736" y="1015351"/>
                    <a:pt x="1215168" y="1010214"/>
                  </a:cubicBezTo>
                  <a:cubicBezTo>
                    <a:pt x="1212599" y="1003794"/>
                    <a:pt x="1221589" y="992236"/>
                    <a:pt x="1213883" y="987099"/>
                  </a:cubicBezTo>
                  <a:cubicBezTo>
                    <a:pt x="1208746" y="985815"/>
                    <a:pt x="1202325" y="985815"/>
                    <a:pt x="1198473" y="988383"/>
                  </a:cubicBezTo>
                  <a:cubicBezTo>
                    <a:pt x="1192051" y="989668"/>
                    <a:pt x="1185630" y="990951"/>
                    <a:pt x="1179209" y="989668"/>
                  </a:cubicBezTo>
                  <a:cubicBezTo>
                    <a:pt x="1172788" y="989668"/>
                    <a:pt x="1168935" y="990951"/>
                    <a:pt x="1163798" y="994804"/>
                  </a:cubicBezTo>
                  <a:cubicBezTo>
                    <a:pt x="1157377" y="998657"/>
                    <a:pt x="1153524" y="1002509"/>
                    <a:pt x="1147103" y="999941"/>
                  </a:cubicBezTo>
                  <a:cubicBezTo>
                    <a:pt x="1143250" y="998657"/>
                    <a:pt x="1143250" y="999941"/>
                    <a:pt x="1139397" y="999941"/>
                  </a:cubicBezTo>
                  <a:cubicBezTo>
                    <a:pt x="1136829" y="999941"/>
                    <a:pt x="1135545" y="996088"/>
                    <a:pt x="1132976" y="996088"/>
                  </a:cubicBezTo>
                  <a:cubicBezTo>
                    <a:pt x="1125271" y="997372"/>
                    <a:pt x="1129124" y="1003794"/>
                    <a:pt x="1127839" y="1007646"/>
                  </a:cubicBezTo>
                  <a:cubicBezTo>
                    <a:pt x="1126555" y="1011499"/>
                    <a:pt x="1120134" y="1011499"/>
                    <a:pt x="1117565" y="1014067"/>
                  </a:cubicBezTo>
                  <a:cubicBezTo>
                    <a:pt x="1112429" y="1019203"/>
                    <a:pt x="1111144" y="1028193"/>
                    <a:pt x="1111144" y="1034614"/>
                  </a:cubicBezTo>
                  <a:cubicBezTo>
                    <a:pt x="1111144" y="1041035"/>
                    <a:pt x="1108576" y="1046172"/>
                    <a:pt x="1104723" y="1050024"/>
                  </a:cubicBezTo>
                  <a:cubicBezTo>
                    <a:pt x="1098302" y="1055161"/>
                    <a:pt x="1093165" y="1056445"/>
                    <a:pt x="1090596" y="1062866"/>
                  </a:cubicBezTo>
                  <a:cubicBezTo>
                    <a:pt x="1088028" y="1068003"/>
                    <a:pt x="1088028" y="1071856"/>
                    <a:pt x="1082891" y="1075708"/>
                  </a:cubicBezTo>
                  <a:cubicBezTo>
                    <a:pt x="1080322" y="1078276"/>
                    <a:pt x="1079038" y="1079560"/>
                    <a:pt x="1077754" y="1082129"/>
                  </a:cubicBezTo>
                  <a:cubicBezTo>
                    <a:pt x="1077754" y="1088550"/>
                    <a:pt x="1073901" y="1092402"/>
                    <a:pt x="1076470" y="1097539"/>
                  </a:cubicBezTo>
                  <a:cubicBezTo>
                    <a:pt x="1079038" y="1100108"/>
                    <a:pt x="1077754" y="1103960"/>
                    <a:pt x="1079038" y="1106528"/>
                  </a:cubicBezTo>
                  <a:cubicBezTo>
                    <a:pt x="1079038" y="1109097"/>
                    <a:pt x="1080322" y="1111665"/>
                    <a:pt x="1080322" y="1115518"/>
                  </a:cubicBezTo>
                  <a:cubicBezTo>
                    <a:pt x="1080322" y="1119371"/>
                    <a:pt x="1077754" y="1121939"/>
                    <a:pt x="1076470" y="1125791"/>
                  </a:cubicBezTo>
                  <a:lnTo>
                    <a:pt x="1075186" y="1141202"/>
                  </a:lnTo>
                  <a:cubicBezTo>
                    <a:pt x="1075186" y="1148907"/>
                    <a:pt x="1082891" y="1152759"/>
                    <a:pt x="1085459" y="1157896"/>
                  </a:cubicBezTo>
                  <a:cubicBezTo>
                    <a:pt x="1091881" y="1166885"/>
                    <a:pt x="1094449" y="1184864"/>
                    <a:pt x="1104723" y="1191285"/>
                  </a:cubicBezTo>
                  <a:cubicBezTo>
                    <a:pt x="1112429" y="1195138"/>
                    <a:pt x="1122702" y="1201559"/>
                    <a:pt x="1131692" y="1197706"/>
                  </a:cubicBezTo>
                  <a:cubicBezTo>
                    <a:pt x="1136829" y="1196422"/>
                    <a:pt x="1140682" y="1195138"/>
                    <a:pt x="1147103" y="1195138"/>
                  </a:cubicBezTo>
                  <a:lnTo>
                    <a:pt x="1152240" y="1193853"/>
                  </a:lnTo>
                  <a:lnTo>
                    <a:pt x="1157377" y="1196422"/>
                  </a:lnTo>
                  <a:cubicBezTo>
                    <a:pt x="1163798" y="1197706"/>
                    <a:pt x="1168935" y="1193853"/>
                    <a:pt x="1174072" y="1192570"/>
                  </a:cubicBezTo>
                  <a:lnTo>
                    <a:pt x="1181778" y="1191285"/>
                  </a:lnTo>
                  <a:cubicBezTo>
                    <a:pt x="1185630" y="1191285"/>
                    <a:pt x="1185630" y="1192570"/>
                    <a:pt x="1188198" y="1193853"/>
                  </a:cubicBezTo>
                  <a:cubicBezTo>
                    <a:pt x="1192051" y="1196422"/>
                    <a:pt x="1194620" y="1198990"/>
                    <a:pt x="1198473" y="1200275"/>
                  </a:cubicBezTo>
                  <a:cubicBezTo>
                    <a:pt x="1213883" y="1205412"/>
                    <a:pt x="1210031" y="1222106"/>
                    <a:pt x="1207462" y="1234948"/>
                  </a:cubicBezTo>
                  <a:cubicBezTo>
                    <a:pt x="1206178" y="1240084"/>
                    <a:pt x="1208746" y="1247790"/>
                    <a:pt x="1212599" y="1252926"/>
                  </a:cubicBezTo>
                  <a:cubicBezTo>
                    <a:pt x="1216451" y="1258063"/>
                    <a:pt x="1221589" y="1261916"/>
                    <a:pt x="1224157" y="1267052"/>
                  </a:cubicBezTo>
                  <a:cubicBezTo>
                    <a:pt x="1226726" y="1269621"/>
                    <a:pt x="1228010" y="1273473"/>
                    <a:pt x="1228010" y="1276042"/>
                  </a:cubicBezTo>
                  <a:cubicBezTo>
                    <a:pt x="1228010" y="1278610"/>
                    <a:pt x="1228010" y="1279895"/>
                    <a:pt x="1229294" y="1281178"/>
                  </a:cubicBezTo>
                  <a:cubicBezTo>
                    <a:pt x="1229294" y="1287600"/>
                    <a:pt x="1225441" y="1291452"/>
                    <a:pt x="1229294" y="1296589"/>
                  </a:cubicBezTo>
                  <a:cubicBezTo>
                    <a:pt x="1235715" y="1305578"/>
                    <a:pt x="1225441" y="1317136"/>
                    <a:pt x="1222873" y="1326125"/>
                  </a:cubicBezTo>
                  <a:cubicBezTo>
                    <a:pt x="1221589" y="1332546"/>
                    <a:pt x="1219020" y="1341535"/>
                    <a:pt x="1222873" y="1346672"/>
                  </a:cubicBezTo>
                  <a:cubicBezTo>
                    <a:pt x="1224157" y="1347957"/>
                    <a:pt x="1226726" y="1349241"/>
                    <a:pt x="1228010" y="1350525"/>
                  </a:cubicBezTo>
                  <a:cubicBezTo>
                    <a:pt x="1230578" y="1354377"/>
                    <a:pt x="1230578" y="1358230"/>
                    <a:pt x="1231863" y="1360798"/>
                  </a:cubicBezTo>
                  <a:cubicBezTo>
                    <a:pt x="1233147" y="1363367"/>
                    <a:pt x="1233147" y="1367220"/>
                    <a:pt x="1233147" y="1369788"/>
                  </a:cubicBezTo>
                  <a:cubicBezTo>
                    <a:pt x="1234431" y="1373640"/>
                    <a:pt x="1236999" y="1374925"/>
                    <a:pt x="1238284" y="1378777"/>
                  </a:cubicBezTo>
                  <a:cubicBezTo>
                    <a:pt x="1239568" y="1389051"/>
                    <a:pt x="1236999" y="1398040"/>
                    <a:pt x="1240852" y="1407029"/>
                  </a:cubicBezTo>
                  <a:cubicBezTo>
                    <a:pt x="1243421" y="1412166"/>
                    <a:pt x="1245989" y="1417303"/>
                    <a:pt x="1248558" y="1422440"/>
                  </a:cubicBezTo>
                  <a:cubicBezTo>
                    <a:pt x="1251126" y="1425008"/>
                    <a:pt x="1252410" y="1427576"/>
                    <a:pt x="1252410" y="1431429"/>
                  </a:cubicBezTo>
                  <a:cubicBezTo>
                    <a:pt x="1253694" y="1436566"/>
                    <a:pt x="1251126" y="1442986"/>
                    <a:pt x="1251126" y="1448123"/>
                  </a:cubicBezTo>
                  <a:lnTo>
                    <a:pt x="1252893" y="1450331"/>
                  </a:lnTo>
                  <a:cubicBezTo>
                    <a:pt x="1181930" y="1502527"/>
                    <a:pt x="1094187" y="1532774"/>
                    <a:pt x="999379" y="1532774"/>
                  </a:cubicBezTo>
                  <a:cubicBezTo>
                    <a:pt x="942720" y="1532774"/>
                    <a:pt x="888583" y="1521971"/>
                    <a:pt x="839242" y="1501491"/>
                  </a:cubicBezTo>
                  <a:cubicBezTo>
                    <a:pt x="842403" y="1500292"/>
                    <a:pt x="844299" y="1496331"/>
                    <a:pt x="841522" y="1491702"/>
                  </a:cubicBezTo>
                  <a:cubicBezTo>
                    <a:pt x="842485" y="1488815"/>
                    <a:pt x="844089" y="1489136"/>
                    <a:pt x="845373" y="1489136"/>
                  </a:cubicBezTo>
                  <a:lnTo>
                    <a:pt x="854360" y="1485284"/>
                  </a:lnTo>
                  <a:cubicBezTo>
                    <a:pt x="858211" y="1485284"/>
                    <a:pt x="860779" y="1485284"/>
                    <a:pt x="863346" y="1484001"/>
                  </a:cubicBezTo>
                  <a:cubicBezTo>
                    <a:pt x="865914" y="1482717"/>
                    <a:pt x="867198" y="1480151"/>
                    <a:pt x="868482" y="1477583"/>
                  </a:cubicBezTo>
                  <a:cubicBezTo>
                    <a:pt x="869766" y="1476299"/>
                    <a:pt x="871049" y="1475016"/>
                    <a:pt x="869766" y="1472449"/>
                  </a:cubicBezTo>
                  <a:lnTo>
                    <a:pt x="865914" y="1468598"/>
                  </a:lnTo>
                  <a:cubicBezTo>
                    <a:pt x="865914" y="1466031"/>
                    <a:pt x="867198" y="1464748"/>
                    <a:pt x="867198" y="1463464"/>
                  </a:cubicBezTo>
                  <a:cubicBezTo>
                    <a:pt x="865914" y="1460896"/>
                    <a:pt x="862063" y="1460896"/>
                    <a:pt x="860779" y="1458330"/>
                  </a:cubicBezTo>
                  <a:cubicBezTo>
                    <a:pt x="859495" y="1455763"/>
                    <a:pt x="858211" y="1453195"/>
                    <a:pt x="858211" y="1450628"/>
                  </a:cubicBezTo>
                  <a:lnTo>
                    <a:pt x="863346" y="1449345"/>
                  </a:lnTo>
                  <a:cubicBezTo>
                    <a:pt x="864630" y="1451912"/>
                    <a:pt x="864630" y="1455763"/>
                    <a:pt x="867198" y="1457046"/>
                  </a:cubicBezTo>
                  <a:cubicBezTo>
                    <a:pt x="868482" y="1459613"/>
                    <a:pt x="871049" y="1460896"/>
                    <a:pt x="873617" y="1459613"/>
                  </a:cubicBezTo>
                  <a:cubicBezTo>
                    <a:pt x="874901" y="1459613"/>
                    <a:pt x="876185" y="1458330"/>
                    <a:pt x="877469" y="1459613"/>
                  </a:cubicBezTo>
                  <a:cubicBezTo>
                    <a:pt x="878752" y="1459613"/>
                    <a:pt x="880036" y="1459613"/>
                    <a:pt x="881320" y="1459613"/>
                  </a:cubicBezTo>
                  <a:cubicBezTo>
                    <a:pt x="882604" y="1459613"/>
                    <a:pt x="886456" y="1454479"/>
                    <a:pt x="889023" y="1450628"/>
                  </a:cubicBezTo>
                  <a:cubicBezTo>
                    <a:pt x="890307" y="1448061"/>
                    <a:pt x="891591" y="1446777"/>
                    <a:pt x="891591" y="1445494"/>
                  </a:cubicBezTo>
                  <a:cubicBezTo>
                    <a:pt x="891591" y="1442927"/>
                    <a:pt x="890307" y="1442927"/>
                    <a:pt x="890307" y="1441643"/>
                  </a:cubicBezTo>
                  <a:lnTo>
                    <a:pt x="894159" y="1436509"/>
                  </a:lnTo>
                  <a:cubicBezTo>
                    <a:pt x="895442" y="1435225"/>
                    <a:pt x="896726" y="1432658"/>
                    <a:pt x="901862" y="1431375"/>
                  </a:cubicBezTo>
                  <a:lnTo>
                    <a:pt x="904429" y="1426240"/>
                  </a:lnTo>
                  <a:cubicBezTo>
                    <a:pt x="905713" y="1423673"/>
                    <a:pt x="906997" y="1422389"/>
                    <a:pt x="909564" y="1419822"/>
                  </a:cubicBezTo>
                  <a:cubicBezTo>
                    <a:pt x="915983" y="1413404"/>
                    <a:pt x="909564" y="1406987"/>
                    <a:pt x="910848" y="1399285"/>
                  </a:cubicBezTo>
                  <a:cubicBezTo>
                    <a:pt x="910848" y="1395434"/>
                    <a:pt x="915983" y="1392868"/>
                    <a:pt x="919835" y="1390300"/>
                  </a:cubicBezTo>
                  <a:cubicBezTo>
                    <a:pt x="921119" y="1389016"/>
                    <a:pt x="923686" y="1387733"/>
                    <a:pt x="926254" y="1385166"/>
                  </a:cubicBezTo>
                  <a:cubicBezTo>
                    <a:pt x="927538" y="1385166"/>
                    <a:pt x="927538" y="1383882"/>
                    <a:pt x="928821" y="1382599"/>
                  </a:cubicBezTo>
                  <a:cubicBezTo>
                    <a:pt x="932673" y="1381315"/>
                    <a:pt x="937808" y="1378748"/>
                    <a:pt x="941660" y="1377465"/>
                  </a:cubicBezTo>
                  <a:cubicBezTo>
                    <a:pt x="944227" y="1376181"/>
                    <a:pt x="948079" y="1376181"/>
                    <a:pt x="949363" y="1372330"/>
                  </a:cubicBezTo>
                  <a:lnTo>
                    <a:pt x="949363" y="1367196"/>
                  </a:lnTo>
                  <a:cubicBezTo>
                    <a:pt x="949363" y="1364628"/>
                    <a:pt x="950647" y="1363345"/>
                    <a:pt x="951930" y="1362062"/>
                  </a:cubicBezTo>
                  <a:lnTo>
                    <a:pt x="957066" y="1355644"/>
                  </a:lnTo>
                  <a:cubicBezTo>
                    <a:pt x="958350" y="1353077"/>
                    <a:pt x="958350" y="1351793"/>
                    <a:pt x="958350" y="1347942"/>
                  </a:cubicBezTo>
                  <a:cubicBezTo>
                    <a:pt x="957066" y="1346659"/>
                    <a:pt x="958350" y="1345375"/>
                    <a:pt x="959633" y="1342808"/>
                  </a:cubicBezTo>
                  <a:cubicBezTo>
                    <a:pt x="960917" y="1340241"/>
                    <a:pt x="960917" y="1336390"/>
                    <a:pt x="960917" y="1333823"/>
                  </a:cubicBezTo>
                  <a:cubicBezTo>
                    <a:pt x="960917" y="1329972"/>
                    <a:pt x="958350" y="1327405"/>
                    <a:pt x="958350" y="1323554"/>
                  </a:cubicBezTo>
                  <a:cubicBezTo>
                    <a:pt x="958350" y="1320987"/>
                    <a:pt x="958350" y="1319704"/>
                    <a:pt x="959633" y="1317136"/>
                  </a:cubicBezTo>
                  <a:cubicBezTo>
                    <a:pt x="960917" y="1315853"/>
                    <a:pt x="962201" y="1313286"/>
                    <a:pt x="963485" y="1312002"/>
                  </a:cubicBezTo>
                  <a:cubicBezTo>
                    <a:pt x="964769" y="1312002"/>
                    <a:pt x="966053" y="1312002"/>
                    <a:pt x="968620" y="1310718"/>
                  </a:cubicBezTo>
                  <a:cubicBezTo>
                    <a:pt x="969904" y="1308151"/>
                    <a:pt x="971188" y="1305584"/>
                    <a:pt x="972472" y="1301733"/>
                  </a:cubicBezTo>
                  <a:cubicBezTo>
                    <a:pt x="973756" y="1300450"/>
                    <a:pt x="973756" y="1299166"/>
                    <a:pt x="975039" y="1297883"/>
                  </a:cubicBezTo>
                  <a:cubicBezTo>
                    <a:pt x="975039" y="1296599"/>
                    <a:pt x="976323" y="1295316"/>
                    <a:pt x="977607" y="1295316"/>
                  </a:cubicBezTo>
                  <a:cubicBezTo>
                    <a:pt x="980175" y="1294032"/>
                    <a:pt x="981459" y="1291465"/>
                    <a:pt x="982742" y="1290181"/>
                  </a:cubicBezTo>
                  <a:cubicBezTo>
                    <a:pt x="984026" y="1286330"/>
                    <a:pt x="985310" y="1281197"/>
                    <a:pt x="984026" y="1276062"/>
                  </a:cubicBezTo>
                  <a:lnTo>
                    <a:pt x="981459" y="1270928"/>
                  </a:lnTo>
                  <a:cubicBezTo>
                    <a:pt x="980175" y="1268360"/>
                    <a:pt x="977607" y="1267077"/>
                    <a:pt x="976323" y="1265794"/>
                  </a:cubicBezTo>
                  <a:cubicBezTo>
                    <a:pt x="972472" y="1263226"/>
                    <a:pt x="968620" y="1259376"/>
                    <a:pt x="964769" y="1256809"/>
                  </a:cubicBezTo>
                  <a:cubicBezTo>
                    <a:pt x="960917" y="1254241"/>
                    <a:pt x="957066" y="1252957"/>
                    <a:pt x="953214" y="1251674"/>
                  </a:cubicBezTo>
                  <a:cubicBezTo>
                    <a:pt x="950647" y="1251674"/>
                    <a:pt x="946795" y="1251674"/>
                    <a:pt x="944227" y="1251674"/>
                  </a:cubicBezTo>
                  <a:cubicBezTo>
                    <a:pt x="940376" y="1250391"/>
                    <a:pt x="936524" y="1249107"/>
                    <a:pt x="933957" y="1245256"/>
                  </a:cubicBezTo>
                  <a:cubicBezTo>
                    <a:pt x="932673" y="1242689"/>
                    <a:pt x="931389" y="1242689"/>
                    <a:pt x="928821" y="1241406"/>
                  </a:cubicBezTo>
                  <a:cubicBezTo>
                    <a:pt x="926254" y="1240122"/>
                    <a:pt x="924970" y="1237554"/>
                    <a:pt x="922402" y="1237554"/>
                  </a:cubicBezTo>
                  <a:cubicBezTo>
                    <a:pt x="919835" y="1237554"/>
                    <a:pt x="918551" y="1237554"/>
                    <a:pt x="915983" y="1237554"/>
                  </a:cubicBezTo>
                  <a:cubicBezTo>
                    <a:pt x="913416" y="1236271"/>
                    <a:pt x="912132" y="1233704"/>
                    <a:pt x="909564" y="1232421"/>
                  </a:cubicBezTo>
                  <a:cubicBezTo>
                    <a:pt x="905713" y="1229853"/>
                    <a:pt x="903145" y="1226003"/>
                    <a:pt x="901862" y="1222152"/>
                  </a:cubicBezTo>
                  <a:cubicBezTo>
                    <a:pt x="900578" y="1219585"/>
                    <a:pt x="899294" y="1215734"/>
                    <a:pt x="898010" y="1213167"/>
                  </a:cubicBezTo>
                  <a:cubicBezTo>
                    <a:pt x="896726" y="1208033"/>
                    <a:pt x="894159" y="1199047"/>
                    <a:pt x="887739" y="1197764"/>
                  </a:cubicBezTo>
                  <a:cubicBezTo>
                    <a:pt x="885172" y="1196480"/>
                    <a:pt x="882604" y="1193913"/>
                    <a:pt x="880036" y="1192630"/>
                  </a:cubicBezTo>
                  <a:cubicBezTo>
                    <a:pt x="876185" y="1191346"/>
                    <a:pt x="872333" y="1190062"/>
                    <a:pt x="868482" y="1188779"/>
                  </a:cubicBezTo>
                  <a:cubicBezTo>
                    <a:pt x="860779" y="1186212"/>
                    <a:pt x="853076" y="1179794"/>
                    <a:pt x="847941" y="1173376"/>
                  </a:cubicBezTo>
                  <a:cubicBezTo>
                    <a:pt x="846657" y="1170809"/>
                    <a:pt x="844089" y="1166958"/>
                    <a:pt x="841522" y="1165674"/>
                  </a:cubicBezTo>
                  <a:cubicBezTo>
                    <a:pt x="838954" y="1164391"/>
                    <a:pt x="835103" y="1164391"/>
                    <a:pt x="831251" y="1163107"/>
                  </a:cubicBezTo>
                  <a:cubicBezTo>
                    <a:pt x="827400" y="1161824"/>
                    <a:pt x="822264" y="1161824"/>
                    <a:pt x="818413" y="1161824"/>
                  </a:cubicBezTo>
                  <a:cubicBezTo>
                    <a:pt x="814561" y="1161824"/>
                    <a:pt x="809426" y="1163107"/>
                    <a:pt x="805575" y="1161824"/>
                  </a:cubicBezTo>
                  <a:cubicBezTo>
                    <a:pt x="803007" y="1161824"/>
                    <a:pt x="800439" y="1161824"/>
                    <a:pt x="795304" y="1168242"/>
                  </a:cubicBezTo>
                  <a:cubicBezTo>
                    <a:pt x="796588" y="1169526"/>
                    <a:pt x="796588" y="1170809"/>
                    <a:pt x="795304" y="1174659"/>
                  </a:cubicBezTo>
                  <a:cubicBezTo>
                    <a:pt x="792736" y="1175943"/>
                    <a:pt x="791452" y="1173376"/>
                    <a:pt x="790168" y="1170809"/>
                  </a:cubicBezTo>
                  <a:lnTo>
                    <a:pt x="788885" y="1164391"/>
                  </a:lnTo>
                  <a:cubicBezTo>
                    <a:pt x="786317" y="1161824"/>
                    <a:pt x="785033" y="1161824"/>
                    <a:pt x="782465" y="1163107"/>
                  </a:cubicBezTo>
                  <a:cubicBezTo>
                    <a:pt x="779898" y="1164391"/>
                    <a:pt x="777330" y="1165674"/>
                    <a:pt x="776046" y="1168242"/>
                  </a:cubicBezTo>
                  <a:cubicBezTo>
                    <a:pt x="774763" y="1170809"/>
                    <a:pt x="774763" y="1174659"/>
                    <a:pt x="772195" y="1175943"/>
                  </a:cubicBezTo>
                  <a:lnTo>
                    <a:pt x="765776" y="1175943"/>
                  </a:lnTo>
                  <a:cubicBezTo>
                    <a:pt x="763208" y="1174659"/>
                    <a:pt x="760641" y="1172092"/>
                    <a:pt x="758073" y="1170809"/>
                  </a:cubicBezTo>
                  <a:cubicBezTo>
                    <a:pt x="754222" y="1169526"/>
                    <a:pt x="750370" y="1172092"/>
                    <a:pt x="746519" y="1172092"/>
                  </a:cubicBezTo>
                  <a:cubicBezTo>
                    <a:pt x="743951" y="1172092"/>
                    <a:pt x="740100" y="1172092"/>
                    <a:pt x="737532" y="1169526"/>
                  </a:cubicBezTo>
                  <a:cubicBezTo>
                    <a:pt x="736248" y="1166958"/>
                    <a:pt x="736248" y="1163107"/>
                    <a:pt x="736248" y="1160540"/>
                  </a:cubicBezTo>
                  <a:cubicBezTo>
                    <a:pt x="734964" y="1157973"/>
                    <a:pt x="733680" y="1156689"/>
                    <a:pt x="732397" y="1154123"/>
                  </a:cubicBezTo>
                  <a:lnTo>
                    <a:pt x="731113" y="1146421"/>
                  </a:lnTo>
                  <a:cubicBezTo>
                    <a:pt x="731113" y="1141286"/>
                    <a:pt x="732397" y="1137436"/>
                    <a:pt x="729829" y="1132302"/>
                  </a:cubicBezTo>
                  <a:lnTo>
                    <a:pt x="725977" y="1128451"/>
                  </a:lnTo>
                  <a:cubicBezTo>
                    <a:pt x="722126" y="1127167"/>
                    <a:pt x="719558" y="1128451"/>
                    <a:pt x="716991" y="1128451"/>
                  </a:cubicBezTo>
                  <a:cubicBezTo>
                    <a:pt x="714423" y="1129735"/>
                    <a:pt x="711855" y="1129735"/>
                    <a:pt x="709288" y="1129735"/>
                  </a:cubicBezTo>
                  <a:cubicBezTo>
                    <a:pt x="706720" y="1129735"/>
                    <a:pt x="704152" y="1128451"/>
                    <a:pt x="705436" y="1125883"/>
                  </a:cubicBezTo>
                  <a:cubicBezTo>
                    <a:pt x="708004" y="1123317"/>
                    <a:pt x="710571" y="1120750"/>
                    <a:pt x="710571" y="1118182"/>
                  </a:cubicBezTo>
                  <a:cubicBezTo>
                    <a:pt x="711855" y="1115615"/>
                    <a:pt x="710571" y="1115615"/>
                    <a:pt x="710571" y="1111764"/>
                  </a:cubicBezTo>
                  <a:cubicBezTo>
                    <a:pt x="711855" y="1111764"/>
                    <a:pt x="713139" y="1111764"/>
                    <a:pt x="714423" y="1111764"/>
                  </a:cubicBezTo>
                  <a:lnTo>
                    <a:pt x="714423" y="1106630"/>
                  </a:lnTo>
                  <a:lnTo>
                    <a:pt x="715707" y="1101496"/>
                  </a:lnTo>
                  <a:cubicBezTo>
                    <a:pt x="715707" y="1098929"/>
                    <a:pt x="716991" y="1096362"/>
                    <a:pt x="715707" y="1093794"/>
                  </a:cubicBezTo>
                  <a:lnTo>
                    <a:pt x="710571" y="1091227"/>
                  </a:lnTo>
                  <a:cubicBezTo>
                    <a:pt x="706720" y="1091227"/>
                    <a:pt x="702868" y="1093794"/>
                    <a:pt x="700301" y="1096362"/>
                  </a:cubicBezTo>
                  <a:cubicBezTo>
                    <a:pt x="697733" y="1098929"/>
                    <a:pt x="696449" y="1102779"/>
                    <a:pt x="695165" y="1105347"/>
                  </a:cubicBezTo>
                  <a:cubicBezTo>
                    <a:pt x="692598" y="1109197"/>
                    <a:pt x="686179" y="1110481"/>
                    <a:pt x="682327" y="1111764"/>
                  </a:cubicBezTo>
                  <a:cubicBezTo>
                    <a:pt x="679760" y="1111764"/>
                    <a:pt x="677192" y="1113048"/>
                    <a:pt x="674625" y="1113048"/>
                  </a:cubicBezTo>
                  <a:cubicBezTo>
                    <a:pt x="672057" y="1111764"/>
                    <a:pt x="672057" y="1107914"/>
                    <a:pt x="670773" y="1105347"/>
                  </a:cubicBezTo>
                  <a:cubicBezTo>
                    <a:pt x="669489" y="1104063"/>
                    <a:pt x="668206" y="1101496"/>
                    <a:pt x="666922" y="1100212"/>
                  </a:cubicBezTo>
                  <a:cubicBezTo>
                    <a:pt x="663070" y="1096362"/>
                    <a:pt x="661786" y="1088660"/>
                    <a:pt x="661786" y="1083526"/>
                  </a:cubicBezTo>
                  <a:cubicBezTo>
                    <a:pt x="661786" y="1079675"/>
                    <a:pt x="661786" y="1075824"/>
                    <a:pt x="663070" y="1073257"/>
                  </a:cubicBezTo>
                  <a:cubicBezTo>
                    <a:pt x="663070" y="1070690"/>
                    <a:pt x="664354" y="1069406"/>
                    <a:pt x="664354" y="1066839"/>
                  </a:cubicBezTo>
                  <a:cubicBezTo>
                    <a:pt x="664354" y="1064272"/>
                    <a:pt x="664354" y="1061705"/>
                    <a:pt x="664354" y="1057855"/>
                  </a:cubicBezTo>
                  <a:cubicBezTo>
                    <a:pt x="665638" y="1054003"/>
                    <a:pt x="666922" y="1051436"/>
                    <a:pt x="670773" y="1045018"/>
                  </a:cubicBezTo>
                  <a:lnTo>
                    <a:pt x="677192" y="1041168"/>
                  </a:lnTo>
                  <a:cubicBezTo>
                    <a:pt x="681044" y="1039884"/>
                    <a:pt x="686179" y="1036034"/>
                    <a:pt x="690030" y="1037317"/>
                  </a:cubicBezTo>
                  <a:cubicBezTo>
                    <a:pt x="695165" y="1037317"/>
                    <a:pt x="699017" y="1042452"/>
                    <a:pt x="704152" y="1041168"/>
                  </a:cubicBezTo>
                  <a:lnTo>
                    <a:pt x="705436" y="1036034"/>
                  </a:lnTo>
                  <a:lnTo>
                    <a:pt x="714423" y="1032183"/>
                  </a:lnTo>
                  <a:cubicBezTo>
                    <a:pt x="720842" y="1032183"/>
                    <a:pt x="725977" y="1033467"/>
                    <a:pt x="731113" y="1038600"/>
                  </a:cubicBezTo>
                  <a:cubicBezTo>
                    <a:pt x="736248" y="1043735"/>
                    <a:pt x="734964" y="1048869"/>
                    <a:pt x="737532" y="1055287"/>
                  </a:cubicBezTo>
                  <a:cubicBezTo>
                    <a:pt x="738816" y="1059138"/>
                    <a:pt x="741384" y="1064272"/>
                    <a:pt x="746519" y="1065556"/>
                  </a:cubicBezTo>
                  <a:cubicBezTo>
                    <a:pt x="751654" y="1066839"/>
                    <a:pt x="751654" y="1060421"/>
                    <a:pt x="751654" y="1056571"/>
                  </a:cubicBezTo>
                  <a:cubicBezTo>
                    <a:pt x="750370" y="1051436"/>
                    <a:pt x="747803" y="1047586"/>
                    <a:pt x="746519" y="1042452"/>
                  </a:cubicBezTo>
                  <a:cubicBezTo>
                    <a:pt x="743951" y="1037317"/>
                    <a:pt x="743951" y="1032183"/>
                    <a:pt x="746519" y="1027049"/>
                  </a:cubicBezTo>
                  <a:cubicBezTo>
                    <a:pt x="749087" y="1021914"/>
                    <a:pt x="754222" y="1018064"/>
                    <a:pt x="758073" y="1014212"/>
                  </a:cubicBezTo>
                  <a:cubicBezTo>
                    <a:pt x="760641" y="1010362"/>
                    <a:pt x="764492" y="1009079"/>
                    <a:pt x="767060" y="1005228"/>
                  </a:cubicBezTo>
                  <a:cubicBezTo>
                    <a:pt x="768344" y="1002661"/>
                    <a:pt x="769627" y="1000093"/>
                    <a:pt x="769627" y="997526"/>
                  </a:cubicBezTo>
                  <a:cubicBezTo>
                    <a:pt x="769627" y="996243"/>
                    <a:pt x="768344" y="994959"/>
                    <a:pt x="768344" y="993676"/>
                  </a:cubicBezTo>
                  <a:cubicBezTo>
                    <a:pt x="768344" y="991108"/>
                    <a:pt x="768344" y="989825"/>
                    <a:pt x="768344" y="988541"/>
                  </a:cubicBezTo>
                  <a:cubicBezTo>
                    <a:pt x="768344" y="984691"/>
                    <a:pt x="767060" y="980840"/>
                    <a:pt x="768344" y="976989"/>
                  </a:cubicBezTo>
                  <a:cubicBezTo>
                    <a:pt x="768344" y="975705"/>
                    <a:pt x="770911" y="970571"/>
                    <a:pt x="772195" y="973138"/>
                  </a:cubicBezTo>
                  <a:cubicBezTo>
                    <a:pt x="773479" y="974422"/>
                    <a:pt x="773479" y="975705"/>
                    <a:pt x="772195" y="976989"/>
                  </a:cubicBezTo>
                  <a:cubicBezTo>
                    <a:pt x="772195" y="978273"/>
                    <a:pt x="772195" y="979556"/>
                    <a:pt x="773479" y="980840"/>
                  </a:cubicBezTo>
                  <a:cubicBezTo>
                    <a:pt x="774763" y="982123"/>
                    <a:pt x="777330" y="983407"/>
                    <a:pt x="778614" y="980840"/>
                  </a:cubicBezTo>
                  <a:lnTo>
                    <a:pt x="778614" y="974422"/>
                  </a:lnTo>
                  <a:cubicBezTo>
                    <a:pt x="778614" y="973138"/>
                    <a:pt x="778614" y="973138"/>
                    <a:pt x="778614" y="971855"/>
                  </a:cubicBezTo>
                  <a:cubicBezTo>
                    <a:pt x="779898" y="969288"/>
                    <a:pt x="782465" y="968004"/>
                    <a:pt x="783749" y="966720"/>
                  </a:cubicBezTo>
                  <a:cubicBezTo>
                    <a:pt x="783749" y="965437"/>
                    <a:pt x="783749" y="964153"/>
                    <a:pt x="785033" y="962870"/>
                  </a:cubicBezTo>
                  <a:cubicBezTo>
                    <a:pt x="785033" y="961586"/>
                    <a:pt x="786317" y="960303"/>
                    <a:pt x="787601" y="959019"/>
                  </a:cubicBezTo>
                  <a:cubicBezTo>
                    <a:pt x="791452" y="953885"/>
                    <a:pt x="795304" y="948750"/>
                    <a:pt x="799155" y="943616"/>
                  </a:cubicBezTo>
                  <a:cubicBezTo>
                    <a:pt x="801723" y="941049"/>
                    <a:pt x="808142" y="935915"/>
                    <a:pt x="811994" y="935915"/>
                  </a:cubicBezTo>
                  <a:cubicBezTo>
                    <a:pt x="814561" y="934631"/>
                    <a:pt x="817129" y="935915"/>
                    <a:pt x="818413" y="933347"/>
                  </a:cubicBezTo>
                  <a:cubicBezTo>
                    <a:pt x="819697" y="930781"/>
                    <a:pt x="818413" y="930781"/>
                    <a:pt x="820981" y="929497"/>
                  </a:cubicBezTo>
                  <a:cubicBezTo>
                    <a:pt x="822264" y="928213"/>
                    <a:pt x="829967" y="925646"/>
                    <a:pt x="829967" y="929497"/>
                  </a:cubicBezTo>
                  <a:cubicBezTo>
                    <a:pt x="828684" y="930781"/>
                    <a:pt x="827400" y="932064"/>
                    <a:pt x="826116" y="933347"/>
                  </a:cubicBezTo>
                  <a:cubicBezTo>
                    <a:pt x="824832" y="934631"/>
                    <a:pt x="823548" y="935915"/>
                    <a:pt x="824832" y="938482"/>
                  </a:cubicBezTo>
                  <a:cubicBezTo>
                    <a:pt x="826116" y="939765"/>
                    <a:pt x="828684" y="941049"/>
                    <a:pt x="831251" y="941049"/>
                  </a:cubicBezTo>
                  <a:cubicBezTo>
                    <a:pt x="833819" y="941049"/>
                    <a:pt x="835103" y="939765"/>
                    <a:pt x="837670" y="937198"/>
                  </a:cubicBezTo>
                  <a:cubicBezTo>
                    <a:pt x="838954" y="935915"/>
                    <a:pt x="838954" y="933347"/>
                    <a:pt x="841522" y="932064"/>
                  </a:cubicBezTo>
                  <a:lnTo>
                    <a:pt x="847941" y="928213"/>
                  </a:lnTo>
                  <a:cubicBezTo>
                    <a:pt x="850508" y="924363"/>
                    <a:pt x="838954" y="925646"/>
                    <a:pt x="837670" y="925646"/>
                  </a:cubicBezTo>
                  <a:lnTo>
                    <a:pt x="831251" y="917944"/>
                  </a:lnTo>
                  <a:cubicBezTo>
                    <a:pt x="829967" y="914094"/>
                    <a:pt x="831251" y="911527"/>
                    <a:pt x="828684" y="910243"/>
                  </a:cubicBezTo>
                  <a:cubicBezTo>
                    <a:pt x="827400" y="908960"/>
                    <a:pt x="826116" y="908960"/>
                    <a:pt x="826116" y="905109"/>
                  </a:cubicBezTo>
                  <a:cubicBezTo>
                    <a:pt x="827400" y="903825"/>
                    <a:pt x="828684" y="905109"/>
                    <a:pt x="829967" y="903825"/>
                  </a:cubicBezTo>
                  <a:cubicBezTo>
                    <a:pt x="831251" y="902541"/>
                    <a:pt x="832535" y="901258"/>
                    <a:pt x="831251" y="898691"/>
                  </a:cubicBezTo>
                  <a:cubicBezTo>
                    <a:pt x="829967" y="894840"/>
                    <a:pt x="826116" y="894840"/>
                    <a:pt x="822264" y="896124"/>
                  </a:cubicBezTo>
                  <a:lnTo>
                    <a:pt x="818413" y="897408"/>
                  </a:lnTo>
                  <a:cubicBezTo>
                    <a:pt x="815845" y="898691"/>
                    <a:pt x="811994" y="901258"/>
                    <a:pt x="809426" y="903825"/>
                  </a:cubicBezTo>
                  <a:cubicBezTo>
                    <a:pt x="809426" y="905109"/>
                    <a:pt x="808142" y="906393"/>
                    <a:pt x="806858" y="906393"/>
                  </a:cubicBezTo>
                  <a:lnTo>
                    <a:pt x="808142" y="901258"/>
                  </a:lnTo>
                  <a:cubicBezTo>
                    <a:pt x="809426" y="899975"/>
                    <a:pt x="810710" y="897408"/>
                    <a:pt x="811994" y="896124"/>
                  </a:cubicBezTo>
                  <a:cubicBezTo>
                    <a:pt x="815845" y="892273"/>
                    <a:pt x="819697" y="889706"/>
                    <a:pt x="823548" y="889706"/>
                  </a:cubicBezTo>
                  <a:cubicBezTo>
                    <a:pt x="826116" y="888422"/>
                    <a:pt x="827400" y="888422"/>
                    <a:pt x="828684" y="888422"/>
                  </a:cubicBezTo>
                  <a:cubicBezTo>
                    <a:pt x="833819" y="888422"/>
                    <a:pt x="837670" y="889706"/>
                    <a:pt x="841522" y="888422"/>
                  </a:cubicBezTo>
                  <a:cubicBezTo>
                    <a:pt x="845373" y="888422"/>
                    <a:pt x="849224" y="889706"/>
                    <a:pt x="851792" y="888422"/>
                  </a:cubicBezTo>
                  <a:cubicBezTo>
                    <a:pt x="853076" y="888422"/>
                    <a:pt x="854360" y="887139"/>
                    <a:pt x="855643" y="887139"/>
                  </a:cubicBezTo>
                  <a:cubicBezTo>
                    <a:pt x="858211" y="885855"/>
                    <a:pt x="859495" y="884572"/>
                    <a:pt x="860779" y="883288"/>
                  </a:cubicBezTo>
                  <a:cubicBezTo>
                    <a:pt x="863346" y="882005"/>
                    <a:pt x="862063" y="879437"/>
                    <a:pt x="863346" y="878154"/>
                  </a:cubicBezTo>
                  <a:cubicBezTo>
                    <a:pt x="867198" y="873020"/>
                    <a:pt x="873617" y="879437"/>
                    <a:pt x="877469" y="875587"/>
                  </a:cubicBezTo>
                  <a:cubicBezTo>
                    <a:pt x="880036" y="874303"/>
                    <a:pt x="881320" y="870452"/>
                    <a:pt x="881320" y="867885"/>
                  </a:cubicBezTo>
                  <a:cubicBezTo>
                    <a:pt x="880036" y="865318"/>
                    <a:pt x="878752" y="865318"/>
                    <a:pt x="877469" y="864034"/>
                  </a:cubicBezTo>
                  <a:cubicBezTo>
                    <a:pt x="874901" y="864034"/>
                    <a:pt x="874901" y="862751"/>
                    <a:pt x="872333" y="862751"/>
                  </a:cubicBezTo>
                  <a:cubicBezTo>
                    <a:pt x="871049" y="862751"/>
                    <a:pt x="869766" y="864034"/>
                    <a:pt x="868482" y="864034"/>
                  </a:cubicBezTo>
                  <a:cubicBezTo>
                    <a:pt x="864630" y="866602"/>
                    <a:pt x="862063" y="867885"/>
                    <a:pt x="859495" y="867885"/>
                  </a:cubicBezTo>
                  <a:cubicBezTo>
                    <a:pt x="856927" y="867885"/>
                    <a:pt x="854360" y="865318"/>
                    <a:pt x="855643" y="862751"/>
                  </a:cubicBezTo>
                  <a:cubicBezTo>
                    <a:pt x="855643" y="860184"/>
                    <a:pt x="859495" y="860184"/>
                    <a:pt x="860779" y="857617"/>
                  </a:cubicBezTo>
                  <a:cubicBezTo>
                    <a:pt x="863346" y="856333"/>
                    <a:pt x="864630" y="853766"/>
                    <a:pt x="862063" y="852482"/>
                  </a:cubicBezTo>
                  <a:cubicBezTo>
                    <a:pt x="859495" y="851199"/>
                    <a:pt x="855643" y="851199"/>
                    <a:pt x="853076" y="851199"/>
                  </a:cubicBezTo>
                  <a:cubicBezTo>
                    <a:pt x="847941" y="849915"/>
                    <a:pt x="849224" y="847348"/>
                    <a:pt x="849224" y="844781"/>
                  </a:cubicBezTo>
                  <a:cubicBezTo>
                    <a:pt x="849224" y="843497"/>
                    <a:pt x="849224" y="842214"/>
                    <a:pt x="849224" y="840930"/>
                  </a:cubicBezTo>
                  <a:cubicBezTo>
                    <a:pt x="847941" y="838363"/>
                    <a:pt x="846657" y="837079"/>
                    <a:pt x="846657" y="835796"/>
                  </a:cubicBezTo>
                  <a:cubicBezTo>
                    <a:pt x="846657" y="833229"/>
                    <a:pt x="846657" y="831945"/>
                    <a:pt x="845373" y="829378"/>
                  </a:cubicBezTo>
                  <a:cubicBezTo>
                    <a:pt x="845373" y="826811"/>
                    <a:pt x="845373" y="825527"/>
                    <a:pt x="844089" y="824244"/>
                  </a:cubicBezTo>
                  <a:cubicBezTo>
                    <a:pt x="842805" y="821676"/>
                    <a:pt x="838954" y="820393"/>
                    <a:pt x="837670" y="817826"/>
                  </a:cubicBezTo>
                  <a:cubicBezTo>
                    <a:pt x="835103" y="815258"/>
                    <a:pt x="836386" y="813975"/>
                    <a:pt x="835103" y="811408"/>
                  </a:cubicBezTo>
                  <a:cubicBezTo>
                    <a:pt x="833819" y="808841"/>
                    <a:pt x="831251" y="806273"/>
                    <a:pt x="828684" y="808841"/>
                  </a:cubicBezTo>
                  <a:cubicBezTo>
                    <a:pt x="827400" y="810125"/>
                    <a:pt x="826116" y="812692"/>
                    <a:pt x="824832" y="813975"/>
                  </a:cubicBezTo>
                  <a:cubicBezTo>
                    <a:pt x="822264" y="817826"/>
                    <a:pt x="817129" y="817826"/>
                    <a:pt x="813278" y="816542"/>
                  </a:cubicBezTo>
                  <a:cubicBezTo>
                    <a:pt x="809426" y="815258"/>
                    <a:pt x="806858" y="811408"/>
                    <a:pt x="805575" y="807557"/>
                  </a:cubicBezTo>
                  <a:cubicBezTo>
                    <a:pt x="805575" y="803707"/>
                    <a:pt x="805575" y="799856"/>
                    <a:pt x="801723" y="797289"/>
                  </a:cubicBezTo>
                  <a:cubicBezTo>
                    <a:pt x="799155" y="794722"/>
                    <a:pt x="795304" y="793438"/>
                    <a:pt x="791452" y="790870"/>
                  </a:cubicBezTo>
                  <a:cubicBezTo>
                    <a:pt x="790168" y="788304"/>
                    <a:pt x="787601" y="785737"/>
                    <a:pt x="785033" y="784453"/>
                  </a:cubicBezTo>
                  <a:cubicBezTo>
                    <a:pt x="781182" y="784453"/>
                    <a:pt x="777330" y="785737"/>
                    <a:pt x="774763" y="788304"/>
                  </a:cubicBezTo>
                  <a:cubicBezTo>
                    <a:pt x="772195" y="789587"/>
                    <a:pt x="768344" y="788304"/>
                    <a:pt x="765776" y="789587"/>
                  </a:cubicBezTo>
                  <a:cubicBezTo>
                    <a:pt x="760641" y="790870"/>
                    <a:pt x="764492" y="797289"/>
                    <a:pt x="763208" y="801139"/>
                  </a:cubicBezTo>
                  <a:cubicBezTo>
                    <a:pt x="763208" y="802423"/>
                    <a:pt x="761925" y="802423"/>
                    <a:pt x="761925" y="803707"/>
                  </a:cubicBezTo>
                  <a:cubicBezTo>
                    <a:pt x="763208" y="804990"/>
                    <a:pt x="763208" y="804990"/>
                    <a:pt x="764492" y="806273"/>
                  </a:cubicBezTo>
                  <a:lnTo>
                    <a:pt x="761925" y="811408"/>
                  </a:lnTo>
                  <a:lnTo>
                    <a:pt x="756789" y="816542"/>
                  </a:lnTo>
                  <a:cubicBezTo>
                    <a:pt x="756789" y="820393"/>
                    <a:pt x="761925" y="820393"/>
                    <a:pt x="763208" y="822960"/>
                  </a:cubicBezTo>
                  <a:cubicBezTo>
                    <a:pt x="764492" y="824244"/>
                    <a:pt x="764492" y="825527"/>
                    <a:pt x="765776" y="828094"/>
                  </a:cubicBezTo>
                  <a:lnTo>
                    <a:pt x="768344" y="834513"/>
                  </a:lnTo>
                  <a:lnTo>
                    <a:pt x="768344" y="842214"/>
                  </a:lnTo>
                  <a:lnTo>
                    <a:pt x="764492" y="848632"/>
                  </a:lnTo>
                  <a:cubicBezTo>
                    <a:pt x="761925" y="849915"/>
                    <a:pt x="759357" y="851199"/>
                    <a:pt x="758073" y="853766"/>
                  </a:cubicBezTo>
                  <a:cubicBezTo>
                    <a:pt x="755506" y="856333"/>
                    <a:pt x="756789" y="860184"/>
                    <a:pt x="758073" y="862751"/>
                  </a:cubicBezTo>
                  <a:lnTo>
                    <a:pt x="756789" y="870452"/>
                  </a:lnTo>
                  <a:cubicBezTo>
                    <a:pt x="754222" y="873020"/>
                    <a:pt x="750370" y="874303"/>
                    <a:pt x="747803" y="873020"/>
                  </a:cubicBezTo>
                  <a:cubicBezTo>
                    <a:pt x="745235" y="873020"/>
                    <a:pt x="742667" y="867885"/>
                    <a:pt x="742667" y="864034"/>
                  </a:cubicBezTo>
                  <a:lnTo>
                    <a:pt x="740100" y="851199"/>
                  </a:lnTo>
                  <a:cubicBezTo>
                    <a:pt x="737532" y="848632"/>
                    <a:pt x="732397" y="848632"/>
                    <a:pt x="728545" y="847348"/>
                  </a:cubicBezTo>
                  <a:cubicBezTo>
                    <a:pt x="723410" y="847348"/>
                    <a:pt x="719558" y="843497"/>
                    <a:pt x="715707" y="840930"/>
                  </a:cubicBezTo>
                  <a:cubicBezTo>
                    <a:pt x="713139" y="839646"/>
                    <a:pt x="711855" y="837079"/>
                    <a:pt x="709288" y="837079"/>
                  </a:cubicBezTo>
                  <a:cubicBezTo>
                    <a:pt x="706720" y="835796"/>
                    <a:pt x="702868" y="834513"/>
                    <a:pt x="700301" y="834513"/>
                  </a:cubicBezTo>
                  <a:cubicBezTo>
                    <a:pt x="693882" y="833229"/>
                    <a:pt x="686179" y="828094"/>
                    <a:pt x="684895" y="821676"/>
                  </a:cubicBezTo>
                  <a:cubicBezTo>
                    <a:pt x="683611" y="817826"/>
                    <a:pt x="681044" y="815258"/>
                    <a:pt x="678476" y="811408"/>
                  </a:cubicBezTo>
                  <a:lnTo>
                    <a:pt x="680631" y="800639"/>
                  </a:lnTo>
                  <a:lnTo>
                    <a:pt x="687957" y="791759"/>
                  </a:lnTo>
                  <a:cubicBezTo>
                    <a:pt x="690227" y="790498"/>
                    <a:pt x="691504" y="788209"/>
                    <a:pt x="693882" y="787020"/>
                  </a:cubicBezTo>
                  <a:lnTo>
                    <a:pt x="694661" y="785073"/>
                  </a:lnTo>
                  <a:lnTo>
                    <a:pt x="705598" y="776049"/>
                  </a:lnTo>
                  <a:cubicBezTo>
                    <a:pt x="707144" y="775327"/>
                    <a:pt x="708858" y="774755"/>
                    <a:pt x="710571" y="774184"/>
                  </a:cubicBezTo>
                  <a:cubicBezTo>
                    <a:pt x="711855" y="772901"/>
                    <a:pt x="713139" y="772901"/>
                    <a:pt x="713139" y="771617"/>
                  </a:cubicBezTo>
                  <a:lnTo>
                    <a:pt x="712768" y="770133"/>
                  </a:lnTo>
                  <a:lnTo>
                    <a:pt x="730336" y="755638"/>
                  </a:lnTo>
                  <a:lnTo>
                    <a:pt x="737532" y="752363"/>
                  </a:lnTo>
                  <a:cubicBezTo>
                    <a:pt x="741384" y="751080"/>
                    <a:pt x="743951" y="749796"/>
                    <a:pt x="747803" y="749796"/>
                  </a:cubicBezTo>
                  <a:cubicBezTo>
                    <a:pt x="750370" y="748513"/>
                    <a:pt x="751654" y="747229"/>
                    <a:pt x="750370" y="744662"/>
                  </a:cubicBezTo>
                  <a:cubicBezTo>
                    <a:pt x="750370" y="742664"/>
                    <a:pt x="749679" y="741703"/>
                    <a:pt x="748668" y="740513"/>
                  </a:cubicBezTo>
                  <a:cubicBezTo>
                    <a:pt x="757366" y="733451"/>
                    <a:pt x="766760" y="727349"/>
                    <a:pt x="777261" y="723065"/>
                  </a:cubicBezTo>
                  <a:cubicBezTo>
                    <a:pt x="783363" y="727046"/>
                    <a:pt x="787824" y="733460"/>
                    <a:pt x="788700" y="740472"/>
                  </a:cubicBezTo>
                  <a:cubicBezTo>
                    <a:pt x="789983" y="745610"/>
                    <a:pt x="787416" y="750749"/>
                    <a:pt x="786132" y="754603"/>
                  </a:cubicBezTo>
                  <a:lnTo>
                    <a:pt x="786132" y="762310"/>
                  </a:lnTo>
                  <a:cubicBezTo>
                    <a:pt x="786132" y="764880"/>
                    <a:pt x="783564" y="767449"/>
                    <a:pt x="780997" y="768734"/>
                  </a:cubicBezTo>
                  <a:lnTo>
                    <a:pt x="770726" y="770019"/>
                  </a:lnTo>
                  <a:cubicBezTo>
                    <a:pt x="768159" y="770019"/>
                    <a:pt x="764307" y="768734"/>
                    <a:pt x="761740" y="770019"/>
                  </a:cubicBezTo>
                  <a:cubicBezTo>
                    <a:pt x="759172" y="772588"/>
                    <a:pt x="761740" y="777727"/>
                    <a:pt x="764307" y="779011"/>
                  </a:cubicBezTo>
                  <a:cubicBezTo>
                    <a:pt x="769443" y="782865"/>
                    <a:pt x="778429" y="775157"/>
                    <a:pt x="783564" y="779011"/>
                  </a:cubicBezTo>
                  <a:cubicBezTo>
                    <a:pt x="786132" y="780296"/>
                    <a:pt x="787416" y="782865"/>
                    <a:pt x="789983" y="784150"/>
                  </a:cubicBezTo>
                  <a:cubicBezTo>
                    <a:pt x="792551" y="785434"/>
                    <a:pt x="793835" y="786719"/>
                    <a:pt x="795119" y="786719"/>
                  </a:cubicBezTo>
                  <a:cubicBezTo>
                    <a:pt x="798970" y="788004"/>
                    <a:pt x="801538" y="786719"/>
                    <a:pt x="805389" y="786719"/>
                  </a:cubicBezTo>
                  <a:cubicBezTo>
                    <a:pt x="807957" y="786719"/>
                    <a:pt x="811808" y="786719"/>
                    <a:pt x="814376" y="788004"/>
                  </a:cubicBezTo>
                  <a:cubicBezTo>
                    <a:pt x="815660" y="789288"/>
                    <a:pt x="818227" y="789288"/>
                    <a:pt x="820795" y="790573"/>
                  </a:cubicBezTo>
                  <a:cubicBezTo>
                    <a:pt x="822079" y="790573"/>
                    <a:pt x="823362" y="790573"/>
                    <a:pt x="823362" y="788004"/>
                  </a:cubicBezTo>
                  <a:lnTo>
                    <a:pt x="819511" y="785434"/>
                  </a:lnTo>
                  <a:cubicBezTo>
                    <a:pt x="816943" y="784150"/>
                    <a:pt x="809240" y="782865"/>
                    <a:pt x="810524" y="779011"/>
                  </a:cubicBezTo>
                  <a:cubicBezTo>
                    <a:pt x="811808" y="776442"/>
                    <a:pt x="814376" y="777727"/>
                    <a:pt x="816943" y="777727"/>
                  </a:cubicBezTo>
                  <a:cubicBezTo>
                    <a:pt x="819511" y="777727"/>
                    <a:pt x="820795" y="776442"/>
                    <a:pt x="823362" y="776442"/>
                  </a:cubicBezTo>
                  <a:cubicBezTo>
                    <a:pt x="825930" y="775157"/>
                    <a:pt x="828498" y="775157"/>
                    <a:pt x="828498" y="772588"/>
                  </a:cubicBezTo>
                  <a:lnTo>
                    <a:pt x="824646" y="766165"/>
                  </a:lnTo>
                  <a:cubicBezTo>
                    <a:pt x="820795" y="764880"/>
                    <a:pt x="814376" y="759741"/>
                    <a:pt x="816943" y="754603"/>
                  </a:cubicBezTo>
                  <a:cubicBezTo>
                    <a:pt x="818227" y="752033"/>
                    <a:pt x="825930" y="754603"/>
                    <a:pt x="828498" y="755887"/>
                  </a:cubicBezTo>
                  <a:cubicBezTo>
                    <a:pt x="831065" y="758456"/>
                    <a:pt x="834917" y="762310"/>
                    <a:pt x="838768" y="762310"/>
                  </a:cubicBezTo>
                  <a:cubicBezTo>
                    <a:pt x="843903" y="762310"/>
                    <a:pt x="847755" y="757172"/>
                    <a:pt x="849039" y="752033"/>
                  </a:cubicBezTo>
                  <a:cubicBezTo>
                    <a:pt x="851606" y="746895"/>
                    <a:pt x="847755" y="744325"/>
                    <a:pt x="842620" y="744325"/>
                  </a:cubicBezTo>
                  <a:cubicBezTo>
                    <a:pt x="838768" y="744325"/>
                    <a:pt x="834917" y="744325"/>
                    <a:pt x="829781" y="741756"/>
                  </a:cubicBezTo>
                  <a:cubicBezTo>
                    <a:pt x="825930" y="740472"/>
                    <a:pt x="822079" y="739187"/>
                    <a:pt x="818227" y="736618"/>
                  </a:cubicBezTo>
                  <a:cubicBezTo>
                    <a:pt x="814376" y="731479"/>
                    <a:pt x="813092" y="725055"/>
                    <a:pt x="810524" y="719917"/>
                  </a:cubicBezTo>
                  <a:cubicBezTo>
                    <a:pt x="809240" y="716063"/>
                    <a:pt x="806673" y="712209"/>
                    <a:pt x="804105" y="709640"/>
                  </a:cubicBezTo>
                  <a:lnTo>
                    <a:pt x="802798" y="709204"/>
                  </a:lnTo>
                  <a:cubicBezTo>
                    <a:pt x="825545" y="695518"/>
                    <a:pt x="850387" y="685600"/>
                    <a:pt x="876810" y="680004"/>
                  </a:cubicBezTo>
                  <a:cubicBezTo>
                    <a:pt x="879309" y="684035"/>
                    <a:pt x="881965" y="688245"/>
                    <a:pt x="879970" y="693231"/>
                  </a:cubicBezTo>
                  <a:cubicBezTo>
                    <a:pt x="878687" y="694514"/>
                    <a:pt x="877404" y="694514"/>
                    <a:pt x="877404" y="695797"/>
                  </a:cubicBezTo>
                  <a:cubicBezTo>
                    <a:pt x="877404" y="699646"/>
                    <a:pt x="879970" y="699646"/>
                    <a:pt x="882537" y="699646"/>
                  </a:cubicBezTo>
                  <a:cubicBezTo>
                    <a:pt x="887670" y="699646"/>
                    <a:pt x="895369" y="699646"/>
                    <a:pt x="897936" y="704778"/>
                  </a:cubicBezTo>
                  <a:lnTo>
                    <a:pt x="896652" y="709910"/>
                  </a:lnTo>
                  <a:lnTo>
                    <a:pt x="890236" y="708627"/>
                  </a:lnTo>
                  <a:lnTo>
                    <a:pt x="881254" y="709910"/>
                  </a:lnTo>
                  <a:cubicBezTo>
                    <a:pt x="879970" y="712476"/>
                    <a:pt x="882537" y="712476"/>
                    <a:pt x="883820" y="713760"/>
                  </a:cubicBezTo>
                  <a:cubicBezTo>
                    <a:pt x="885104" y="713760"/>
                    <a:pt x="885104" y="715042"/>
                    <a:pt x="886386" y="716326"/>
                  </a:cubicBezTo>
                  <a:cubicBezTo>
                    <a:pt x="886364" y="716333"/>
                    <a:pt x="881254" y="717612"/>
                    <a:pt x="881254" y="718892"/>
                  </a:cubicBezTo>
                  <a:cubicBezTo>
                    <a:pt x="881254" y="721458"/>
                    <a:pt x="883820" y="721458"/>
                    <a:pt x="883820" y="724024"/>
                  </a:cubicBezTo>
                  <a:cubicBezTo>
                    <a:pt x="885104" y="725307"/>
                    <a:pt x="882537" y="725307"/>
                    <a:pt x="882537" y="727873"/>
                  </a:cubicBezTo>
                  <a:lnTo>
                    <a:pt x="887670" y="730439"/>
                  </a:lnTo>
                  <a:cubicBezTo>
                    <a:pt x="895369" y="729156"/>
                    <a:pt x="887670" y="720175"/>
                    <a:pt x="890236" y="717608"/>
                  </a:cubicBezTo>
                  <a:cubicBezTo>
                    <a:pt x="894086" y="713760"/>
                    <a:pt x="905635" y="718892"/>
                    <a:pt x="908201" y="720175"/>
                  </a:cubicBezTo>
                  <a:cubicBezTo>
                    <a:pt x="912051" y="721458"/>
                    <a:pt x="912051" y="725307"/>
                    <a:pt x="909485" y="727873"/>
                  </a:cubicBezTo>
                  <a:cubicBezTo>
                    <a:pt x="906918" y="730439"/>
                    <a:pt x="904352" y="730439"/>
                    <a:pt x="903068" y="734288"/>
                  </a:cubicBezTo>
                  <a:cubicBezTo>
                    <a:pt x="903068" y="736854"/>
                    <a:pt x="901785" y="738138"/>
                    <a:pt x="900502" y="739420"/>
                  </a:cubicBezTo>
                  <a:cubicBezTo>
                    <a:pt x="896652" y="740704"/>
                    <a:pt x="894086" y="739420"/>
                    <a:pt x="891520" y="740704"/>
                  </a:cubicBezTo>
                  <a:cubicBezTo>
                    <a:pt x="890236" y="740704"/>
                    <a:pt x="888953" y="741987"/>
                    <a:pt x="887670" y="743270"/>
                  </a:cubicBezTo>
                  <a:cubicBezTo>
                    <a:pt x="887670" y="745836"/>
                    <a:pt x="888953" y="745836"/>
                    <a:pt x="890236" y="747119"/>
                  </a:cubicBezTo>
                  <a:lnTo>
                    <a:pt x="890236" y="753534"/>
                  </a:lnTo>
                  <a:cubicBezTo>
                    <a:pt x="888953" y="754817"/>
                    <a:pt x="888953" y="754817"/>
                    <a:pt x="888953" y="756100"/>
                  </a:cubicBezTo>
                  <a:cubicBezTo>
                    <a:pt x="888953" y="759949"/>
                    <a:pt x="892803" y="761232"/>
                    <a:pt x="894086" y="763798"/>
                  </a:cubicBezTo>
                  <a:cubicBezTo>
                    <a:pt x="894086" y="765081"/>
                    <a:pt x="894086" y="766364"/>
                    <a:pt x="895369" y="767647"/>
                  </a:cubicBezTo>
                  <a:cubicBezTo>
                    <a:pt x="896652" y="770213"/>
                    <a:pt x="896652" y="768930"/>
                    <a:pt x="899219" y="770213"/>
                  </a:cubicBezTo>
                  <a:cubicBezTo>
                    <a:pt x="900502" y="770213"/>
                    <a:pt x="901785" y="770213"/>
                    <a:pt x="900502" y="772780"/>
                  </a:cubicBezTo>
                  <a:cubicBezTo>
                    <a:pt x="900502" y="774062"/>
                    <a:pt x="897936" y="772780"/>
                    <a:pt x="897936" y="775346"/>
                  </a:cubicBezTo>
                  <a:lnTo>
                    <a:pt x="903068" y="780478"/>
                  </a:lnTo>
                  <a:lnTo>
                    <a:pt x="904352" y="784327"/>
                  </a:lnTo>
                  <a:cubicBezTo>
                    <a:pt x="905635" y="788176"/>
                    <a:pt x="908201" y="786893"/>
                    <a:pt x="910768" y="788176"/>
                  </a:cubicBezTo>
                  <a:cubicBezTo>
                    <a:pt x="913334" y="788176"/>
                    <a:pt x="913334" y="792025"/>
                    <a:pt x="914617" y="793308"/>
                  </a:cubicBezTo>
                  <a:cubicBezTo>
                    <a:pt x="915901" y="797157"/>
                    <a:pt x="918467" y="799723"/>
                    <a:pt x="922317" y="799723"/>
                  </a:cubicBezTo>
                  <a:cubicBezTo>
                    <a:pt x="924883" y="799723"/>
                    <a:pt x="924883" y="798440"/>
                    <a:pt x="927449" y="799723"/>
                  </a:cubicBezTo>
                  <a:cubicBezTo>
                    <a:pt x="930016" y="801006"/>
                    <a:pt x="931299" y="802289"/>
                    <a:pt x="933866" y="804855"/>
                  </a:cubicBezTo>
                  <a:lnTo>
                    <a:pt x="938999" y="807421"/>
                  </a:lnTo>
                  <a:cubicBezTo>
                    <a:pt x="940282" y="806139"/>
                    <a:pt x="940282" y="804855"/>
                    <a:pt x="940282" y="803573"/>
                  </a:cubicBezTo>
                  <a:cubicBezTo>
                    <a:pt x="941565" y="802289"/>
                    <a:pt x="942848" y="801006"/>
                    <a:pt x="944132" y="799723"/>
                  </a:cubicBezTo>
                  <a:lnTo>
                    <a:pt x="944132" y="794591"/>
                  </a:lnTo>
                  <a:cubicBezTo>
                    <a:pt x="945415" y="792025"/>
                    <a:pt x="946698" y="790742"/>
                    <a:pt x="946698" y="789459"/>
                  </a:cubicBezTo>
                  <a:cubicBezTo>
                    <a:pt x="947981" y="786893"/>
                    <a:pt x="947981" y="785610"/>
                    <a:pt x="949264" y="783044"/>
                  </a:cubicBezTo>
                  <a:cubicBezTo>
                    <a:pt x="950548" y="781761"/>
                    <a:pt x="950548" y="781761"/>
                    <a:pt x="951831" y="779194"/>
                  </a:cubicBezTo>
                  <a:cubicBezTo>
                    <a:pt x="951831" y="776628"/>
                    <a:pt x="949264" y="772780"/>
                    <a:pt x="950548" y="770213"/>
                  </a:cubicBezTo>
                  <a:lnTo>
                    <a:pt x="958247" y="766364"/>
                  </a:lnTo>
                  <a:lnTo>
                    <a:pt x="962097" y="762515"/>
                  </a:lnTo>
                  <a:cubicBezTo>
                    <a:pt x="964663" y="758666"/>
                    <a:pt x="964663" y="757383"/>
                    <a:pt x="968513" y="757383"/>
                  </a:cubicBezTo>
                  <a:cubicBezTo>
                    <a:pt x="972363" y="757383"/>
                    <a:pt x="974929" y="758666"/>
                    <a:pt x="978779" y="756100"/>
                  </a:cubicBezTo>
                  <a:cubicBezTo>
                    <a:pt x="982628" y="754817"/>
                    <a:pt x="983911" y="752251"/>
                    <a:pt x="986478" y="749685"/>
                  </a:cubicBezTo>
                  <a:cubicBezTo>
                    <a:pt x="986478" y="748402"/>
                    <a:pt x="987761" y="747119"/>
                    <a:pt x="989044" y="745836"/>
                  </a:cubicBezTo>
                  <a:cubicBezTo>
                    <a:pt x="990328" y="744553"/>
                    <a:pt x="992894" y="744553"/>
                    <a:pt x="995460" y="743270"/>
                  </a:cubicBezTo>
                  <a:cubicBezTo>
                    <a:pt x="996744" y="741987"/>
                    <a:pt x="996744" y="740704"/>
                    <a:pt x="998027" y="739420"/>
                  </a:cubicBezTo>
                  <a:cubicBezTo>
                    <a:pt x="1000593" y="735572"/>
                    <a:pt x="1007010" y="736854"/>
                    <a:pt x="1010859" y="736854"/>
                  </a:cubicBezTo>
                  <a:cubicBezTo>
                    <a:pt x="1017275" y="736854"/>
                    <a:pt x="1023691" y="734288"/>
                    <a:pt x="1030107" y="731722"/>
                  </a:cubicBezTo>
                  <a:lnTo>
                    <a:pt x="1036523" y="726590"/>
                  </a:lnTo>
                  <a:cubicBezTo>
                    <a:pt x="1037807" y="725307"/>
                    <a:pt x="1040373" y="725307"/>
                    <a:pt x="1042940" y="724024"/>
                  </a:cubicBezTo>
                  <a:cubicBezTo>
                    <a:pt x="1045506" y="722741"/>
                    <a:pt x="1048072" y="721458"/>
                    <a:pt x="1046790" y="718892"/>
                  </a:cubicBezTo>
                  <a:cubicBezTo>
                    <a:pt x="1045506" y="715042"/>
                    <a:pt x="1039090" y="717608"/>
                    <a:pt x="1036523" y="716326"/>
                  </a:cubicBezTo>
                  <a:cubicBezTo>
                    <a:pt x="1033957" y="713760"/>
                    <a:pt x="1035240" y="711194"/>
                    <a:pt x="1033957" y="708627"/>
                  </a:cubicBezTo>
                  <a:lnTo>
                    <a:pt x="1028824" y="708627"/>
                  </a:lnTo>
                  <a:cubicBezTo>
                    <a:pt x="1028824" y="706061"/>
                    <a:pt x="1028824" y="706061"/>
                    <a:pt x="1027541" y="704778"/>
                  </a:cubicBezTo>
                  <a:cubicBezTo>
                    <a:pt x="1027541" y="703495"/>
                    <a:pt x="1024975" y="703495"/>
                    <a:pt x="1024975" y="702212"/>
                  </a:cubicBezTo>
                  <a:lnTo>
                    <a:pt x="1028824" y="699646"/>
                  </a:lnTo>
                  <a:lnTo>
                    <a:pt x="1039090" y="702212"/>
                  </a:lnTo>
                  <a:cubicBezTo>
                    <a:pt x="1040373" y="703495"/>
                    <a:pt x="1042940" y="704778"/>
                    <a:pt x="1044223" y="707344"/>
                  </a:cubicBezTo>
                  <a:cubicBezTo>
                    <a:pt x="1045506" y="708627"/>
                    <a:pt x="1046790" y="709910"/>
                    <a:pt x="1048072" y="711194"/>
                  </a:cubicBezTo>
                  <a:cubicBezTo>
                    <a:pt x="1050639" y="711194"/>
                    <a:pt x="1051922" y="711194"/>
                    <a:pt x="1051922" y="708627"/>
                  </a:cubicBezTo>
                  <a:cubicBezTo>
                    <a:pt x="1051922" y="707344"/>
                    <a:pt x="1050639" y="706061"/>
                    <a:pt x="1049356" y="704778"/>
                  </a:cubicBezTo>
                  <a:cubicBezTo>
                    <a:pt x="1049356" y="702212"/>
                    <a:pt x="1049356" y="700929"/>
                    <a:pt x="1050639" y="699646"/>
                  </a:cubicBezTo>
                  <a:cubicBezTo>
                    <a:pt x="1051922" y="697080"/>
                    <a:pt x="1051922" y="693231"/>
                    <a:pt x="1049356" y="690665"/>
                  </a:cubicBezTo>
                  <a:cubicBezTo>
                    <a:pt x="1048072" y="689382"/>
                    <a:pt x="1045506" y="689382"/>
                    <a:pt x="1046790" y="686816"/>
                  </a:cubicBezTo>
                  <a:lnTo>
                    <a:pt x="1058338" y="686816"/>
                  </a:lnTo>
                  <a:cubicBezTo>
                    <a:pt x="1059622" y="685533"/>
                    <a:pt x="1060905" y="685533"/>
                    <a:pt x="1060905" y="684250"/>
                  </a:cubicBezTo>
                  <a:cubicBezTo>
                    <a:pt x="1060905" y="681684"/>
                    <a:pt x="1059622" y="681684"/>
                    <a:pt x="1057055" y="681684"/>
                  </a:cubicBezTo>
                  <a:lnTo>
                    <a:pt x="1050639" y="677834"/>
                  </a:lnTo>
                  <a:cubicBezTo>
                    <a:pt x="1050158" y="673986"/>
                    <a:pt x="1056413" y="673986"/>
                    <a:pt x="1058338" y="673986"/>
                  </a:cubicBezTo>
                  <a:cubicBezTo>
                    <a:pt x="1059622" y="673986"/>
                    <a:pt x="1064754" y="676552"/>
                    <a:pt x="1064754" y="673986"/>
                  </a:cubicBezTo>
                  <a:cubicBezTo>
                    <a:pt x="1066038" y="671420"/>
                    <a:pt x="1058338" y="671420"/>
                    <a:pt x="1059622" y="667570"/>
                  </a:cubicBezTo>
                  <a:close/>
                  <a:moveTo>
                    <a:pt x="1065059" y="644628"/>
                  </a:moveTo>
                  <a:lnTo>
                    <a:pt x="1073323" y="646832"/>
                  </a:lnTo>
                  <a:lnTo>
                    <a:pt x="1068398" y="646336"/>
                  </a:lnTo>
                  <a:cubicBezTo>
                    <a:pt x="1068086" y="645834"/>
                    <a:pt x="1067679" y="645759"/>
                    <a:pt x="1067321" y="645759"/>
                  </a:cubicBezTo>
                  <a:close/>
                  <a:moveTo>
                    <a:pt x="999379" y="639378"/>
                  </a:moveTo>
                  <a:cubicBezTo>
                    <a:pt x="998987" y="639378"/>
                    <a:pt x="998595" y="639379"/>
                    <a:pt x="998203" y="639497"/>
                  </a:cubicBezTo>
                  <a:cubicBezTo>
                    <a:pt x="971578" y="639464"/>
                    <a:pt x="945496" y="641848"/>
                    <a:pt x="920379" y="647342"/>
                  </a:cubicBezTo>
                  <a:cubicBezTo>
                    <a:pt x="899534" y="649819"/>
                    <a:pt x="879362" y="654810"/>
                    <a:pt x="860441" y="663193"/>
                  </a:cubicBezTo>
                  <a:lnTo>
                    <a:pt x="858109" y="661862"/>
                  </a:lnTo>
                  <a:lnTo>
                    <a:pt x="842130" y="668877"/>
                  </a:lnTo>
                  <a:cubicBezTo>
                    <a:pt x="825571" y="673228"/>
                    <a:pt x="809995" y="679980"/>
                    <a:pt x="795747" y="689240"/>
                  </a:cubicBezTo>
                  <a:lnTo>
                    <a:pt x="781029" y="695701"/>
                  </a:lnTo>
                  <a:lnTo>
                    <a:pt x="782872" y="696228"/>
                  </a:lnTo>
                  <a:cubicBezTo>
                    <a:pt x="768415" y="701624"/>
                    <a:pt x="755385" y="709559"/>
                    <a:pt x="742864" y="718195"/>
                  </a:cubicBezTo>
                  <a:lnTo>
                    <a:pt x="742177" y="718057"/>
                  </a:lnTo>
                  <a:lnTo>
                    <a:pt x="737755" y="721706"/>
                  </a:lnTo>
                  <a:lnTo>
                    <a:pt x="738227" y="722021"/>
                  </a:lnTo>
                  <a:lnTo>
                    <a:pt x="724694" y="733187"/>
                  </a:lnTo>
                  <a:lnTo>
                    <a:pt x="724694" y="733110"/>
                  </a:lnTo>
                  <a:cubicBezTo>
                    <a:pt x="725977" y="731826"/>
                    <a:pt x="725977" y="730543"/>
                    <a:pt x="727261" y="730543"/>
                  </a:cubicBezTo>
                  <a:lnTo>
                    <a:pt x="727400" y="730249"/>
                  </a:lnTo>
                  <a:lnTo>
                    <a:pt x="713121" y="742030"/>
                  </a:lnTo>
                  <a:cubicBezTo>
                    <a:pt x="713116" y="742059"/>
                    <a:pt x="713127" y="742078"/>
                    <a:pt x="713139" y="742095"/>
                  </a:cubicBezTo>
                  <a:lnTo>
                    <a:pt x="713482" y="742438"/>
                  </a:lnTo>
                  <a:cubicBezTo>
                    <a:pt x="608487" y="824638"/>
                    <a:pt x="542179" y="952865"/>
                    <a:pt x="542179" y="1096578"/>
                  </a:cubicBezTo>
                  <a:cubicBezTo>
                    <a:pt x="542179" y="1349083"/>
                    <a:pt x="746874" y="1553778"/>
                    <a:pt x="999379" y="1553778"/>
                  </a:cubicBezTo>
                  <a:cubicBezTo>
                    <a:pt x="1162388" y="1553778"/>
                    <a:pt x="1305472" y="1468470"/>
                    <a:pt x="1385427" y="1339435"/>
                  </a:cubicBezTo>
                  <a:lnTo>
                    <a:pt x="1785689" y="1613205"/>
                  </a:lnTo>
                  <a:lnTo>
                    <a:pt x="1785689" y="1387583"/>
                  </a:lnTo>
                  <a:lnTo>
                    <a:pt x="2115709" y="1387583"/>
                  </a:lnTo>
                  <a:lnTo>
                    <a:pt x="2115709" y="1194193"/>
                  </a:lnTo>
                  <a:lnTo>
                    <a:pt x="1785689" y="1194193"/>
                  </a:lnTo>
                  <a:lnTo>
                    <a:pt x="1785689" y="968571"/>
                  </a:lnTo>
                  <a:lnTo>
                    <a:pt x="1442834" y="1203076"/>
                  </a:lnTo>
                  <a:cubicBezTo>
                    <a:pt x="1452238" y="1169106"/>
                    <a:pt x="1456579" y="1133349"/>
                    <a:pt x="1456579" y="1096578"/>
                  </a:cubicBezTo>
                  <a:cubicBezTo>
                    <a:pt x="1456579" y="1012997"/>
                    <a:pt x="1434151" y="934654"/>
                    <a:pt x="1393297" y="868220"/>
                  </a:cubicBezTo>
                  <a:cubicBezTo>
                    <a:pt x="1393106" y="867646"/>
                    <a:pt x="1392810" y="867132"/>
                    <a:pt x="1392448" y="866656"/>
                  </a:cubicBezTo>
                  <a:cubicBezTo>
                    <a:pt x="1377647" y="837655"/>
                    <a:pt x="1358306" y="811522"/>
                    <a:pt x="1335388" y="788705"/>
                  </a:cubicBezTo>
                  <a:cubicBezTo>
                    <a:pt x="1335328" y="788596"/>
                    <a:pt x="1335246" y="788507"/>
                    <a:pt x="1335157" y="788425"/>
                  </a:cubicBezTo>
                  <a:cubicBezTo>
                    <a:pt x="1296816" y="744516"/>
                    <a:pt x="1249305" y="709147"/>
                    <a:pt x="1195456" y="685139"/>
                  </a:cubicBezTo>
                  <a:cubicBezTo>
                    <a:pt x="1168878" y="668452"/>
                    <a:pt x="1138908" y="657520"/>
                    <a:pt x="1106711" y="653382"/>
                  </a:cubicBezTo>
                  <a:cubicBezTo>
                    <a:pt x="1100591" y="650570"/>
                    <a:pt x="1094113" y="649156"/>
                    <a:pt x="1087511" y="648263"/>
                  </a:cubicBezTo>
                  <a:cubicBezTo>
                    <a:pt x="1079872" y="644257"/>
                    <a:pt x="1071681" y="642933"/>
                    <a:pt x="1063417" y="641838"/>
                  </a:cubicBezTo>
                  <a:lnTo>
                    <a:pt x="1063471" y="641909"/>
                  </a:lnTo>
                  <a:cubicBezTo>
                    <a:pt x="1064754" y="643193"/>
                    <a:pt x="1063471" y="643193"/>
                    <a:pt x="1064754" y="644475"/>
                  </a:cubicBezTo>
                  <a:cubicBezTo>
                    <a:pt x="1064754" y="644540"/>
                    <a:pt x="1064758" y="644601"/>
                    <a:pt x="1065059" y="644628"/>
                  </a:cubicBezTo>
                  <a:lnTo>
                    <a:pt x="999645" y="639378"/>
                  </a:lnTo>
                  <a:lnTo>
                    <a:pt x="999499" y="639390"/>
                  </a:lnTo>
                  <a:close/>
                  <a:moveTo>
                    <a:pt x="2420008" y="517582"/>
                  </a:moveTo>
                  <a:lnTo>
                    <a:pt x="2420242" y="517582"/>
                  </a:lnTo>
                  <a:lnTo>
                    <a:pt x="2420008" y="518739"/>
                  </a:lnTo>
                  <a:close/>
                  <a:moveTo>
                    <a:pt x="311517" y="382148"/>
                  </a:moveTo>
                  <a:lnTo>
                    <a:pt x="956736" y="425169"/>
                  </a:lnTo>
                  <a:lnTo>
                    <a:pt x="956736" y="424822"/>
                  </a:lnTo>
                  <a:lnTo>
                    <a:pt x="2419502" y="521246"/>
                  </a:lnTo>
                  <a:lnTo>
                    <a:pt x="2419041" y="523529"/>
                  </a:lnTo>
                  <a:cubicBezTo>
                    <a:pt x="2457627" y="527513"/>
                    <a:pt x="2492277" y="546825"/>
                    <a:pt x="2489692" y="585709"/>
                  </a:cubicBezTo>
                  <a:lnTo>
                    <a:pt x="2488840" y="670935"/>
                  </a:lnTo>
                  <a:lnTo>
                    <a:pt x="2487534" y="671173"/>
                  </a:lnTo>
                  <a:lnTo>
                    <a:pt x="2421648" y="1671080"/>
                  </a:lnTo>
                  <a:cubicBezTo>
                    <a:pt x="2408325" y="1707656"/>
                    <a:pt x="2386877" y="1726260"/>
                    <a:pt x="2359534" y="1724079"/>
                  </a:cubicBezTo>
                  <a:lnTo>
                    <a:pt x="145534" y="1736658"/>
                  </a:lnTo>
                  <a:cubicBezTo>
                    <a:pt x="174077" y="1308592"/>
                    <a:pt x="202622" y="880528"/>
                    <a:pt x="231160" y="452462"/>
                  </a:cubicBezTo>
                  <a:cubicBezTo>
                    <a:pt x="233930" y="410856"/>
                    <a:pt x="269910" y="379374"/>
                    <a:pt x="311517" y="382148"/>
                  </a:cubicBezTo>
                  <a:close/>
                  <a:moveTo>
                    <a:pt x="1300253" y="0"/>
                  </a:moveTo>
                  <a:lnTo>
                    <a:pt x="2203833" y="0"/>
                  </a:lnTo>
                  <a:cubicBezTo>
                    <a:pt x="2251087" y="0"/>
                    <a:pt x="2290930" y="31720"/>
                    <a:pt x="2301543" y="75508"/>
                  </a:cubicBezTo>
                  <a:lnTo>
                    <a:pt x="2302960" y="75508"/>
                  </a:lnTo>
                  <a:lnTo>
                    <a:pt x="2302960" y="153340"/>
                  </a:lnTo>
                  <a:cubicBezTo>
                    <a:pt x="2302960" y="185560"/>
                    <a:pt x="2322135" y="213304"/>
                    <a:pt x="2349730" y="225539"/>
                  </a:cubicBezTo>
                  <a:lnTo>
                    <a:pt x="2352691" y="225539"/>
                  </a:lnTo>
                  <a:cubicBezTo>
                    <a:pt x="2390137" y="225539"/>
                    <a:pt x="2420490" y="255892"/>
                    <a:pt x="2420490" y="293337"/>
                  </a:cubicBezTo>
                  <a:lnTo>
                    <a:pt x="2420490" y="478155"/>
                  </a:lnTo>
                  <a:lnTo>
                    <a:pt x="2420008" y="478155"/>
                  </a:lnTo>
                  <a:lnTo>
                    <a:pt x="2418385" y="478044"/>
                  </a:lnTo>
                  <a:lnTo>
                    <a:pt x="2418385" y="477489"/>
                  </a:lnTo>
                  <a:lnTo>
                    <a:pt x="955892" y="376628"/>
                  </a:lnTo>
                  <a:lnTo>
                    <a:pt x="995936" y="380425"/>
                  </a:lnTo>
                  <a:lnTo>
                    <a:pt x="953777" y="377532"/>
                  </a:lnTo>
                  <a:lnTo>
                    <a:pt x="953797" y="377981"/>
                  </a:lnTo>
                  <a:lnTo>
                    <a:pt x="265757" y="332107"/>
                  </a:lnTo>
                  <a:cubicBezTo>
                    <a:pt x="221689" y="329168"/>
                    <a:pt x="183585" y="362511"/>
                    <a:pt x="180646" y="406578"/>
                  </a:cubicBezTo>
                  <a:lnTo>
                    <a:pt x="92708" y="1725472"/>
                  </a:lnTo>
                  <a:lnTo>
                    <a:pt x="75504" y="1725472"/>
                  </a:lnTo>
                  <a:cubicBezTo>
                    <a:pt x="33806" y="1725472"/>
                    <a:pt x="0" y="1691667"/>
                    <a:pt x="0" y="1649970"/>
                  </a:cubicBezTo>
                  <a:lnTo>
                    <a:pt x="4" y="307622"/>
                  </a:lnTo>
                  <a:cubicBezTo>
                    <a:pt x="0" y="265921"/>
                    <a:pt x="33806" y="232116"/>
                    <a:pt x="75504" y="232116"/>
                  </a:cubicBezTo>
                  <a:lnTo>
                    <a:pt x="996290" y="232116"/>
                  </a:lnTo>
                  <a:lnTo>
                    <a:pt x="997952" y="231729"/>
                  </a:lnTo>
                  <a:lnTo>
                    <a:pt x="1163695" y="231729"/>
                  </a:lnTo>
                  <a:cubicBezTo>
                    <a:pt x="1186126" y="231729"/>
                    <a:pt x="1204309" y="213546"/>
                    <a:pt x="1204309" y="191115"/>
                  </a:cubicBezTo>
                  <a:lnTo>
                    <a:pt x="1204309" y="71429"/>
                  </a:lnTo>
                  <a:cubicBezTo>
                    <a:pt x="1215773" y="29676"/>
                    <a:pt x="1254548" y="0"/>
                    <a:pt x="13002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12" tIns="46607" rIns="46607" bIns="93212" anchor="b"/>
            <a:lstStyle/>
            <a:p>
              <a:pPr algn="ctr" defTabSz="931545" eaLnBrk="1" hangingPunct="1">
                <a:defRPr/>
              </a:pPr>
              <a:endParaRPr lang="en-US" spc="-51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4822" name="组合 43"/>
          <p:cNvGrpSpPr/>
          <p:nvPr/>
        </p:nvGrpSpPr>
        <p:grpSpPr bwMode="auto">
          <a:xfrm>
            <a:off x="6321425" y="3200400"/>
            <a:ext cx="1168400" cy="1152525"/>
            <a:chOff x="6321106" y="3200472"/>
            <a:chExt cx="1169032" cy="1152153"/>
          </a:xfrm>
        </p:grpSpPr>
        <p:sp>
          <p:nvSpPr>
            <p:cNvPr id="7" name="Orange"/>
            <p:cNvSpPr/>
            <p:nvPr/>
          </p:nvSpPr>
          <p:spPr bwMode="auto">
            <a:xfrm>
              <a:off x="6321106" y="3200472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4838" name="Picture 4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4197" y="3475829"/>
              <a:ext cx="640147" cy="640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4823" name="组合 42"/>
          <p:cNvGrpSpPr/>
          <p:nvPr/>
        </p:nvGrpSpPr>
        <p:grpSpPr bwMode="auto">
          <a:xfrm>
            <a:off x="7559675" y="3219450"/>
            <a:ext cx="1169988" cy="1152525"/>
            <a:chOff x="7560321" y="3219827"/>
            <a:chExt cx="1169032" cy="1152153"/>
          </a:xfrm>
        </p:grpSpPr>
        <p:sp>
          <p:nvSpPr>
            <p:cNvPr id="8" name="Orange"/>
            <p:cNvSpPr/>
            <p:nvPr/>
          </p:nvSpPr>
          <p:spPr bwMode="auto">
            <a:xfrm>
              <a:off x="7560321" y="3219827"/>
              <a:ext cx="1169032" cy="1152153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83"/>
            <p:cNvSpPr>
              <a:spLocks noEditPoints="1"/>
            </p:cNvSpPr>
            <p:nvPr/>
          </p:nvSpPr>
          <p:spPr bwMode="black">
            <a:xfrm>
              <a:off x="7902941" y="3503898"/>
              <a:ext cx="515516" cy="544336"/>
            </a:xfrm>
            <a:custGeom>
              <a:avLst/>
              <a:gdLst>
                <a:gd name="T0" fmla="*/ 502 w 2107"/>
                <a:gd name="T1" fmla="*/ 1162 h 2221"/>
                <a:gd name="T2" fmla="*/ 239 w 2107"/>
                <a:gd name="T3" fmla="*/ 2072 h 2221"/>
                <a:gd name="T4" fmla="*/ 1587 w 2107"/>
                <a:gd name="T5" fmla="*/ 1800 h 2221"/>
                <a:gd name="T6" fmla="*/ 1487 w 2107"/>
                <a:gd name="T7" fmla="*/ 1835 h 2221"/>
                <a:gd name="T8" fmla="*/ 1579 w 2107"/>
                <a:gd name="T9" fmla="*/ 1870 h 2221"/>
                <a:gd name="T10" fmla="*/ 1470 w 2107"/>
                <a:gd name="T11" fmla="*/ 1847 h 2221"/>
                <a:gd name="T12" fmla="*/ 983 w 2107"/>
                <a:gd name="T13" fmla="*/ 1837 h 2221"/>
                <a:gd name="T14" fmla="*/ 1062 w 2107"/>
                <a:gd name="T15" fmla="*/ 1872 h 2221"/>
                <a:gd name="T16" fmla="*/ 956 w 2107"/>
                <a:gd name="T17" fmla="*/ 1951 h 2221"/>
                <a:gd name="T18" fmla="*/ 1046 w 2107"/>
                <a:gd name="T19" fmla="*/ 1970 h 2221"/>
                <a:gd name="T20" fmla="*/ 820 w 2107"/>
                <a:gd name="T21" fmla="*/ 1872 h 2221"/>
                <a:gd name="T22" fmla="*/ 899 w 2107"/>
                <a:gd name="T23" fmla="*/ 1836 h 2221"/>
                <a:gd name="T24" fmla="*/ 841 w 2107"/>
                <a:gd name="T25" fmla="*/ 1886 h 2221"/>
                <a:gd name="T26" fmla="*/ 905 w 2107"/>
                <a:gd name="T27" fmla="*/ 1920 h 2221"/>
                <a:gd name="T28" fmla="*/ 882 w 2107"/>
                <a:gd name="T29" fmla="*/ 1971 h 2221"/>
                <a:gd name="T30" fmla="*/ 687 w 2107"/>
                <a:gd name="T31" fmla="*/ 1847 h 2221"/>
                <a:gd name="T32" fmla="*/ 780 w 2107"/>
                <a:gd name="T33" fmla="*/ 1844 h 2221"/>
                <a:gd name="T34" fmla="*/ 760 w 2107"/>
                <a:gd name="T35" fmla="*/ 1882 h 2221"/>
                <a:gd name="T36" fmla="*/ 703 w 2107"/>
                <a:gd name="T37" fmla="*/ 1912 h 2221"/>
                <a:gd name="T38" fmla="*/ 682 w 2107"/>
                <a:gd name="T39" fmla="*/ 1972 h 2221"/>
                <a:gd name="T40" fmla="*/ 647 w 2107"/>
                <a:gd name="T41" fmla="*/ 1928 h 2221"/>
                <a:gd name="T42" fmla="*/ 631 w 2107"/>
                <a:gd name="T43" fmla="*/ 1862 h 2221"/>
                <a:gd name="T44" fmla="*/ 545 w 2107"/>
                <a:gd name="T45" fmla="*/ 2017 h 2221"/>
                <a:gd name="T46" fmla="*/ 416 w 2107"/>
                <a:gd name="T47" fmla="*/ 2078 h 2221"/>
                <a:gd name="T48" fmla="*/ 435 w 2107"/>
                <a:gd name="T49" fmla="*/ 2014 h 2221"/>
                <a:gd name="T50" fmla="*/ 538 w 2107"/>
                <a:gd name="T51" fmla="*/ 2006 h 2221"/>
                <a:gd name="T52" fmla="*/ 520 w 2107"/>
                <a:gd name="T53" fmla="*/ 1973 h 2221"/>
                <a:gd name="T54" fmla="*/ 490 w 2107"/>
                <a:gd name="T55" fmla="*/ 1930 h 2221"/>
                <a:gd name="T56" fmla="*/ 587 w 2107"/>
                <a:gd name="T57" fmla="*/ 1913 h 2221"/>
                <a:gd name="T58" fmla="*/ 1055 w 2107"/>
                <a:gd name="T59" fmla="*/ 2071 h 2221"/>
                <a:gd name="T60" fmla="*/ 605 w 2107"/>
                <a:gd name="T61" fmla="*/ 2078 h 2221"/>
                <a:gd name="T62" fmla="*/ 613 w 2107"/>
                <a:gd name="T63" fmla="*/ 2010 h 2221"/>
                <a:gd name="T64" fmla="*/ 1046 w 2107"/>
                <a:gd name="T65" fmla="*/ 2003 h 2221"/>
                <a:gd name="T66" fmla="*/ 1113 w 2107"/>
                <a:gd name="T67" fmla="*/ 1877 h 2221"/>
                <a:gd name="T68" fmla="*/ 1176 w 2107"/>
                <a:gd name="T69" fmla="*/ 1835 h 2221"/>
                <a:gd name="T70" fmla="*/ 1137 w 2107"/>
                <a:gd name="T71" fmla="*/ 1885 h 2221"/>
                <a:gd name="T72" fmla="*/ 1115 w 2107"/>
                <a:gd name="T73" fmla="*/ 1926 h 2221"/>
                <a:gd name="T74" fmla="*/ 1215 w 2107"/>
                <a:gd name="T75" fmla="*/ 1968 h 2221"/>
                <a:gd name="T76" fmla="*/ 1135 w 2107"/>
                <a:gd name="T77" fmla="*/ 1970 h 2221"/>
                <a:gd name="T78" fmla="*/ 1146 w 2107"/>
                <a:gd name="T79" fmla="*/ 2075 h 2221"/>
                <a:gd name="T80" fmla="*/ 1122 w 2107"/>
                <a:gd name="T81" fmla="*/ 2019 h 2221"/>
                <a:gd name="T82" fmla="*/ 1139 w 2107"/>
                <a:gd name="T83" fmla="*/ 2003 h 2221"/>
                <a:gd name="T84" fmla="*/ 1217 w 2107"/>
                <a:gd name="T85" fmla="*/ 2003 h 2221"/>
                <a:gd name="T86" fmla="*/ 1337 w 2107"/>
                <a:gd name="T87" fmla="*/ 1868 h 2221"/>
                <a:gd name="T88" fmla="*/ 1411 w 2107"/>
                <a:gd name="T89" fmla="*/ 1838 h 2221"/>
                <a:gd name="T90" fmla="*/ 1425 w 2107"/>
                <a:gd name="T91" fmla="*/ 1883 h 2221"/>
                <a:gd name="T92" fmla="*/ 1359 w 2107"/>
                <a:gd name="T93" fmla="*/ 1927 h 2221"/>
                <a:gd name="T94" fmla="*/ 1476 w 2107"/>
                <a:gd name="T95" fmla="*/ 1956 h 2221"/>
                <a:gd name="T96" fmla="*/ 1461 w 2107"/>
                <a:gd name="T97" fmla="*/ 1970 h 2221"/>
                <a:gd name="T98" fmla="*/ 1511 w 2107"/>
                <a:gd name="T99" fmla="*/ 2075 h 2221"/>
                <a:gd name="T100" fmla="*/ 1393 w 2107"/>
                <a:gd name="T101" fmla="*/ 2019 h 2221"/>
                <a:gd name="T102" fmla="*/ 1475 w 2107"/>
                <a:gd name="T103" fmla="*/ 2001 h 2221"/>
                <a:gd name="T104" fmla="*/ 1681 w 2107"/>
                <a:gd name="T105" fmla="*/ 2018 h 2221"/>
                <a:gd name="T106" fmla="*/ 1623 w 2107"/>
                <a:gd name="T107" fmla="*/ 2075 h 2221"/>
                <a:gd name="T108" fmla="*/ 1639 w 2107"/>
                <a:gd name="T109" fmla="*/ 2000 h 2221"/>
                <a:gd name="T110" fmla="*/ 1630 w 2107"/>
                <a:gd name="T111" fmla="*/ 1969 h 2221"/>
                <a:gd name="T112" fmla="*/ 1532 w 2107"/>
                <a:gd name="T113" fmla="*/ 1910 h 2221"/>
                <a:gd name="T114" fmla="*/ 933 w 2107"/>
                <a:gd name="T115" fmla="*/ 1308 h 2221"/>
                <a:gd name="T116" fmla="*/ 9 w 2107"/>
                <a:gd name="T117" fmla="*/ 909 h 2221"/>
                <a:gd name="T118" fmla="*/ 413 w 2107"/>
                <a:gd name="T119" fmla="*/ 386 h 2221"/>
                <a:gd name="T120" fmla="*/ 1700 w 2107"/>
                <a:gd name="T121" fmla="*/ 556 h 2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07" h="2221">
                  <a:moveTo>
                    <a:pt x="2107" y="809"/>
                  </a:moveTo>
                  <a:cubicBezTo>
                    <a:pt x="2106" y="786"/>
                    <a:pt x="2103" y="764"/>
                    <a:pt x="2098" y="742"/>
                  </a:cubicBezTo>
                  <a:cubicBezTo>
                    <a:pt x="2098" y="745"/>
                    <a:pt x="2098" y="747"/>
                    <a:pt x="2098" y="749"/>
                  </a:cubicBezTo>
                  <a:cubicBezTo>
                    <a:pt x="2096" y="810"/>
                    <a:pt x="2076" y="869"/>
                    <a:pt x="2040" y="926"/>
                  </a:cubicBezTo>
                  <a:cubicBezTo>
                    <a:pt x="2018" y="961"/>
                    <a:pt x="1988" y="995"/>
                    <a:pt x="1953" y="1027"/>
                  </a:cubicBezTo>
                  <a:cubicBezTo>
                    <a:pt x="1918" y="1064"/>
                    <a:pt x="1873" y="1098"/>
                    <a:pt x="1819" y="1131"/>
                  </a:cubicBezTo>
                  <a:cubicBezTo>
                    <a:pt x="1777" y="1156"/>
                    <a:pt x="1731" y="1178"/>
                    <a:pt x="1682" y="1198"/>
                  </a:cubicBezTo>
                  <a:cubicBezTo>
                    <a:pt x="1682" y="1061"/>
                    <a:pt x="1682" y="1061"/>
                    <a:pt x="1682" y="1061"/>
                  </a:cubicBezTo>
                  <a:cubicBezTo>
                    <a:pt x="1682" y="1059"/>
                    <a:pt x="1682" y="1058"/>
                    <a:pt x="1682" y="1056"/>
                  </a:cubicBezTo>
                  <a:cubicBezTo>
                    <a:pt x="1680" y="988"/>
                    <a:pt x="1624" y="933"/>
                    <a:pt x="1554" y="933"/>
                  </a:cubicBezTo>
                  <a:cubicBezTo>
                    <a:pt x="555" y="933"/>
                    <a:pt x="555" y="933"/>
                    <a:pt x="555" y="933"/>
                  </a:cubicBezTo>
                  <a:cubicBezTo>
                    <a:pt x="484" y="933"/>
                    <a:pt x="426" y="990"/>
                    <a:pt x="426" y="1061"/>
                  </a:cubicBezTo>
                  <a:cubicBezTo>
                    <a:pt x="426" y="1141"/>
                    <a:pt x="426" y="1141"/>
                    <a:pt x="426" y="1141"/>
                  </a:cubicBezTo>
                  <a:cubicBezTo>
                    <a:pt x="430" y="1142"/>
                    <a:pt x="430" y="1142"/>
                    <a:pt x="430" y="1142"/>
                  </a:cubicBezTo>
                  <a:cubicBezTo>
                    <a:pt x="430" y="1143"/>
                    <a:pt x="459" y="1152"/>
                    <a:pt x="502" y="1162"/>
                  </a:cubicBezTo>
                  <a:cubicBezTo>
                    <a:pt x="502" y="1069"/>
                    <a:pt x="502" y="1069"/>
                    <a:pt x="502" y="1069"/>
                  </a:cubicBezTo>
                  <a:cubicBezTo>
                    <a:pt x="502" y="1032"/>
                    <a:pt x="531" y="1003"/>
                    <a:pt x="568" y="1003"/>
                  </a:cubicBezTo>
                  <a:cubicBezTo>
                    <a:pt x="1541" y="1003"/>
                    <a:pt x="1541" y="1003"/>
                    <a:pt x="1541" y="1003"/>
                  </a:cubicBezTo>
                  <a:cubicBezTo>
                    <a:pt x="1577" y="1003"/>
                    <a:pt x="1607" y="1032"/>
                    <a:pt x="1607" y="1069"/>
                  </a:cubicBezTo>
                  <a:cubicBezTo>
                    <a:pt x="1607" y="1668"/>
                    <a:pt x="1607" y="1668"/>
                    <a:pt x="1607" y="1668"/>
                  </a:cubicBezTo>
                  <a:cubicBezTo>
                    <a:pt x="1607" y="1704"/>
                    <a:pt x="1577" y="1734"/>
                    <a:pt x="1541" y="1734"/>
                  </a:cubicBezTo>
                  <a:cubicBezTo>
                    <a:pt x="568" y="1734"/>
                    <a:pt x="568" y="1734"/>
                    <a:pt x="568" y="1734"/>
                  </a:cubicBezTo>
                  <a:cubicBezTo>
                    <a:pt x="531" y="1734"/>
                    <a:pt x="502" y="1704"/>
                    <a:pt x="502" y="1668"/>
                  </a:cubicBezTo>
                  <a:cubicBezTo>
                    <a:pt x="502" y="1541"/>
                    <a:pt x="502" y="1541"/>
                    <a:pt x="502" y="1541"/>
                  </a:cubicBezTo>
                  <a:cubicBezTo>
                    <a:pt x="476" y="1535"/>
                    <a:pt x="451" y="1528"/>
                    <a:pt x="426" y="1520"/>
                  </a:cubicBezTo>
                  <a:cubicBezTo>
                    <a:pt x="426" y="1676"/>
                    <a:pt x="426" y="1676"/>
                    <a:pt x="426" y="1676"/>
                  </a:cubicBezTo>
                  <a:cubicBezTo>
                    <a:pt x="426" y="1736"/>
                    <a:pt x="467" y="1786"/>
                    <a:pt x="523" y="1800"/>
                  </a:cubicBezTo>
                  <a:cubicBezTo>
                    <a:pt x="491" y="1802"/>
                    <a:pt x="456" y="1813"/>
                    <a:pt x="435" y="1837"/>
                  </a:cubicBezTo>
                  <a:cubicBezTo>
                    <a:pt x="419" y="1857"/>
                    <a:pt x="403" y="1876"/>
                    <a:pt x="387" y="1895"/>
                  </a:cubicBezTo>
                  <a:cubicBezTo>
                    <a:pt x="337" y="1954"/>
                    <a:pt x="288" y="2013"/>
                    <a:pt x="239" y="2072"/>
                  </a:cubicBezTo>
                  <a:cubicBezTo>
                    <a:pt x="227" y="2086"/>
                    <a:pt x="203" y="2107"/>
                    <a:pt x="203" y="2127"/>
                  </a:cubicBezTo>
                  <a:cubicBezTo>
                    <a:pt x="203" y="2183"/>
                    <a:pt x="203" y="2183"/>
                    <a:pt x="203" y="2183"/>
                  </a:cubicBezTo>
                  <a:cubicBezTo>
                    <a:pt x="204" y="2190"/>
                    <a:pt x="206" y="2197"/>
                    <a:pt x="209" y="2202"/>
                  </a:cubicBezTo>
                  <a:cubicBezTo>
                    <a:pt x="222" y="2220"/>
                    <a:pt x="247" y="2221"/>
                    <a:pt x="267" y="2221"/>
                  </a:cubicBezTo>
                  <a:cubicBezTo>
                    <a:pt x="295" y="2221"/>
                    <a:pt x="1759" y="2221"/>
                    <a:pt x="1804" y="2221"/>
                  </a:cubicBezTo>
                  <a:cubicBezTo>
                    <a:pt x="1826" y="2221"/>
                    <a:pt x="1850" y="2219"/>
                    <a:pt x="1871" y="2214"/>
                  </a:cubicBezTo>
                  <a:cubicBezTo>
                    <a:pt x="1886" y="2211"/>
                    <a:pt x="1903" y="2203"/>
                    <a:pt x="1905" y="2186"/>
                  </a:cubicBezTo>
                  <a:cubicBezTo>
                    <a:pt x="1905" y="2126"/>
                    <a:pt x="1905" y="2126"/>
                    <a:pt x="1905" y="2126"/>
                  </a:cubicBezTo>
                  <a:cubicBezTo>
                    <a:pt x="1907" y="2113"/>
                    <a:pt x="1899" y="2100"/>
                    <a:pt x="1891" y="2091"/>
                  </a:cubicBezTo>
                  <a:cubicBezTo>
                    <a:pt x="1887" y="2086"/>
                    <a:pt x="1883" y="2081"/>
                    <a:pt x="1879" y="2077"/>
                  </a:cubicBezTo>
                  <a:cubicBezTo>
                    <a:pt x="1858" y="2052"/>
                    <a:pt x="1837" y="2027"/>
                    <a:pt x="1816" y="2003"/>
                  </a:cubicBezTo>
                  <a:cubicBezTo>
                    <a:pt x="1770" y="1948"/>
                    <a:pt x="1724" y="1894"/>
                    <a:pt x="1678" y="1840"/>
                  </a:cubicBezTo>
                  <a:cubicBezTo>
                    <a:pt x="1676" y="1837"/>
                    <a:pt x="1674" y="1834"/>
                    <a:pt x="1671" y="1832"/>
                  </a:cubicBezTo>
                  <a:cubicBezTo>
                    <a:pt x="1662" y="1820"/>
                    <a:pt x="1647" y="1813"/>
                    <a:pt x="1633" y="1809"/>
                  </a:cubicBezTo>
                  <a:cubicBezTo>
                    <a:pt x="1618" y="1804"/>
                    <a:pt x="1603" y="1801"/>
                    <a:pt x="1587" y="1800"/>
                  </a:cubicBezTo>
                  <a:cubicBezTo>
                    <a:pt x="1642" y="1785"/>
                    <a:pt x="1682" y="1735"/>
                    <a:pt x="1682" y="1676"/>
                  </a:cubicBezTo>
                  <a:cubicBezTo>
                    <a:pt x="1682" y="1462"/>
                    <a:pt x="1682" y="1462"/>
                    <a:pt x="1682" y="1462"/>
                  </a:cubicBezTo>
                  <a:cubicBezTo>
                    <a:pt x="1698" y="1455"/>
                    <a:pt x="1714" y="1448"/>
                    <a:pt x="1730" y="1441"/>
                  </a:cubicBezTo>
                  <a:cubicBezTo>
                    <a:pt x="1801" y="1408"/>
                    <a:pt x="1863" y="1368"/>
                    <a:pt x="1916" y="1325"/>
                  </a:cubicBezTo>
                  <a:cubicBezTo>
                    <a:pt x="1946" y="1300"/>
                    <a:pt x="1972" y="1273"/>
                    <a:pt x="1995" y="1246"/>
                  </a:cubicBezTo>
                  <a:cubicBezTo>
                    <a:pt x="2018" y="1218"/>
                    <a:pt x="2037" y="1187"/>
                    <a:pt x="2054" y="1154"/>
                  </a:cubicBezTo>
                  <a:cubicBezTo>
                    <a:pt x="2068" y="1124"/>
                    <a:pt x="2079" y="1090"/>
                    <a:pt x="2084" y="1054"/>
                  </a:cubicBezTo>
                  <a:cubicBezTo>
                    <a:pt x="2086" y="1040"/>
                    <a:pt x="2087" y="1026"/>
                    <a:pt x="2089" y="1013"/>
                  </a:cubicBezTo>
                  <a:cubicBezTo>
                    <a:pt x="2089" y="1008"/>
                    <a:pt x="2090" y="1003"/>
                    <a:pt x="2090" y="998"/>
                  </a:cubicBezTo>
                  <a:cubicBezTo>
                    <a:pt x="2102" y="877"/>
                    <a:pt x="2102" y="877"/>
                    <a:pt x="2102" y="877"/>
                  </a:cubicBezTo>
                  <a:cubicBezTo>
                    <a:pt x="2103" y="874"/>
                    <a:pt x="2103" y="870"/>
                    <a:pt x="2103" y="867"/>
                  </a:cubicBezTo>
                  <a:cubicBezTo>
                    <a:pt x="2105" y="848"/>
                    <a:pt x="2107" y="829"/>
                    <a:pt x="2107" y="809"/>
                  </a:cubicBezTo>
                  <a:close/>
                  <a:moveTo>
                    <a:pt x="1474" y="1837"/>
                  </a:moveTo>
                  <a:cubicBezTo>
                    <a:pt x="1475" y="1836"/>
                    <a:pt x="1476" y="1836"/>
                    <a:pt x="1478" y="1836"/>
                  </a:cubicBezTo>
                  <a:cubicBezTo>
                    <a:pt x="1481" y="1835"/>
                    <a:pt x="1483" y="1835"/>
                    <a:pt x="1487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492" y="1835"/>
                    <a:pt x="1492" y="1835"/>
                    <a:pt x="1492" y="1835"/>
                  </a:cubicBezTo>
                  <a:cubicBezTo>
                    <a:pt x="1502" y="1835"/>
                    <a:pt x="1511" y="1835"/>
                    <a:pt x="1521" y="1835"/>
                  </a:cubicBezTo>
                  <a:cubicBezTo>
                    <a:pt x="1521" y="1835"/>
                    <a:pt x="1521" y="1835"/>
                    <a:pt x="1521" y="1835"/>
                  </a:cubicBezTo>
                  <a:cubicBezTo>
                    <a:pt x="1531" y="1835"/>
                    <a:pt x="1531" y="1835"/>
                    <a:pt x="1531" y="1835"/>
                  </a:cubicBezTo>
                  <a:cubicBezTo>
                    <a:pt x="1534" y="1834"/>
                    <a:pt x="1538" y="1835"/>
                    <a:pt x="1541" y="1835"/>
                  </a:cubicBezTo>
                  <a:cubicBezTo>
                    <a:pt x="1543" y="1836"/>
                    <a:pt x="1546" y="1836"/>
                    <a:pt x="1548" y="1837"/>
                  </a:cubicBezTo>
                  <a:cubicBezTo>
                    <a:pt x="1548" y="1837"/>
                    <a:pt x="1548" y="1837"/>
                    <a:pt x="1548" y="1837"/>
                  </a:cubicBezTo>
                  <a:cubicBezTo>
                    <a:pt x="1549" y="1837"/>
                    <a:pt x="1549" y="1838"/>
                    <a:pt x="1549" y="1838"/>
                  </a:cubicBezTo>
                  <a:cubicBezTo>
                    <a:pt x="1550" y="1838"/>
                    <a:pt x="1550" y="1838"/>
                    <a:pt x="1550" y="1838"/>
                  </a:cubicBezTo>
                  <a:cubicBezTo>
                    <a:pt x="1553" y="1839"/>
                    <a:pt x="1556" y="1840"/>
                    <a:pt x="1558" y="1842"/>
                  </a:cubicBezTo>
                  <a:cubicBezTo>
                    <a:pt x="1560" y="1843"/>
                    <a:pt x="1562" y="1845"/>
                    <a:pt x="1563" y="1847"/>
                  </a:cubicBezTo>
                  <a:cubicBezTo>
                    <a:pt x="1571" y="1858"/>
                    <a:pt x="1571" y="1858"/>
                    <a:pt x="1571" y="1858"/>
                  </a:cubicBezTo>
                  <a:cubicBezTo>
                    <a:pt x="1573" y="1861"/>
                    <a:pt x="1577" y="1865"/>
                    <a:pt x="1579" y="1870"/>
                  </a:cubicBezTo>
                  <a:cubicBezTo>
                    <a:pt x="1579" y="1870"/>
                    <a:pt x="1579" y="1870"/>
                    <a:pt x="1579" y="1870"/>
                  </a:cubicBezTo>
                  <a:cubicBezTo>
                    <a:pt x="1581" y="1872"/>
                    <a:pt x="1581" y="1874"/>
                    <a:pt x="1581" y="1876"/>
                  </a:cubicBezTo>
                  <a:cubicBezTo>
                    <a:pt x="1581" y="1877"/>
                    <a:pt x="1580" y="1878"/>
                    <a:pt x="1579" y="1879"/>
                  </a:cubicBezTo>
                  <a:cubicBezTo>
                    <a:pt x="1579" y="1879"/>
                    <a:pt x="1579" y="1880"/>
                    <a:pt x="1579" y="1880"/>
                  </a:cubicBezTo>
                  <a:cubicBezTo>
                    <a:pt x="1579" y="1880"/>
                    <a:pt x="1579" y="1880"/>
                    <a:pt x="1579" y="1880"/>
                  </a:cubicBezTo>
                  <a:cubicBezTo>
                    <a:pt x="1578" y="1880"/>
                    <a:pt x="1578" y="1880"/>
                    <a:pt x="1578" y="1880"/>
                  </a:cubicBezTo>
                  <a:cubicBezTo>
                    <a:pt x="1578" y="1880"/>
                    <a:pt x="1578" y="1881"/>
                    <a:pt x="1577" y="1881"/>
                  </a:cubicBezTo>
                  <a:cubicBezTo>
                    <a:pt x="1577" y="1881"/>
                    <a:pt x="1577" y="1881"/>
                    <a:pt x="1576" y="1881"/>
                  </a:cubicBezTo>
                  <a:cubicBezTo>
                    <a:pt x="1576" y="1881"/>
                    <a:pt x="1576" y="1882"/>
                    <a:pt x="1575" y="1882"/>
                  </a:cubicBezTo>
                  <a:cubicBezTo>
                    <a:pt x="1569" y="1885"/>
                    <a:pt x="1560" y="1884"/>
                    <a:pt x="1553" y="1884"/>
                  </a:cubicBezTo>
                  <a:cubicBezTo>
                    <a:pt x="1516" y="1884"/>
                    <a:pt x="1516" y="1884"/>
                    <a:pt x="1516" y="1884"/>
                  </a:cubicBezTo>
                  <a:cubicBezTo>
                    <a:pt x="1509" y="1884"/>
                    <a:pt x="1501" y="1883"/>
                    <a:pt x="1494" y="1879"/>
                  </a:cubicBezTo>
                  <a:cubicBezTo>
                    <a:pt x="1492" y="1878"/>
                    <a:pt x="1490" y="1877"/>
                    <a:pt x="1488" y="1876"/>
                  </a:cubicBezTo>
                  <a:cubicBezTo>
                    <a:pt x="1486" y="1874"/>
                    <a:pt x="1484" y="1872"/>
                    <a:pt x="1483" y="1871"/>
                  </a:cubicBezTo>
                  <a:cubicBezTo>
                    <a:pt x="1481" y="1868"/>
                    <a:pt x="1481" y="1868"/>
                    <a:pt x="1481" y="1868"/>
                  </a:cubicBezTo>
                  <a:cubicBezTo>
                    <a:pt x="1478" y="1861"/>
                    <a:pt x="1473" y="1854"/>
                    <a:pt x="1470" y="1847"/>
                  </a:cubicBezTo>
                  <a:cubicBezTo>
                    <a:pt x="1467" y="1842"/>
                    <a:pt x="1469" y="1839"/>
                    <a:pt x="1474" y="1837"/>
                  </a:cubicBezTo>
                  <a:close/>
                  <a:moveTo>
                    <a:pt x="965" y="1871"/>
                  </a:moveTo>
                  <a:cubicBezTo>
                    <a:pt x="966" y="1869"/>
                    <a:pt x="966" y="1868"/>
                    <a:pt x="966" y="1866"/>
                  </a:cubicBezTo>
                  <a:cubicBezTo>
                    <a:pt x="966" y="1866"/>
                    <a:pt x="966" y="1866"/>
                    <a:pt x="966" y="1866"/>
                  </a:cubicBezTo>
                  <a:cubicBezTo>
                    <a:pt x="967" y="1861"/>
                    <a:pt x="966" y="1855"/>
                    <a:pt x="968" y="1850"/>
                  </a:cubicBezTo>
                  <a:cubicBezTo>
                    <a:pt x="968" y="1848"/>
                    <a:pt x="968" y="1848"/>
                    <a:pt x="968" y="1848"/>
                  </a:cubicBezTo>
                  <a:cubicBezTo>
                    <a:pt x="968" y="1846"/>
                    <a:pt x="969" y="1845"/>
                    <a:pt x="970" y="1843"/>
                  </a:cubicBezTo>
                  <a:cubicBezTo>
                    <a:pt x="971" y="1842"/>
                    <a:pt x="973" y="1841"/>
                    <a:pt x="974" y="1841"/>
                  </a:cubicBezTo>
                  <a:cubicBezTo>
                    <a:pt x="974" y="1840"/>
                    <a:pt x="974" y="1840"/>
                    <a:pt x="974" y="1840"/>
                  </a:cubicBezTo>
                  <a:cubicBezTo>
                    <a:pt x="975" y="1840"/>
                    <a:pt x="975" y="1840"/>
                    <a:pt x="975" y="1840"/>
                  </a:cubicBezTo>
                  <a:cubicBezTo>
                    <a:pt x="976" y="1840"/>
                    <a:pt x="976" y="1839"/>
                    <a:pt x="976" y="1839"/>
                  </a:cubicBezTo>
                  <a:cubicBezTo>
                    <a:pt x="976" y="1839"/>
                    <a:pt x="977" y="1839"/>
                    <a:pt x="977" y="1839"/>
                  </a:cubicBezTo>
                  <a:cubicBezTo>
                    <a:pt x="978" y="1839"/>
                    <a:pt x="978" y="1838"/>
                    <a:pt x="979" y="1838"/>
                  </a:cubicBezTo>
                  <a:cubicBezTo>
                    <a:pt x="980" y="1838"/>
                    <a:pt x="980" y="1838"/>
                    <a:pt x="980" y="1838"/>
                  </a:cubicBezTo>
                  <a:cubicBezTo>
                    <a:pt x="981" y="1837"/>
                    <a:pt x="982" y="1837"/>
                    <a:pt x="983" y="1837"/>
                  </a:cubicBezTo>
                  <a:cubicBezTo>
                    <a:pt x="983" y="1837"/>
                    <a:pt x="984" y="1837"/>
                    <a:pt x="984" y="1837"/>
                  </a:cubicBezTo>
                  <a:cubicBezTo>
                    <a:pt x="984" y="1837"/>
                    <a:pt x="984" y="1837"/>
                    <a:pt x="985" y="1837"/>
                  </a:cubicBezTo>
                  <a:cubicBezTo>
                    <a:pt x="985" y="1837"/>
                    <a:pt x="985" y="1837"/>
                    <a:pt x="986" y="1836"/>
                  </a:cubicBezTo>
                  <a:cubicBezTo>
                    <a:pt x="988" y="1836"/>
                    <a:pt x="991" y="1836"/>
                    <a:pt x="993" y="1836"/>
                  </a:cubicBezTo>
                  <a:cubicBezTo>
                    <a:pt x="995" y="1836"/>
                    <a:pt x="995" y="1836"/>
                    <a:pt x="995" y="1836"/>
                  </a:cubicBezTo>
                  <a:cubicBezTo>
                    <a:pt x="998" y="1836"/>
                    <a:pt x="1000" y="1836"/>
                    <a:pt x="1003" y="1836"/>
                  </a:cubicBezTo>
                  <a:cubicBezTo>
                    <a:pt x="1038" y="1836"/>
                    <a:pt x="1038" y="1836"/>
                    <a:pt x="1038" y="1836"/>
                  </a:cubicBezTo>
                  <a:cubicBezTo>
                    <a:pt x="1038" y="1836"/>
                    <a:pt x="1039" y="1836"/>
                    <a:pt x="1040" y="1836"/>
                  </a:cubicBezTo>
                  <a:cubicBezTo>
                    <a:pt x="1040" y="1836"/>
                    <a:pt x="1040" y="1836"/>
                    <a:pt x="1041" y="1836"/>
                  </a:cubicBezTo>
                  <a:cubicBezTo>
                    <a:pt x="1042" y="1836"/>
                    <a:pt x="1042" y="1836"/>
                    <a:pt x="1043" y="1836"/>
                  </a:cubicBezTo>
                  <a:cubicBezTo>
                    <a:pt x="1050" y="1837"/>
                    <a:pt x="1058" y="1839"/>
                    <a:pt x="1061" y="1844"/>
                  </a:cubicBezTo>
                  <a:cubicBezTo>
                    <a:pt x="1061" y="1845"/>
                    <a:pt x="1061" y="1845"/>
                    <a:pt x="1061" y="1846"/>
                  </a:cubicBezTo>
                  <a:cubicBezTo>
                    <a:pt x="1061" y="1846"/>
                    <a:pt x="1061" y="1846"/>
                    <a:pt x="1061" y="1846"/>
                  </a:cubicBezTo>
                  <a:cubicBezTo>
                    <a:pt x="1063" y="1853"/>
                    <a:pt x="1062" y="1863"/>
                    <a:pt x="1062" y="1870"/>
                  </a:cubicBezTo>
                  <a:cubicBezTo>
                    <a:pt x="1062" y="1872"/>
                    <a:pt x="1062" y="1872"/>
                    <a:pt x="1062" y="1872"/>
                  </a:cubicBezTo>
                  <a:cubicBezTo>
                    <a:pt x="1062" y="1873"/>
                    <a:pt x="1062" y="1874"/>
                    <a:pt x="1061" y="1876"/>
                  </a:cubicBezTo>
                  <a:cubicBezTo>
                    <a:pt x="1054" y="1889"/>
                    <a:pt x="1022" y="1885"/>
                    <a:pt x="1010" y="1885"/>
                  </a:cubicBezTo>
                  <a:cubicBezTo>
                    <a:pt x="1003" y="1885"/>
                    <a:pt x="996" y="1885"/>
                    <a:pt x="989" y="1885"/>
                  </a:cubicBezTo>
                  <a:cubicBezTo>
                    <a:pt x="983" y="1885"/>
                    <a:pt x="974" y="1884"/>
                    <a:pt x="969" y="1879"/>
                  </a:cubicBezTo>
                  <a:cubicBezTo>
                    <a:pt x="969" y="1879"/>
                    <a:pt x="969" y="1879"/>
                    <a:pt x="968" y="1879"/>
                  </a:cubicBezTo>
                  <a:cubicBezTo>
                    <a:pt x="968" y="1879"/>
                    <a:pt x="968" y="1878"/>
                    <a:pt x="968" y="1878"/>
                  </a:cubicBezTo>
                  <a:cubicBezTo>
                    <a:pt x="967" y="1878"/>
                    <a:pt x="967" y="1878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7" y="1877"/>
                    <a:pt x="967" y="1877"/>
                    <a:pt x="967" y="1877"/>
                  </a:cubicBezTo>
                  <a:cubicBezTo>
                    <a:pt x="966" y="1876"/>
                    <a:pt x="966" y="1876"/>
                    <a:pt x="966" y="1875"/>
                  </a:cubicBezTo>
                  <a:cubicBezTo>
                    <a:pt x="965" y="1874"/>
                    <a:pt x="965" y="1873"/>
                    <a:pt x="965" y="1872"/>
                  </a:cubicBezTo>
                  <a:lnTo>
                    <a:pt x="965" y="1871"/>
                  </a:lnTo>
                  <a:close/>
                  <a:moveTo>
                    <a:pt x="956" y="1955"/>
                  </a:moveTo>
                  <a:cubicBezTo>
                    <a:pt x="956" y="1952"/>
                    <a:pt x="956" y="1952"/>
                    <a:pt x="956" y="1952"/>
                  </a:cubicBezTo>
                  <a:cubicBezTo>
                    <a:pt x="956" y="1952"/>
                    <a:pt x="956" y="1951"/>
                    <a:pt x="956" y="1951"/>
                  </a:cubicBezTo>
                  <a:cubicBezTo>
                    <a:pt x="957" y="1943"/>
                    <a:pt x="958" y="1935"/>
                    <a:pt x="959" y="1926"/>
                  </a:cubicBezTo>
                  <a:cubicBezTo>
                    <a:pt x="959" y="1926"/>
                    <a:pt x="959" y="1926"/>
                    <a:pt x="959" y="1926"/>
                  </a:cubicBezTo>
                  <a:cubicBezTo>
                    <a:pt x="959" y="1926"/>
                    <a:pt x="959" y="1926"/>
                    <a:pt x="959" y="1925"/>
                  </a:cubicBezTo>
                  <a:cubicBezTo>
                    <a:pt x="963" y="1907"/>
                    <a:pt x="999" y="1911"/>
                    <a:pt x="1013" y="1911"/>
                  </a:cubicBezTo>
                  <a:cubicBezTo>
                    <a:pt x="1025" y="1911"/>
                    <a:pt x="1055" y="1908"/>
                    <a:pt x="1061" y="1921"/>
                  </a:cubicBezTo>
                  <a:cubicBezTo>
                    <a:pt x="1062" y="1923"/>
                    <a:pt x="1063" y="1924"/>
                    <a:pt x="1063" y="1926"/>
                  </a:cubicBezTo>
                  <a:cubicBezTo>
                    <a:pt x="1063" y="1940"/>
                    <a:pt x="1063" y="1940"/>
                    <a:pt x="1063" y="1940"/>
                  </a:cubicBezTo>
                  <a:cubicBezTo>
                    <a:pt x="1063" y="1945"/>
                    <a:pt x="1063" y="1949"/>
                    <a:pt x="1063" y="1953"/>
                  </a:cubicBezTo>
                  <a:cubicBezTo>
                    <a:pt x="1063" y="1953"/>
                    <a:pt x="1063" y="1953"/>
                    <a:pt x="1063" y="1953"/>
                  </a:cubicBezTo>
                  <a:cubicBezTo>
                    <a:pt x="1063" y="1955"/>
                    <a:pt x="1063" y="1955"/>
                    <a:pt x="1063" y="1955"/>
                  </a:cubicBezTo>
                  <a:cubicBezTo>
                    <a:pt x="1063" y="1957"/>
                    <a:pt x="1062" y="1959"/>
                    <a:pt x="1061" y="1961"/>
                  </a:cubicBezTo>
                  <a:cubicBezTo>
                    <a:pt x="1061" y="1962"/>
                    <a:pt x="1060" y="1962"/>
                    <a:pt x="1060" y="1962"/>
                  </a:cubicBezTo>
                  <a:cubicBezTo>
                    <a:pt x="1060" y="1963"/>
                    <a:pt x="1059" y="1963"/>
                    <a:pt x="1059" y="1964"/>
                  </a:cubicBezTo>
                  <a:cubicBezTo>
                    <a:pt x="1058" y="1964"/>
                    <a:pt x="1058" y="1964"/>
                    <a:pt x="1058" y="1964"/>
                  </a:cubicBezTo>
                  <a:cubicBezTo>
                    <a:pt x="1055" y="1967"/>
                    <a:pt x="1051" y="1969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6" y="1970"/>
                    <a:pt x="1046" y="1970"/>
                    <a:pt x="1046" y="1970"/>
                  </a:cubicBezTo>
                  <a:cubicBezTo>
                    <a:pt x="1044" y="1971"/>
                    <a:pt x="1043" y="1971"/>
                    <a:pt x="1041" y="1971"/>
                  </a:cubicBezTo>
                  <a:cubicBezTo>
                    <a:pt x="1041" y="1971"/>
                    <a:pt x="1040" y="1971"/>
                    <a:pt x="1040" y="1971"/>
                  </a:cubicBezTo>
                  <a:cubicBezTo>
                    <a:pt x="1038" y="1971"/>
                    <a:pt x="1037" y="1972"/>
                    <a:pt x="1035" y="1972"/>
                  </a:cubicBezTo>
                  <a:cubicBezTo>
                    <a:pt x="1035" y="1972"/>
                    <a:pt x="1035" y="1972"/>
                    <a:pt x="1035" y="1972"/>
                  </a:cubicBezTo>
                  <a:cubicBezTo>
                    <a:pt x="982" y="1972"/>
                    <a:pt x="982" y="1972"/>
                    <a:pt x="982" y="1972"/>
                  </a:cubicBezTo>
                  <a:cubicBezTo>
                    <a:pt x="976" y="1972"/>
                    <a:pt x="969" y="1971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3" y="1967"/>
                    <a:pt x="963" y="1967"/>
                    <a:pt x="963" y="1967"/>
                  </a:cubicBezTo>
                  <a:cubicBezTo>
                    <a:pt x="962" y="1966"/>
                    <a:pt x="961" y="1965"/>
                    <a:pt x="960" y="1964"/>
                  </a:cubicBezTo>
                  <a:cubicBezTo>
                    <a:pt x="959" y="1964"/>
                    <a:pt x="958" y="1963"/>
                    <a:pt x="958" y="1962"/>
                  </a:cubicBezTo>
                  <a:cubicBezTo>
                    <a:pt x="958" y="1962"/>
                    <a:pt x="958" y="1962"/>
                    <a:pt x="957" y="1962"/>
                  </a:cubicBezTo>
                  <a:cubicBezTo>
                    <a:pt x="956" y="1960"/>
                    <a:pt x="956" y="1957"/>
                    <a:pt x="956" y="1955"/>
                  </a:cubicBezTo>
                  <a:close/>
                  <a:moveTo>
                    <a:pt x="820" y="1872"/>
                  </a:moveTo>
                  <a:cubicBezTo>
                    <a:pt x="820" y="1872"/>
                    <a:pt x="820" y="1872"/>
                    <a:pt x="820" y="1872"/>
                  </a:cubicBezTo>
                  <a:cubicBezTo>
                    <a:pt x="820" y="1872"/>
                    <a:pt x="820" y="1872"/>
                    <a:pt x="820" y="1872"/>
                  </a:cubicBezTo>
                  <a:cubicBezTo>
                    <a:pt x="820" y="1870"/>
                    <a:pt x="821" y="1868"/>
                    <a:pt x="822" y="1866"/>
                  </a:cubicBezTo>
                  <a:cubicBezTo>
                    <a:pt x="823" y="1861"/>
                    <a:pt x="824" y="1854"/>
                    <a:pt x="827" y="1849"/>
                  </a:cubicBezTo>
                  <a:cubicBezTo>
                    <a:pt x="827" y="1848"/>
                    <a:pt x="827" y="1848"/>
                    <a:pt x="827" y="1848"/>
                  </a:cubicBezTo>
                  <a:cubicBezTo>
                    <a:pt x="827" y="1847"/>
                    <a:pt x="829" y="1845"/>
                    <a:pt x="830" y="1844"/>
                  </a:cubicBezTo>
                  <a:cubicBezTo>
                    <a:pt x="831" y="1843"/>
                    <a:pt x="832" y="1842"/>
                    <a:pt x="833" y="1841"/>
                  </a:cubicBezTo>
                  <a:cubicBezTo>
                    <a:pt x="837" y="1839"/>
                    <a:pt x="840" y="1838"/>
                    <a:pt x="844" y="1837"/>
                  </a:cubicBezTo>
                  <a:cubicBezTo>
                    <a:pt x="845" y="1837"/>
                    <a:pt x="845" y="1837"/>
                    <a:pt x="845" y="1837"/>
                  </a:cubicBezTo>
                  <a:cubicBezTo>
                    <a:pt x="848" y="1836"/>
                    <a:pt x="851" y="1836"/>
                    <a:pt x="855" y="1836"/>
                  </a:cubicBezTo>
                  <a:cubicBezTo>
                    <a:pt x="859" y="1836"/>
                    <a:pt x="859" y="1836"/>
                    <a:pt x="859" y="1836"/>
                  </a:cubicBezTo>
                  <a:cubicBezTo>
                    <a:pt x="861" y="1836"/>
                    <a:pt x="862" y="1836"/>
                    <a:pt x="864" y="1836"/>
                  </a:cubicBezTo>
                  <a:cubicBezTo>
                    <a:pt x="873" y="1836"/>
                    <a:pt x="883" y="1836"/>
                    <a:pt x="893" y="1836"/>
                  </a:cubicBezTo>
                  <a:cubicBezTo>
                    <a:pt x="894" y="1836"/>
                    <a:pt x="896" y="1836"/>
                    <a:pt x="897" y="1836"/>
                  </a:cubicBezTo>
                  <a:cubicBezTo>
                    <a:pt x="899" y="1836"/>
                    <a:pt x="899" y="1836"/>
                    <a:pt x="899" y="1836"/>
                  </a:cubicBezTo>
                  <a:cubicBezTo>
                    <a:pt x="899" y="1836"/>
                    <a:pt x="899" y="1836"/>
                    <a:pt x="900" y="1836"/>
                  </a:cubicBezTo>
                  <a:cubicBezTo>
                    <a:pt x="901" y="1836"/>
                    <a:pt x="902" y="1836"/>
                    <a:pt x="904" y="1836"/>
                  </a:cubicBezTo>
                  <a:cubicBezTo>
                    <a:pt x="904" y="1836"/>
                    <a:pt x="904" y="1836"/>
                    <a:pt x="904" y="1836"/>
                  </a:cubicBezTo>
                  <a:cubicBezTo>
                    <a:pt x="911" y="1837"/>
                    <a:pt x="919" y="1839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46"/>
                    <a:pt x="921" y="1846"/>
                    <a:pt x="921" y="1846"/>
                  </a:cubicBezTo>
                  <a:cubicBezTo>
                    <a:pt x="921" y="1854"/>
                    <a:pt x="918" y="1863"/>
                    <a:pt x="917" y="1870"/>
                  </a:cubicBezTo>
                  <a:cubicBezTo>
                    <a:pt x="917" y="1870"/>
                    <a:pt x="917" y="1870"/>
                    <a:pt x="917" y="1870"/>
                  </a:cubicBezTo>
                  <a:cubicBezTo>
                    <a:pt x="917" y="1872"/>
                    <a:pt x="917" y="1872"/>
                    <a:pt x="917" y="1872"/>
                  </a:cubicBezTo>
                  <a:cubicBezTo>
                    <a:pt x="916" y="1873"/>
                    <a:pt x="916" y="1875"/>
                    <a:pt x="914" y="1876"/>
                  </a:cubicBezTo>
                  <a:cubicBezTo>
                    <a:pt x="914" y="1876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14" y="1877"/>
                    <a:pt x="914" y="1877"/>
                    <a:pt x="914" y="1877"/>
                  </a:cubicBezTo>
                  <a:cubicBezTo>
                    <a:pt x="904" y="1889"/>
                    <a:pt x="878" y="1886"/>
                    <a:pt x="865" y="1886"/>
                  </a:cubicBezTo>
                  <a:cubicBezTo>
                    <a:pt x="857" y="1886"/>
                    <a:pt x="849" y="1886"/>
                    <a:pt x="841" y="1886"/>
                  </a:cubicBezTo>
                  <a:cubicBezTo>
                    <a:pt x="834" y="1886"/>
                    <a:pt x="824" y="1884"/>
                    <a:pt x="820" y="1877"/>
                  </a:cubicBezTo>
                  <a:cubicBezTo>
                    <a:pt x="820" y="1877"/>
                    <a:pt x="820" y="1876"/>
                    <a:pt x="820" y="1875"/>
                  </a:cubicBezTo>
                  <a:cubicBezTo>
                    <a:pt x="820" y="1875"/>
                    <a:pt x="820" y="1875"/>
                    <a:pt x="820" y="1874"/>
                  </a:cubicBezTo>
                  <a:cubicBezTo>
                    <a:pt x="820" y="1873"/>
                    <a:pt x="820" y="1873"/>
                    <a:pt x="820" y="1872"/>
                  </a:cubicBezTo>
                  <a:close/>
                  <a:moveTo>
                    <a:pt x="795" y="1956"/>
                  </a:moveTo>
                  <a:cubicBezTo>
                    <a:pt x="796" y="1952"/>
                    <a:pt x="796" y="1952"/>
                    <a:pt x="796" y="1952"/>
                  </a:cubicBezTo>
                  <a:cubicBezTo>
                    <a:pt x="796" y="1952"/>
                    <a:pt x="796" y="1952"/>
                    <a:pt x="796" y="1952"/>
                  </a:cubicBezTo>
                  <a:cubicBezTo>
                    <a:pt x="796" y="1951"/>
                    <a:pt x="796" y="1951"/>
                    <a:pt x="796" y="1950"/>
                  </a:cubicBezTo>
                  <a:cubicBezTo>
                    <a:pt x="803" y="1926"/>
                    <a:pt x="803" y="1926"/>
                    <a:pt x="803" y="1926"/>
                  </a:cubicBezTo>
                  <a:cubicBezTo>
                    <a:pt x="804" y="1926"/>
                    <a:pt x="804" y="1926"/>
                    <a:pt x="804" y="1925"/>
                  </a:cubicBezTo>
                  <a:cubicBezTo>
                    <a:pt x="811" y="1908"/>
                    <a:pt x="843" y="1911"/>
                    <a:pt x="859" y="1911"/>
                  </a:cubicBezTo>
                  <a:cubicBezTo>
                    <a:pt x="865" y="1911"/>
                    <a:pt x="877" y="1910"/>
                    <a:pt x="888" y="1912"/>
                  </a:cubicBezTo>
                  <a:cubicBezTo>
                    <a:pt x="890" y="1912"/>
                    <a:pt x="891" y="1912"/>
                    <a:pt x="893" y="1913"/>
                  </a:cubicBezTo>
                  <a:cubicBezTo>
                    <a:pt x="894" y="1913"/>
                    <a:pt x="894" y="1913"/>
                    <a:pt x="894" y="1913"/>
                  </a:cubicBezTo>
                  <a:cubicBezTo>
                    <a:pt x="899" y="1914"/>
                    <a:pt x="903" y="1916"/>
                    <a:pt x="905" y="1920"/>
                  </a:cubicBezTo>
                  <a:cubicBezTo>
                    <a:pt x="906" y="1920"/>
                    <a:pt x="906" y="1920"/>
                    <a:pt x="906" y="1920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6" y="1921"/>
                    <a:pt x="906" y="1921"/>
                    <a:pt x="906" y="1921"/>
                  </a:cubicBezTo>
                  <a:cubicBezTo>
                    <a:pt x="907" y="1923"/>
                    <a:pt x="907" y="1924"/>
                    <a:pt x="907" y="1926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7" y="1928"/>
                    <a:pt x="907" y="1928"/>
                    <a:pt x="907" y="1928"/>
                  </a:cubicBezTo>
                  <a:cubicBezTo>
                    <a:pt x="906" y="1932"/>
                    <a:pt x="905" y="1936"/>
                    <a:pt x="904" y="1941"/>
                  </a:cubicBezTo>
                  <a:cubicBezTo>
                    <a:pt x="902" y="1955"/>
                    <a:pt x="902" y="1955"/>
                    <a:pt x="902" y="1955"/>
                  </a:cubicBezTo>
                  <a:cubicBezTo>
                    <a:pt x="901" y="1958"/>
                    <a:pt x="900" y="1960"/>
                    <a:pt x="899" y="1962"/>
                  </a:cubicBezTo>
                  <a:cubicBezTo>
                    <a:pt x="898" y="1962"/>
                    <a:pt x="898" y="1962"/>
                    <a:pt x="898" y="1962"/>
                  </a:cubicBezTo>
                  <a:cubicBezTo>
                    <a:pt x="898" y="1963"/>
                    <a:pt x="897" y="1963"/>
                    <a:pt x="897" y="1963"/>
                  </a:cubicBezTo>
                  <a:cubicBezTo>
                    <a:pt x="897" y="1964"/>
                    <a:pt x="896" y="1964"/>
                    <a:pt x="895" y="1965"/>
                  </a:cubicBezTo>
                  <a:cubicBezTo>
                    <a:pt x="891" y="1968"/>
                    <a:pt x="887" y="1969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2" y="1971"/>
                    <a:pt x="882" y="1971"/>
                    <a:pt x="882" y="1971"/>
                  </a:cubicBezTo>
                  <a:cubicBezTo>
                    <a:pt x="880" y="1971"/>
                    <a:pt x="879" y="1971"/>
                    <a:pt x="877" y="1971"/>
                  </a:cubicBezTo>
                  <a:cubicBezTo>
                    <a:pt x="877" y="1972"/>
                    <a:pt x="876" y="1972"/>
                    <a:pt x="876" y="1972"/>
                  </a:cubicBezTo>
                  <a:cubicBezTo>
                    <a:pt x="874" y="1972"/>
                    <a:pt x="872" y="1972"/>
                    <a:pt x="871" y="1972"/>
                  </a:cubicBezTo>
                  <a:cubicBezTo>
                    <a:pt x="871" y="1972"/>
                    <a:pt x="871" y="1972"/>
                    <a:pt x="871" y="1972"/>
                  </a:cubicBezTo>
                  <a:cubicBezTo>
                    <a:pt x="818" y="1972"/>
                    <a:pt x="818" y="1972"/>
                    <a:pt x="818" y="1972"/>
                  </a:cubicBezTo>
                  <a:cubicBezTo>
                    <a:pt x="812" y="1972"/>
                    <a:pt x="805" y="1971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9" y="1967"/>
                    <a:pt x="799" y="1967"/>
                    <a:pt x="799" y="1967"/>
                  </a:cubicBezTo>
                  <a:cubicBezTo>
                    <a:pt x="798" y="1967"/>
                    <a:pt x="797" y="1966"/>
                    <a:pt x="797" y="1965"/>
                  </a:cubicBezTo>
                  <a:cubicBezTo>
                    <a:pt x="796" y="1964"/>
                    <a:pt x="796" y="1963"/>
                    <a:pt x="795" y="1963"/>
                  </a:cubicBezTo>
                  <a:cubicBezTo>
                    <a:pt x="795" y="1962"/>
                    <a:pt x="795" y="1962"/>
                    <a:pt x="795" y="1962"/>
                  </a:cubicBezTo>
                  <a:cubicBezTo>
                    <a:pt x="794" y="1960"/>
                    <a:pt x="794" y="1958"/>
                    <a:pt x="795" y="1956"/>
                  </a:cubicBezTo>
                  <a:close/>
                  <a:moveTo>
                    <a:pt x="674" y="1875"/>
                  </a:moveTo>
                  <a:cubicBezTo>
                    <a:pt x="674" y="1872"/>
                    <a:pt x="676" y="1869"/>
                    <a:pt x="677" y="1867"/>
                  </a:cubicBezTo>
                  <a:cubicBezTo>
                    <a:pt x="680" y="1861"/>
                    <a:pt x="683" y="1852"/>
                    <a:pt x="687" y="1847"/>
                  </a:cubicBezTo>
                  <a:cubicBezTo>
                    <a:pt x="688" y="1846"/>
                    <a:pt x="688" y="1846"/>
                    <a:pt x="688" y="1846"/>
                  </a:cubicBezTo>
                  <a:cubicBezTo>
                    <a:pt x="688" y="1846"/>
                    <a:pt x="689" y="1845"/>
                    <a:pt x="689" y="1845"/>
                  </a:cubicBezTo>
                  <a:cubicBezTo>
                    <a:pt x="689" y="1845"/>
                    <a:pt x="689" y="1845"/>
                    <a:pt x="690" y="1844"/>
                  </a:cubicBezTo>
                  <a:cubicBezTo>
                    <a:pt x="690" y="1844"/>
                    <a:pt x="690" y="1844"/>
                    <a:pt x="690" y="1844"/>
                  </a:cubicBezTo>
                  <a:cubicBezTo>
                    <a:pt x="690" y="1844"/>
                    <a:pt x="691" y="1844"/>
                    <a:pt x="691" y="1843"/>
                  </a:cubicBezTo>
                  <a:cubicBezTo>
                    <a:pt x="695" y="1840"/>
                    <a:pt x="700" y="1838"/>
                    <a:pt x="706" y="1838"/>
                  </a:cubicBezTo>
                  <a:cubicBezTo>
                    <a:pt x="706" y="1837"/>
                    <a:pt x="706" y="1837"/>
                    <a:pt x="706" y="1837"/>
                  </a:cubicBezTo>
                  <a:cubicBezTo>
                    <a:pt x="709" y="1837"/>
                    <a:pt x="713" y="1836"/>
                    <a:pt x="716" y="1836"/>
                  </a:cubicBezTo>
                  <a:cubicBezTo>
                    <a:pt x="734" y="1836"/>
                    <a:pt x="734" y="1836"/>
                    <a:pt x="734" y="1836"/>
                  </a:cubicBezTo>
                  <a:cubicBezTo>
                    <a:pt x="740" y="1836"/>
                    <a:pt x="746" y="1836"/>
                    <a:pt x="751" y="1836"/>
                  </a:cubicBezTo>
                  <a:cubicBezTo>
                    <a:pt x="759" y="1836"/>
                    <a:pt x="771" y="1835"/>
                    <a:pt x="777" y="1841"/>
                  </a:cubicBezTo>
                  <a:cubicBezTo>
                    <a:pt x="778" y="1841"/>
                    <a:pt x="778" y="1842"/>
                    <a:pt x="778" y="1842"/>
                  </a:cubicBezTo>
                  <a:cubicBezTo>
                    <a:pt x="778" y="1842"/>
                    <a:pt x="779" y="1842"/>
                    <a:pt x="779" y="1842"/>
                  </a:cubicBezTo>
                  <a:cubicBezTo>
                    <a:pt x="779" y="1842"/>
                    <a:pt x="779" y="1843"/>
                    <a:pt x="779" y="1843"/>
                  </a:cubicBezTo>
                  <a:cubicBezTo>
                    <a:pt x="779" y="1843"/>
                    <a:pt x="779" y="1843"/>
                    <a:pt x="780" y="1844"/>
                  </a:cubicBezTo>
                  <a:cubicBezTo>
                    <a:pt x="780" y="1845"/>
                    <a:pt x="780" y="1846"/>
                    <a:pt x="780" y="1847"/>
                  </a:cubicBezTo>
                  <a:cubicBezTo>
                    <a:pt x="779" y="1854"/>
                    <a:pt x="774" y="1863"/>
                    <a:pt x="773" y="1867"/>
                  </a:cubicBezTo>
                  <a:cubicBezTo>
                    <a:pt x="773" y="1867"/>
                    <a:pt x="773" y="1867"/>
                    <a:pt x="773" y="1867"/>
                  </a:cubicBezTo>
                  <a:cubicBezTo>
                    <a:pt x="772" y="1869"/>
                    <a:pt x="772" y="1870"/>
                    <a:pt x="771" y="1871"/>
                  </a:cubicBezTo>
                  <a:cubicBezTo>
                    <a:pt x="771" y="1872"/>
                    <a:pt x="771" y="1872"/>
                    <a:pt x="771" y="1872"/>
                  </a:cubicBezTo>
                  <a:cubicBezTo>
                    <a:pt x="771" y="1873"/>
                    <a:pt x="771" y="1873"/>
                    <a:pt x="770" y="1873"/>
                  </a:cubicBezTo>
                  <a:cubicBezTo>
                    <a:pt x="770" y="1874"/>
                    <a:pt x="770" y="1874"/>
                    <a:pt x="770" y="1874"/>
                  </a:cubicBezTo>
                  <a:cubicBezTo>
                    <a:pt x="770" y="1875"/>
                    <a:pt x="769" y="1875"/>
                    <a:pt x="769" y="1876"/>
                  </a:cubicBezTo>
                  <a:cubicBezTo>
                    <a:pt x="769" y="1876"/>
                    <a:pt x="769" y="1876"/>
                    <a:pt x="768" y="1876"/>
                  </a:cubicBezTo>
                  <a:cubicBezTo>
                    <a:pt x="768" y="1876"/>
                    <a:pt x="768" y="1877"/>
                    <a:pt x="768" y="1877"/>
                  </a:cubicBezTo>
                  <a:cubicBezTo>
                    <a:pt x="768" y="1877"/>
                    <a:pt x="767" y="1877"/>
                    <a:pt x="767" y="1877"/>
                  </a:cubicBezTo>
                  <a:cubicBezTo>
                    <a:pt x="766" y="1878"/>
                    <a:pt x="765" y="1879"/>
                    <a:pt x="764" y="1880"/>
                  </a:cubicBezTo>
                  <a:cubicBezTo>
                    <a:pt x="763" y="1880"/>
                    <a:pt x="762" y="1881"/>
                    <a:pt x="761" y="1881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60" y="1882"/>
                    <a:pt x="760" y="1882"/>
                    <a:pt x="760" y="1882"/>
                  </a:cubicBezTo>
                  <a:cubicBezTo>
                    <a:pt x="756" y="1883"/>
                    <a:pt x="752" y="1885"/>
                    <a:pt x="749" y="1885"/>
                  </a:cubicBezTo>
                  <a:cubicBezTo>
                    <a:pt x="748" y="1885"/>
                    <a:pt x="746" y="1885"/>
                    <a:pt x="745" y="1886"/>
                  </a:cubicBezTo>
                  <a:cubicBezTo>
                    <a:pt x="745" y="1886"/>
                    <a:pt x="745" y="1886"/>
                    <a:pt x="745" y="1886"/>
                  </a:cubicBezTo>
                  <a:cubicBezTo>
                    <a:pt x="738" y="1886"/>
                    <a:pt x="730" y="1886"/>
                    <a:pt x="723" y="1886"/>
                  </a:cubicBezTo>
                  <a:cubicBezTo>
                    <a:pt x="693" y="1886"/>
                    <a:pt x="693" y="1886"/>
                    <a:pt x="693" y="1886"/>
                  </a:cubicBezTo>
                  <a:cubicBezTo>
                    <a:pt x="687" y="1886"/>
                    <a:pt x="676" y="1885"/>
                    <a:pt x="674" y="1878"/>
                  </a:cubicBezTo>
                  <a:cubicBezTo>
                    <a:pt x="673" y="1877"/>
                    <a:pt x="673" y="1876"/>
                    <a:pt x="673" y="1876"/>
                  </a:cubicBezTo>
                  <a:cubicBezTo>
                    <a:pt x="673" y="1875"/>
                    <a:pt x="674" y="1875"/>
                    <a:pt x="674" y="1875"/>
                  </a:cubicBezTo>
                  <a:close/>
                  <a:moveTo>
                    <a:pt x="647" y="1928"/>
                  </a:moveTo>
                  <a:cubicBezTo>
                    <a:pt x="648" y="1927"/>
                    <a:pt x="648" y="1927"/>
                    <a:pt x="648" y="1927"/>
                  </a:cubicBezTo>
                  <a:cubicBezTo>
                    <a:pt x="648" y="1926"/>
                    <a:pt x="648" y="1926"/>
                    <a:pt x="648" y="1926"/>
                  </a:cubicBezTo>
                  <a:cubicBezTo>
                    <a:pt x="649" y="1925"/>
                    <a:pt x="649" y="1924"/>
                    <a:pt x="650" y="1924"/>
                  </a:cubicBezTo>
                  <a:cubicBezTo>
                    <a:pt x="650" y="1924"/>
                    <a:pt x="650" y="1924"/>
                    <a:pt x="650" y="1924"/>
                  </a:cubicBezTo>
                  <a:cubicBezTo>
                    <a:pt x="661" y="1909"/>
                    <a:pt x="687" y="1912"/>
                    <a:pt x="703" y="1912"/>
                  </a:cubicBezTo>
                  <a:cubicBezTo>
                    <a:pt x="703" y="1912"/>
                    <a:pt x="703" y="1912"/>
                    <a:pt x="703" y="1912"/>
                  </a:cubicBezTo>
                  <a:cubicBezTo>
                    <a:pt x="708" y="1912"/>
                    <a:pt x="720" y="1911"/>
                    <a:pt x="730" y="1912"/>
                  </a:cubicBezTo>
                  <a:cubicBezTo>
                    <a:pt x="734" y="1912"/>
                    <a:pt x="737" y="1912"/>
                    <a:pt x="740" y="1913"/>
                  </a:cubicBezTo>
                  <a:cubicBezTo>
                    <a:pt x="742" y="1913"/>
                    <a:pt x="744" y="1914"/>
                    <a:pt x="745" y="1915"/>
                  </a:cubicBezTo>
                  <a:cubicBezTo>
                    <a:pt x="749" y="1917"/>
                    <a:pt x="752" y="1919"/>
                    <a:pt x="752" y="1923"/>
                  </a:cubicBezTo>
                  <a:cubicBezTo>
                    <a:pt x="752" y="1923"/>
                    <a:pt x="752" y="1924"/>
                    <a:pt x="752" y="1924"/>
                  </a:cubicBezTo>
                  <a:cubicBezTo>
                    <a:pt x="752" y="1924"/>
                    <a:pt x="752" y="1924"/>
                    <a:pt x="752" y="1924"/>
                  </a:cubicBezTo>
                  <a:cubicBezTo>
                    <a:pt x="752" y="1925"/>
                    <a:pt x="751" y="1926"/>
                    <a:pt x="751" y="1927"/>
                  </a:cubicBezTo>
                  <a:cubicBezTo>
                    <a:pt x="741" y="1956"/>
                    <a:pt x="741" y="1956"/>
                    <a:pt x="741" y="1956"/>
                  </a:cubicBezTo>
                  <a:cubicBezTo>
                    <a:pt x="740" y="1958"/>
                    <a:pt x="738" y="1960"/>
                    <a:pt x="736" y="1962"/>
                  </a:cubicBezTo>
                  <a:cubicBezTo>
                    <a:pt x="734" y="1964"/>
                    <a:pt x="731" y="1966"/>
                    <a:pt x="728" y="1967"/>
                  </a:cubicBezTo>
                  <a:cubicBezTo>
                    <a:pt x="728" y="1968"/>
                    <a:pt x="727" y="1968"/>
                    <a:pt x="727" y="1968"/>
                  </a:cubicBezTo>
                  <a:cubicBezTo>
                    <a:pt x="723" y="1970"/>
                    <a:pt x="718" y="1971"/>
                    <a:pt x="713" y="1972"/>
                  </a:cubicBezTo>
                  <a:cubicBezTo>
                    <a:pt x="713" y="1972"/>
                    <a:pt x="713" y="1972"/>
                    <a:pt x="713" y="1972"/>
                  </a:cubicBezTo>
                  <a:cubicBezTo>
                    <a:pt x="712" y="1972"/>
                    <a:pt x="711" y="1972"/>
                    <a:pt x="710" y="1972"/>
                  </a:cubicBezTo>
                  <a:cubicBezTo>
                    <a:pt x="701" y="1973"/>
                    <a:pt x="692" y="1972"/>
                    <a:pt x="682" y="1972"/>
                  </a:cubicBezTo>
                  <a:cubicBezTo>
                    <a:pt x="673" y="1973"/>
                    <a:pt x="663" y="1973"/>
                    <a:pt x="654" y="1973"/>
                  </a:cubicBezTo>
                  <a:cubicBezTo>
                    <a:pt x="647" y="1973"/>
                    <a:pt x="638" y="1971"/>
                    <a:pt x="634" y="1966"/>
                  </a:cubicBezTo>
                  <a:cubicBezTo>
                    <a:pt x="634" y="1965"/>
                    <a:pt x="634" y="1965"/>
                    <a:pt x="633" y="1965"/>
                  </a:cubicBezTo>
                  <a:cubicBezTo>
                    <a:pt x="633" y="1964"/>
                    <a:pt x="633" y="1964"/>
                    <a:pt x="633" y="1964"/>
                  </a:cubicBezTo>
                  <a:cubicBezTo>
                    <a:pt x="633" y="1963"/>
                    <a:pt x="633" y="1963"/>
                    <a:pt x="632" y="1963"/>
                  </a:cubicBezTo>
                  <a:cubicBezTo>
                    <a:pt x="632" y="1963"/>
                    <a:pt x="632" y="1962"/>
                    <a:pt x="632" y="1962"/>
                  </a:cubicBezTo>
                  <a:cubicBezTo>
                    <a:pt x="632" y="1962"/>
                    <a:pt x="632" y="1962"/>
                    <a:pt x="632" y="1962"/>
                  </a:cubicBezTo>
                  <a:cubicBezTo>
                    <a:pt x="632" y="1962"/>
                    <a:pt x="632" y="1961"/>
                    <a:pt x="632" y="1960"/>
                  </a:cubicBezTo>
                  <a:cubicBezTo>
                    <a:pt x="632" y="1959"/>
                    <a:pt x="632" y="1959"/>
                    <a:pt x="633" y="1959"/>
                  </a:cubicBezTo>
                  <a:cubicBezTo>
                    <a:pt x="633" y="1958"/>
                    <a:pt x="633" y="1957"/>
                    <a:pt x="633" y="1956"/>
                  </a:cubicBezTo>
                  <a:cubicBezTo>
                    <a:pt x="633" y="1956"/>
                    <a:pt x="633" y="1956"/>
                    <a:pt x="633" y="1956"/>
                  </a:cubicBezTo>
                  <a:cubicBezTo>
                    <a:pt x="634" y="1955"/>
                    <a:pt x="634" y="1955"/>
                    <a:pt x="634" y="1955"/>
                  </a:cubicBezTo>
                  <a:cubicBezTo>
                    <a:pt x="634" y="1954"/>
                    <a:pt x="635" y="1953"/>
                    <a:pt x="635" y="1952"/>
                  </a:cubicBezTo>
                  <a:cubicBezTo>
                    <a:pt x="639" y="1944"/>
                    <a:pt x="643" y="1936"/>
                    <a:pt x="647" y="1928"/>
                  </a:cubicBezTo>
                  <a:cubicBezTo>
                    <a:pt x="647" y="1928"/>
                    <a:pt x="647" y="1928"/>
                    <a:pt x="647" y="1928"/>
                  </a:cubicBezTo>
                  <a:close/>
                  <a:moveTo>
                    <a:pt x="527" y="1875"/>
                  </a:moveTo>
                  <a:cubicBezTo>
                    <a:pt x="528" y="1873"/>
                    <a:pt x="531" y="1870"/>
                    <a:pt x="532" y="1868"/>
                  </a:cubicBezTo>
                  <a:cubicBezTo>
                    <a:pt x="536" y="1861"/>
                    <a:pt x="541" y="1854"/>
                    <a:pt x="546" y="1848"/>
                  </a:cubicBezTo>
                  <a:cubicBezTo>
                    <a:pt x="546" y="1847"/>
                    <a:pt x="546" y="1847"/>
                    <a:pt x="547" y="1847"/>
                  </a:cubicBezTo>
                  <a:cubicBezTo>
                    <a:pt x="547" y="1847"/>
                    <a:pt x="547" y="1847"/>
                    <a:pt x="547" y="1846"/>
                  </a:cubicBezTo>
                  <a:cubicBezTo>
                    <a:pt x="561" y="1833"/>
                    <a:pt x="590" y="1837"/>
                    <a:pt x="608" y="1837"/>
                  </a:cubicBezTo>
                  <a:cubicBezTo>
                    <a:pt x="616" y="1837"/>
                    <a:pt x="626" y="1835"/>
                    <a:pt x="634" y="1839"/>
                  </a:cubicBezTo>
                  <a:cubicBezTo>
                    <a:pt x="634" y="1839"/>
                    <a:pt x="634" y="1839"/>
                    <a:pt x="634" y="1839"/>
                  </a:cubicBezTo>
                  <a:cubicBezTo>
                    <a:pt x="634" y="1839"/>
                    <a:pt x="635" y="1839"/>
                    <a:pt x="636" y="1840"/>
                  </a:cubicBezTo>
                  <a:cubicBezTo>
                    <a:pt x="636" y="1840"/>
                    <a:pt x="636" y="1840"/>
                    <a:pt x="636" y="1840"/>
                  </a:cubicBezTo>
                  <a:cubicBezTo>
                    <a:pt x="638" y="1841"/>
                    <a:pt x="639" y="1843"/>
                    <a:pt x="639" y="1844"/>
                  </a:cubicBezTo>
                  <a:cubicBezTo>
                    <a:pt x="640" y="1845"/>
                    <a:pt x="640" y="1847"/>
                    <a:pt x="639" y="1849"/>
                  </a:cubicBezTo>
                  <a:cubicBezTo>
                    <a:pt x="638" y="1850"/>
                    <a:pt x="638" y="1850"/>
                    <a:pt x="638" y="1850"/>
                  </a:cubicBezTo>
                  <a:cubicBezTo>
                    <a:pt x="637" y="1854"/>
                    <a:pt x="633" y="1858"/>
                    <a:pt x="631" y="1862"/>
                  </a:cubicBezTo>
                  <a:cubicBezTo>
                    <a:pt x="631" y="1862"/>
                    <a:pt x="631" y="1862"/>
                    <a:pt x="631" y="1862"/>
                  </a:cubicBezTo>
                  <a:cubicBezTo>
                    <a:pt x="625" y="1873"/>
                    <a:pt x="625" y="1873"/>
                    <a:pt x="625" y="1873"/>
                  </a:cubicBezTo>
                  <a:cubicBezTo>
                    <a:pt x="624" y="1874"/>
                    <a:pt x="623" y="1876"/>
                    <a:pt x="621" y="1878"/>
                  </a:cubicBezTo>
                  <a:cubicBezTo>
                    <a:pt x="618" y="1879"/>
                    <a:pt x="616" y="1881"/>
                    <a:pt x="613" y="1882"/>
                  </a:cubicBezTo>
                  <a:cubicBezTo>
                    <a:pt x="612" y="1882"/>
                    <a:pt x="611" y="1883"/>
                    <a:pt x="610" y="1883"/>
                  </a:cubicBezTo>
                  <a:cubicBezTo>
                    <a:pt x="610" y="1883"/>
                    <a:pt x="609" y="1883"/>
                    <a:pt x="609" y="1884"/>
                  </a:cubicBezTo>
                  <a:cubicBezTo>
                    <a:pt x="609" y="1884"/>
                    <a:pt x="609" y="1884"/>
                    <a:pt x="609" y="1884"/>
                  </a:cubicBezTo>
                  <a:cubicBezTo>
                    <a:pt x="607" y="1884"/>
                    <a:pt x="605" y="1885"/>
                    <a:pt x="603" y="1885"/>
                  </a:cubicBezTo>
                  <a:cubicBezTo>
                    <a:pt x="599" y="1886"/>
                    <a:pt x="596" y="1886"/>
                    <a:pt x="59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82" y="1886"/>
                    <a:pt x="582" y="1886"/>
                    <a:pt x="582" y="1886"/>
                  </a:cubicBezTo>
                  <a:cubicBezTo>
                    <a:pt x="570" y="1886"/>
                    <a:pt x="557" y="1886"/>
                    <a:pt x="545" y="1886"/>
                  </a:cubicBezTo>
                  <a:cubicBezTo>
                    <a:pt x="540" y="1886"/>
                    <a:pt x="528" y="1885"/>
                    <a:pt x="527" y="1878"/>
                  </a:cubicBezTo>
                  <a:cubicBezTo>
                    <a:pt x="527" y="1877"/>
                    <a:pt x="527" y="1876"/>
                    <a:pt x="527" y="1875"/>
                  </a:cubicBezTo>
                  <a:close/>
                  <a:moveTo>
                    <a:pt x="545" y="2017"/>
                  </a:moveTo>
                  <a:cubicBezTo>
                    <a:pt x="545" y="2017"/>
                    <a:pt x="545" y="2017"/>
                    <a:pt x="545" y="2017"/>
                  </a:cubicBezTo>
                  <a:cubicBezTo>
                    <a:pt x="543" y="2024"/>
                    <a:pt x="538" y="2031"/>
                    <a:pt x="534" y="2038"/>
                  </a:cubicBezTo>
                  <a:cubicBezTo>
                    <a:pt x="534" y="2038"/>
                    <a:pt x="534" y="2038"/>
                    <a:pt x="534" y="2038"/>
                  </a:cubicBezTo>
                  <a:cubicBezTo>
                    <a:pt x="530" y="2045"/>
                    <a:pt x="527" y="2053"/>
                    <a:pt x="521" y="2060"/>
                  </a:cubicBezTo>
                  <a:cubicBezTo>
                    <a:pt x="521" y="2061"/>
                    <a:pt x="520" y="2061"/>
                    <a:pt x="520" y="2062"/>
                  </a:cubicBezTo>
                  <a:cubicBezTo>
                    <a:pt x="520" y="2062"/>
                    <a:pt x="520" y="2062"/>
                    <a:pt x="520" y="2062"/>
                  </a:cubicBezTo>
                  <a:cubicBezTo>
                    <a:pt x="519" y="2063"/>
                    <a:pt x="518" y="2064"/>
                    <a:pt x="517" y="2064"/>
                  </a:cubicBezTo>
                  <a:cubicBezTo>
                    <a:pt x="517" y="2065"/>
                    <a:pt x="517" y="2065"/>
                    <a:pt x="516" y="2065"/>
                  </a:cubicBezTo>
                  <a:cubicBezTo>
                    <a:pt x="516" y="2065"/>
                    <a:pt x="516" y="2066"/>
                    <a:pt x="516" y="2066"/>
                  </a:cubicBezTo>
                  <a:cubicBezTo>
                    <a:pt x="510" y="2071"/>
                    <a:pt x="503" y="2074"/>
                    <a:pt x="496" y="2076"/>
                  </a:cubicBezTo>
                  <a:cubicBezTo>
                    <a:pt x="495" y="2076"/>
                    <a:pt x="494" y="2076"/>
                    <a:pt x="493" y="2077"/>
                  </a:cubicBezTo>
                  <a:cubicBezTo>
                    <a:pt x="489" y="2078"/>
                    <a:pt x="484" y="2078"/>
                    <a:pt x="480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76" y="2078"/>
                    <a:pt x="476" y="2078"/>
                    <a:pt x="476" y="2078"/>
                  </a:cubicBezTo>
                  <a:cubicBezTo>
                    <a:pt x="458" y="2078"/>
                    <a:pt x="439" y="2078"/>
                    <a:pt x="421" y="2079"/>
                  </a:cubicBezTo>
                  <a:cubicBezTo>
                    <a:pt x="419" y="2079"/>
                    <a:pt x="418" y="2078"/>
                    <a:pt x="416" y="2078"/>
                  </a:cubicBezTo>
                  <a:cubicBezTo>
                    <a:pt x="414" y="2078"/>
                    <a:pt x="412" y="2078"/>
                    <a:pt x="410" y="2077"/>
                  </a:cubicBezTo>
                  <a:cubicBezTo>
                    <a:pt x="406" y="2076"/>
                    <a:pt x="404" y="2074"/>
                    <a:pt x="402" y="2072"/>
                  </a:cubicBezTo>
                  <a:cubicBezTo>
                    <a:pt x="401" y="2070"/>
                    <a:pt x="400" y="2068"/>
                    <a:pt x="400" y="2066"/>
                  </a:cubicBezTo>
                  <a:cubicBezTo>
                    <a:pt x="400" y="2064"/>
                    <a:pt x="401" y="2062"/>
                    <a:pt x="402" y="2060"/>
                  </a:cubicBezTo>
                  <a:cubicBezTo>
                    <a:pt x="402" y="2059"/>
                    <a:pt x="402" y="2059"/>
                    <a:pt x="403" y="2059"/>
                  </a:cubicBezTo>
                  <a:cubicBezTo>
                    <a:pt x="403" y="2058"/>
                    <a:pt x="403" y="2058"/>
                    <a:pt x="403" y="2058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4" y="2057"/>
                    <a:pt x="404" y="2057"/>
                    <a:pt x="404" y="2057"/>
                  </a:cubicBezTo>
                  <a:cubicBezTo>
                    <a:pt x="409" y="2050"/>
                    <a:pt x="413" y="2043"/>
                    <a:pt x="418" y="2035"/>
                  </a:cubicBezTo>
                  <a:cubicBezTo>
                    <a:pt x="422" y="2030"/>
                    <a:pt x="425" y="2024"/>
                    <a:pt x="430" y="2019"/>
                  </a:cubicBezTo>
                  <a:cubicBezTo>
                    <a:pt x="430" y="2018"/>
                    <a:pt x="431" y="2018"/>
                    <a:pt x="431" y="2017"/>
                  </a:cubicBezTo>
                  <a:cubicBezTo>
                    <a:pt x="431" y="2017"/>
                    <a:pt x="432" y="2017"/>
                    <a:pt x="432" y="2017"/>
                  </a:cubicBezTo>
                  <a:cubicBezTo>
                    <a:pt x="433" y="2016"/>
                    <a:pt x="434" y="2015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35" y="2014"/>
                    <a:pt x="435" y="2014"/>
                    <a:pt x="435" y="2014"/>
                  </a:cubicBezTo>
                  <a:cubicBezTo>
                    <a:pt x="441" y="2009"/>
                    <a:pt x="449" y="2006"/>
                    <a:pt x="457" y="2004"/>
                  </a:cubicBezTo>
                  <a:cubicBezTo>
                    <a:pt x="457" y="2004"/>
                    <a:pt x="457" y="2004"/>
                    <a:pt x="457" y="2004"/>
                  </a:cubicBezTo>
                  <a:cubicBezTo>
                    <a:pt x="457" y="2004"/>
                    <a:pt x="458" y="2004"/>
                    <a:pt x="458" y="2004"/>
                  </a:cubicBezTo>
                  <a:cubicBezTo>
                    <a:pt x="459" y="2004"/>
                    <a:pt x="461" y="2004"/>
                    <a:pt x="462" y="2004"/>
                  </a:cubicBezTo>
                  <a:cubicBezTo>
                    <a:pt x="463" y="2003"/>
                    <a:pt x="464" y="2003"/>
                    <a:pt x="465" y="2003"/>
                  </a:cubicBezTo>
                  <a:cubicBezTo>
                    <a:pt x="466" y="2003"/>
                    <a:pt x="467" y="2003"/>
                    <a:pt x="468" y="2003"/>
                  </a:cubicBezTo>
                  <a:cubicBezTo>
                    <a:pt x="468" y="2003"/>
                    <a:pt x="469" y="2003"/>
                    <a:pt x="470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71" y="2003"/>
                    <a:pt x="471" y="2003"/>
                    <a:pt x="471" y="2003"/>
                  </a:cubicBezTo>
                  <a:cubicBezTo>
                    <a:pt x="488" y="2003"/>
                    <a:pt x="504" y="2003"/>
                    <a:pt x="521" y="2003"/>
                  </a:cubicBezTo>
                  <a:cubicBezTo>
                    <a:pt x="521" y="2003"/>
                    <a:pt x="521" y="2003"/>
                    <a:pt x="521" y="2003"/>
                  </a:cubicBezTo>
                  <a:cubicBezTo>
                    <a:pt x="524" y="2003"/>
                    <a:pt x="524" y="2003"/>
                    <a:pt x="524" y="2003"/>
                  </a:cubicBezTo>
                  <a:cubicBezTo>
                    <a:pt x="528" y="2003"/>
                    <a:pt x="532" y="2003"/>
                    <a:pt x="535" y="2004"/>
                  </a:cubicBezTo>
                  <a:cubicBezTo>
                    <a:pt x="536" y="2004"/>
                    <a:pt x="536" y="2005"/>
                    <a:pt x="537" y="2005"/>
                  </a:cubicBezTo>
                  <a:cubicBezTo>
                    <a:pt x="537" y="2005"/>
                    <a:pt x="538" y="2005"/>
                    <a:pt x="538" y="2006"/>
                  </a:cubicBezTo>
                  <a:cubicBezTo>
                    <a:pt x="538" y="2006"/>
                    <a:pt x="539" y="2006"/>
                    <a:pt x="539" y="2006"/>
                  </a:cubicBezTo>
                  <a:cubicBezTo>
                    <a:pt x="543" y="2008"/>
                    <a:pt x="546" y="2012"/>
                    <a:pt x="545" y="2017"/>
                  </a:cubicBezTo>
                  <a:close/>
                  <a:moveTo>
                    <a:pt x="579" y="1956"/>
                  </a:move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8" y="1957"/>
                    <a:pt x="578" y="1958"/>
                    <a:pt x="577" y="1959"/>
                  </a:cubicBezTo>
                  <a:cubicBezTo>
                    <a:pt x="577" y="1959"/>
                    <a:pt x="577" y="1960"/>
                    <a:pt x="577" y="1960"/>
                  </a:cubicBezTo>
                  <a:cubicBezTo>
                    <a:pt x="572" y="1964"/>
                    <a:pt x="566" y="1968"/>
                    <a:pt x="560" y="1970"/>
                  </a:cubicBezTo>
                  <a:cubicBezTo>
                    <a:pt x="560" y="1970"/>
                    <a:pt x="560" y="1970"/>
                    <a:pt x="560" y="1970"/>
                  </a:cubicBezTo>
                  <a:cubicBezTo>
                    <a:pt x="559" y="1970"/>
                    <a:pt x="558" y="1970"/>
                    <a:pt x="557" y="1971"/>
                  </a:cubicBezTo>
                  <a:cubicBezTo>
                    <a:pt x="556" y="1971"/>
                    <a:pt x="556" y="1971"/>
                    <a:pt x="555" y="1971"/>
                  </a:cubicBezTo>
                  <a:cubicBezTo>
                    <a:pt x="554" y="1971"/>
                    <a:pt x="554" y="1971"/>
                    <a:pt x="553" y="1971"/>
                  </a:cubicBezTo>
                  <a:cubicBezTo>
                    <a:pt x="550" y="1972"/>
                    <a:pt x="546" y="1973"/>
                    <a:pt x="542" y="1973"/>
                  </a:cubicBezTo>
                  <a:cubicBezTo>
                    <a:pt x="541" y="1973"/>
                    <a:pt x="541" y="1973"/>
                    <a:pt x="541" y="1973"/>
                  </a:cubicBezTo>
                  <a:cubicBezTo>
                    <a:pt x="534" y="1973"/>
                    <a:pt x="527" y="1973"/>
                    <a:pt x="520" y="1973"/>
                  </a:cubicBezTo>
                  <a:cubicBezTo>
                    <a:pt x="510" y="1973"/>
                    <a:pt x="499" y="1973"/>
                    <a:pt x="489" y="1973"/>
                  </a:cubicBezTo>
                  <a:cubicBezTo>
                    <a:pt x="488" y="1973"/>
                    <a:pt x="486" y="1973"/>
                    <a:pt x="484" y="1973"/>
                  </a:cubicBezTo>
                  <a:cubicBezTo>
                    <a:pt x="484" y="1973"/>
                    <a:pt x="484" y="1973"/>
                    <a:pt x="483" y="1973"/>
                  </a:cubicBezTo>
                  <a:cubicBezTo>
                    <a:pt x="482" y="1972"/>
                    <a:pt x="480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9" y="1972"/>
                    <a:pt x="479" y="1972"/>
                    <a:pt x="479" y="1972"/>
                  </a:cubicBezTo>
                  <a:cubicBezTo>
                    <a:pt x="474" y="1970"/>
                    <a:pt x="470" y="1968"/>
                    <a:pt x="470" y="1963"/>
                  </a:cubicBezTo>
                  <a:cubicBezTo>
                    <a:pt x="470" y="1962"/>
                    <a:pt x="470" y="1961"/>
                    <a:pt x="470" y="1960"/>
                  </a:cubicBezTo>
                  <a:cubicBezTo>
                    <a:pt x="470" y="1960"/>
                    <a:pt x="470" y="1959"/>
                    <a:pt x="471" y="1959"/>
                  </a:cubicBezTo>
                  <a:cubicBezTo>
                    <a:pt x="471" y="1958"/>
                    <a:pt x="471" y="1957"/>
                    <a:pt x="472" y="1957"/>
                  </a:cubicBezTo>
                  <a:cubicBezTo>
                    <a:pt x="472" y="1957"/>
                    <a:pt x="472" y="1956"/>
                    <a:pt x="472" y="1956"/>
                  </a:cubicBezTo>
                  <a:cubicBezTo>
                    <a:pt x="472" y="1956"/>
                    <a:pt x="472" y="1956"/>
                    <a:pt x="472" y="1956"/>
                  </a:cubicBezTo>
                  <a:cubicBezTo>
                    <a:pt x="473" y="1955"/>
                    <a:pt x="474" y="1954"/>
                    <a:pt x="474" y="1953"/>
                  </a:cubicBezTo>
                  <a:cubicBezTo>
                    <a:pt x="479" y="1945"/>
                    <a:pt x="485" y="1938"/>
                    <a:pt x="490" y="1930"/>
                  </a:cubicBezTo>
                  <a:cubicBezTo>
                    <a:pt x="490" y="1930"/>
                    <a:pt x="490" y="1930"/>
                    <a:pt x="490" y="1930"/>
                  </a:cubicBezTo>
                  <a:cubicBezTo>
                    <a:pt x="492" y="1927"/>
                    <a:pt x="492" y="1927"/>
                    <a:pt x="492" y="1927"/>
                  </a:cubicBezTo>
                  <a:cubicBezTo>
                    <a:pt x="493" y="1925"/>
                    <a:pt x="495" y="1923"/>
                    <a:pt x="498" y="1921"/>
                  </a:cubicBezTo>
                  <a:cubicBezTo>
                    <a:pt x="499" y="1920"/>
                    <a:pt x="501" y="1919"/>
                    <a:pt x="503" y="1918"/>
                  </a:cubicBezTo>
                  <a:cubicBezTo>
                    <a:pt x="504" y="1918"/>
                    <a:pt x="505" y="1917"/>
                    <a:pt x="506" y="1917"/>
                  </a:cubicBezTo>
                  <a:cubicBezTo>
                    <a:pt x="506" y="1917"/>
                    <a:pt x="506" y="1917"/>
                    <a:pt x="507" y="1917"/>
                  </a:cubicBezTo>
                  <a:cubicBezTo>
                    <a:pt x="507" y="1917"/>
                    <a:pt x="507" y="1916"/>
                    <a:pt x="507" y="1916"/>
                  </a:cubicBezTo>
                  <a:cubicBezTo>
                    <a:pt x="508" y="1916"/>
                    <a:pt x="508" y="1916"/>
                    <a:pt x="508" y="1916"/>
                  </a:cubicBezTo>
                  <a:cubicBezTo>
                    <a:pt x="511" y="1915"/>
                    <a:pt x="514" y="1914"/>
                    <a:pt x="517" y="1913"/>
                  </a:cubicBezTo>
                  <a:cubicBezTo>
                    <a:pt x="521" y="1913"/>
                    <a:pt x="525" y="1912"/>
                    <a:pt x="528" y="1912"/>
                  </a:cubicBezTo>
                  <a:cubicBezTo>
                    <a:pt x="538" y="1912"/>
                    <a:pt x="538" y="1912"/>
                    <a:pt x="538" y="1912"/>
                  </a:cubicBezTo>
                  <a:cubicBezTo>
                    <a:pt x="541" y="1912"/>
                    <a:pt x="543" y="1912"/>
                    <a:pt x="545" y="1912"/>
                  </a:cubicBezTo>
                  <a:cubicBezTo>
                    <a:pt x="555" y="1912"/>
                    <a:pt x="564" y="1912"/>
                    <a:pt x="573" y="1912"/>
                  </a:cubicBezTo>
                  <a:cubicBezTo>
                    <a:pt x="573" y="1912"/>
                    <a:pt x="573" y="1912"/>
                    <a:pt x="573" y="1912"/>
                  </a:cubicBezTo>
                  <a:cubicBezTo>
                    <a:pt x="577" y="1912"/>
                    <a:pt x="577" y="1912"/>
                    <a:pt x="577" y="1912"/>
                  </a:cubicBezTo>
                  <a:cubicBezTo>
                    <a:pt x="581" y="1912"/>
                    <a:pt x="584" y="1913"/>
                    <a:pt x="587" y="1913"/>
                  </a:cubicBezTo>
                  <a:cubicBezTo>
                    <a:pt x="589" y="1914"/>
                    <a:pt x="590" y="1915"/>
                    <a:pt x="592" y="1915"/>
                  </a:cubicBezTo>
                  <a:cubicBezTo>
                    <a:pt x="596" y="1918"/>
                    <a:pt x="599" y="1921"/>
                    <a:pt x="595" y="1927"/>
                  </a:cubicBezTo>
                  <a:cubicBezTo>
                    <a:pt x="592" y="1934"/>
                    <a:pt x="588" y="1941"/>
                    <a:pt x="584" y="1948"/>
                  </a:cubicBezTo>
                  <a:cubicBezTo>
                    <a:pt x="579" y="1956"/>
                    <a:pt x="579" y="1956"/>
                    <a:pt x="579" y="1956"/>
                  </a:cubicBezTo>
                  <a:cubicBezTo>
                    <a:pt x="579" y="1956"/>
                    <a:pt x="579" y="1956"/>
                    <a:pt x="579" y="1956"/>
                  </a:cubicBezTo>
                  <a:close/>
                  <a:moveTo>
                    <a:pt x="1064" y="2056"/>
                  </a:moveTo>
                  <a:cubicBezTo>
                    <a:pt x="1064" y="2057"/>
                    <a:pt x="1064" y="2059"/>
                    <a:pt x="1064" y="2060"/>
                  </a:cubicBezTo>
                  <a:cubicBezTo>
                    <a:pt x="1064" y="2060"/>
                    <a:pt x="1064" y="2060"/>
                    <a:pt x="1064" y="2061"/>
                  </a:cubicBezTo>
                  <a:cubicBezTo>
                    <a:pt x="1063" y="2062"/>
                    <a:pt x="1063" y="2063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2" y="2064"/>
                    <a:pt x="1062" y="2064"/>
                    <a:pt x="1062" y="2064"/>
                  </a:cubicBezTo>
                  <a:cubicBezTo>
                    <a:pt x="1061" y="2065"/>
                    <a:pt x="1060" y="2066"/>
                    <a:pt x="1059" y="2067"/>
                  </a:cubicBezTo>
                  <a:cubicBezTo>
                    <a:pt x="1059" y="2067"/>
                    <a:pt x="1059" y="2067"/>
                    <a:pt x="1059" y="2068"/>
                  </a:cubicBezTo>
                  <a:cubicBezTo>
                    <a:pt x="1058" y="2069"/>
                    <a:pt x="1057" y="2069"/>
                    <a:pt x="1056" y="2070"/>
                  </a:cubicBezTo>
                  <a:cubicBezTo>
                    <a:pt x="1056" y="2070"/>
                    <a:pt x="1055" y="2071"/>
                    <a:pt x="1055" y="2071"/>
                  </a:cubicBezTo>
                  <a:cubicBezTo>
                    <a:pt x="1055" y="2071"/>
                    <a:pt x="1055" y="2071"/>
                    <a:pt x="1055" y="2071"/>
                  </a:cubicBezTo>
                  <a:cubicBezTo>
                    <a:pt x="1053" y="2072"/>
                    <a:pt x="1052" y="2072"/>
                    <a:pt x="1051" y="2073"/>
                  </a:cubicBezTo>
                  <a:cubicBezTo>
                    <a:pt x="1051" y="2073"/>
                    <a:pt x="1051" y="2073"/>
                    <a:pt x="1050" y="2073"/>
                  </a:cubicBezTo>
                  <a:cubicBezTo>
                    <a:pt x="1049" y="2074"/>
                    <a:pt x="1048" y="2074"/>
                    <a:pt x="1047" y="2074"/>
                  </a:cubicBezTo>
                  <a:cubicBezTo>
                    <a:pt x="1047" y="2075"/>
                    <a:pt x="1046" y="2075"/>
                    <a:pt x="1046" y="2075"/>
                  </a:cubicBezTo>
                  <a:cubicBezTo>
                    <a:pt x="1046" y="2075"/>
                    <a:pt x="1045" y="2075"/>
                    <a:pt x="1045" y="2075"/>
                  </a:cubicBezTo>
                  <a:cubicBezTo>
                    <a:pt x="1045" y="2075"/>
                    <a:pt x="1045" y="2075"/>
                    <a:pt x="1044" y="2075"/>
                  </a:cubicBezTo>
                  <a:cubicBezTo>
                    <a:pt x="1043" y="2076"/>
                    <a:pt x="1042" y="2076"/>
                    <a:pt x="1041" y="2076"/>
                  </a:cubicBezTo>
                  <a:cubicBezTo>
                    <a:pt x="1039" y="2076"/>
                    <a:pt x="1038" y="2076"/>
                    <a:pt x="1037" y="2077"/>
                  </a:cubicBezTo>
                  <a:cubicBezTo>
                    <a:pt x="1036" y="2077"/>
                    <a:pt x="1035" y="2077"/>
                    <a:pt x="1034" y="2077"/>
                  </a:cubicBezTo>
                  <a:cubicBezTo>
                    <a:pt x="1033" y="2077"/>
                    <a:pt x="1033" y="2077"/>
                    <a:pt x="1033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31" y="2077"/>
                    <a:pt x="1031" y="2077"/>
                    <a:pt x="1031" y="2077"/>
                  </a:cubicBezTo>
                  <a:cubicBezTo>
                    <a:pt x="1025" y="2077"/>
                    <a:pt x="1018" y="2077"/>
                    <a:pt x="1011" y="2077"/>
                  </a:cubicBezTo>
                  <a:cubicBezTo>
                    <a:pt x="981" y="2077"/>
                    <a:pt x="630" y="2078"/>
                    <a:pt x="605" y="2078"/>
                  </a:cubicBezTo>
                  <a:cubicBezTo>
                    <a:pt x="604" y="2078"/>
                    <a:pt x="602" y="2078"/>
                    <a:pt x="600" y="2078"/>
                  </a:cubicBezTo>
                  <a:cubicBezTo>
                    <a:pt x="598" y="2077"/>
                    <a:pt x="596" y="2077"/>
                    <a:pt x="594" y="2076"/>
                  </a:cubicBezTo>
                  <a:cubicBezTo>
                    <a:pt x="590" y="2075"/>
                    <a:pt x="588" y="2074"/>
                    <a:pt x="586" y="2072"/>
                  </a:cubicBezTo>
                  <a:cubicBezTo>
                    <a:pt x="584" y="2070"/>
                    <a:pt x="583" y="2068"/>
                    <a:pt x="582" y="2065"/>
                  </a:cubicBezTo>
                  <a:cubicBezTo>
                    <a:pt x="582" y="2063"/>
                    <a:pt x="582" y="2060"/>
                    <a:pt x="584" y="2057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4" y="2056"/>
                    <a:pt x="584" y="2056"/>
                    <a:pt x="584" y="2056"/>
                  </a:cubicBezTo>
                  <a:cubicBezTo>
                    <a:pt x="588" y="2048"/>
                    <a:pt x="592" y="2040"/>
                    <a:pt x="596" y="2031"/>
                  </a:cubicBezTo>
                  <a:cubicBezTo>
                    <a:pt x="597" y="2030"/>
                    <a:pt x="598" y="2029"/>
                    <a:pt x="598" y="2027"/>
                  </a:cubicBezTo>
                  <a:cubicBezTo>
                    <a:pt x="601" y="2021"/>
                    <a:pt x="601" y="2021"/>
                    <a:pt x="601" y="2021"/>
                  </a:cubicBezTo>
                  <a:cubicBezTo>
                    <a:pt x="603" y="2018"/>
                    <a:pt x="605" y="2016"/>
                    <a:pt x="607" y="2014"/>
                  </a:cubicBezTo>
                  <a:cubicBezTo>
                    <a:pt x="608" y="2013"/>
                    <a:pt x="609" y="2013"/>
                    <a:pt x="609" y="2012"/>
                  </a:cubicBezTo>
                  <a:cubicBezTo>
                    <a:pt x="610" y="2012"/>
                    <a:pt x="610" y="2012"/>
                    <a:pt x="610" y="2011"/>
                  </a:cubicBezTo>
                  <a:cubicBezTo>
                    <a:pt x="611" y="2011"/>
                    <a:pt x="612" y="2011"/>
                    <a:pt x="612" y="2010"/>
                  </a:cubicBezTo>
                  <a:cubicBezTo>
                    <a:pt x="612" y="2010"/>
                    <a:pt x="612" y="2010"/>
                    <a:pt x="613" y="2010"/>
                  </a:cubicBezTo>
                  <a:cubicBezTo>
                    <a:pt x="613" y="2010"/>
                    <a:pt x="613" y="2010"/>
                    <a:pt x="614" y="2009"/>
                  </a:cubicBezTo>
                  <a:cubicBezTo>
                    <a:pt x="615" y="2009"/>
                    <a:pt x="616" y="2008"/>
                    <a:pt x="617" y="2008"/>
                  </a:cubicBezTo>
                  <a:cubicBezTo>
                    <a:pt x="617" y="2008"/>
                    <a:pt x="618" y="2007"/>
                    <a:pt x="618" y="2007"/>
                  </a:cubicBezTo>
                  <a:cubicBezTo>
                    <a:pt x="619" y="2007"/>
                    <a:pt x="620" y="2007"/>
                    <a:pt x="621" y="2006"/>
                  </a:cubicBezTo>
                  <a:cubicBezTo>
                    <a:pt x="622" y="2006"/>
                    <a:pt x="623" y="2005"/>
                    <a:pt x="625" y="2005"/>
                  </a:cubicBezTo>
                  <a:cubicBezTo>
                    <a:pt x="625" y="2005"/>
                    <a:pt x="626" y="2004"/>
                    <a:pt x="627" y="2004"/>
                  </a:cubicBezTo>
                  <a:cubicBezTo>
                    <a:pt x="627" y="2004"/>
                    <a:pt x="628" y="2004"/>
                    <a:pt x="628" y="2004"/>
                  </a:cubicBezTo>
                  <a:cubicBezTo>
                    <a:pt x="632" y="2003"/>
                    <a:pt x="636" y="2002"/>
                    <a:pt x="640" y="2002"/>
                  </a:cubicBezTo>
                  <a:cubicBezTo>
                    <a:pt x="640" y="2002"/>
                    <a:pt x="1008" y="2001"/>
                    <a:pt x="1021" y="2001"/>
                  </a:cubicBezTo>
                  <a:cubicBezTo>
                    <a:pt x="1026" y="2001"/>
                    <a:pt x="1030" y="2001"/>
                    <a:pt x="1034" y="2001"/>
                  </a:cubicBezTo>
                  <a:cubicBezTo>
                    <a:pt x="1036" y="2001"/>
                    <a:pt x="1038" y="2002"/>
                    <a:pt x="1040" y="2002"/>
                  </a:cubicBezTo>
                  <a:cubicBezTo>
                    <a:pt x="1040" y="2002"/>
                    <a:pt x="1040" y="2002"/>
                    <a:pt x="1041" y="2002"/>
                  </a:cubicBezTo>
                  <a:cubicBezTo>
                    <a:pt x="1042" y="2002"/>
                    <a:pt x="1044" y="2002"/>
                    <a:pt x="1045" y="2003"/>
                  </a:cubicBezTo>
                  <a:cubicBezTo>
                    <a:pt x="1045" y="2003"/>
                    <a:pt x="1046" y="2003"/>
                    <a:pt x="1046" y="2003"/>
                  </a:cubicBezTo>
                  <a:cubicBezTo>
                    <a:pt x="1046" y="2003"/>
                    <a:pt x="1046" y="2003"/>
                    <a:pt x="1046" y="2003"/>
                  </a:cubicBezTo>
                  <a:cubicBezTo>
                    <a:pt x="1048" y="2003"/>
                    <a:pt x="1049" y="2004"/>
                    <a:pt x="1050" y="2004"/>
                  </a:cubicBezTo>
                  <a:cubicBezTo>
                    <a:pt x="1050" y="2004"/>
                    <a:pt x="1051" y="2005"/>
                    <a:pt x="1051" y="2005"/>
                  </a:cubicBezTo>
                  <a:cubicBezTo>
                    <a:pt x="1052" y="2005"/>
                    <a:pt x="1053" y="2006"/>
                    <a:pt x="1054" y="2006"/>
                  </a:cubicBezTo>
                  <a:cubicBezTo>
                    <a:pt x="1055" y="2006"/>
                    <a:pt x="1055" y="2007"/>
                    <a:pt x="1055" y="2007"/>
                  </a:cubicBezTo>
                  <a:cubicBezTo>
                    <a:pt x="1055" y="2007"/>
                    <a:pt x="1055" y="2007"/>
                    <a:pt x="1056" y="2007"/>
                  </a:cubicBezTo>
                  <a:cubicBezTo>
                    <a:pt x="1056" y="2008"/>
                    <a:pt x="1057" y="2008"/>
                    <a:pt x="1058" y="2009"/>
                  </a:cubicBezTo>
                  <a:cubicBezTo>
                    <a:pt x="1059" y="2010"/>
                    <a:pt x="1061" y="2011"/>
                    <a:pt x="1061" y="2013"/>
                  </a:cubicBezTo>
                  <a:cubicBezTo>
                    <a:pt x="1063" y="2015"/>
                    <a:pt x="1064" y="2017"/>
                    <a:pt x="1064" y="2020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22"/>
                    <a:pt x="1064" y="2022"/>
                    <a:pt x="1064" y="2022"/>
                  </a:cubicBezTo>
                  <a:cubicBezTo>
                    <a:pt x="1064" y="2031"/>
                    <a:pt x="1064" y="2040"/>
                    <a:pt x="1064" y="2049"/>
                  </a:cubicBezTo>
                  <a:cubicBezTo>
                    <a:pt x="1064" y="2051"/>
                    <a:pt x="1064" y="2054"/>
                    <a:pt x="1064" y="2056"/>
                  </a:cubicBezTo>
                  <a:close/>
                  <a:moveTo>
                    <a:pt x="1114" y="1878"/>
                  </a:moveTo>
                  <a:cubicBezTo>
                    <a:pt x="1114" y="1878"/>
                    <a:pt x="1114" y="1877"/>
                    <a:pt x="1113" y="1877"/>
                  </a:cubicBezTo>
                  <a:cubicBezTo>
                    <a:pt x="1113" y="1877"/>
                    <a:pt x="1113" y="1877"/>
                    <a:pt x="1113" y="1877"/>
                  </a:cubicBezTo>
                  <a:cubicBezTo>
                    <a:pt x="1112" y="1875"/>
                    <a:pt x="1111" y="1873"/>
                    <a:pt x="1111" y="1871"/>
                  </a:cubicBezTo>
                  <a:cubicBezTo>
                    <a:pt x="1111" y="1870"/>
                    <a:pt x="1111" y="1870"/>
                    <a:pt x="1111" y="1870"/>
                  </a:cubicBezTo>
                  <a:cubicBezTo>
                    <a:pt x="1110" y="1868"/>
                    <a:pt x="1110" y="1867"/>
                    <a:pt x="1110" y="1866"/>
                  </a:cubicBezTo>
                  <a:cubicBezTo>
                    <a:pt x="1110" y="1866"/>
                    <a:pt x="1110" y="1866"/>
                    <a:pt x="1110" y="1866"/>
                  </a:cubicBezTo>
                  <a:cubicBezTo>
                    <a:pt x="1110" y="1861"/>
                    <a:pt x="1109" y="1855"/>
                    <a:pt x="1109" y="1849"/>
                  </a:cubicBezTo>
                  <a:cubicBezTo>
                    <a:pt x="1109" y="1848"/>
                    <a:pt x="1109" y="1848"/>
                    <a:pt x="1109" y="1848"/>
                  </a:cubicBezTo>
                  <a:cubicBezTo>
                    <a:pt x="1109" y="1846"/>
                    <a:pt x="1109" y="1844"/>
                    <a:pt x="1110" y="1843"/>
                  </a:cubicBezTo>
                  <a:cubicBezTo>
                    <a:pt x="1112" y="1841"/>
                    <a:pt x="1113" y="1840"/>
                    <a:pt x="1115" y="1839"/>
                  </a:cubicBezTo>
                  <a:cubicBezTo>
                    <a:pt x="1118" y="1838"/>
                    <a:pt x="1120" y="1837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3" y="1836"/>
                    <a:pt x="1123" y="1836"/>
                    <a:pt x="1123" y="1836"/>
                  </a:cubicBezTo>
                  <a:cubicBezTo>
                    <a:pt x="1124" y="1836"/>
                    <a:pt x="1125" y="1836"/>
                    <a:pt x="1126" y="1836"/>
                  </a:cubicBezTo>
                  <a:cubicBezTo>
                    <a:pt x="1127" y="1836"/>
                    <a:pt x="1127" y="1836"/>
                    <a:pt x="1128" y="1836"/>
                  </a:cubicBezTo>
                  <a:cubicBezTo>
                    <a:pt x="1133" y="1835"/>
                    <a:pt x="1138" y="1835"/>
                    <a:pt x="1143" y="1835"/>
                  </a:cubicBezTo>
                  <a:cubicBezTo>
                    <a:pt x="1176" y="1835"/>
                    <a:pt x="1176" y="1835"/>
                    <a:pt x="1176" y="1835"/>
                  </a:cubicBezTo>
                  <a:cubicBezTo>
                    <a:pt x="1178" y="1835"/>
                    <a:pt x="1180" y="1835"/>
                    <a:pt x="1182" y="1836"/>
                  </a:cubicBezTo>
                  <a:cubicBezTo>
                    <a:pt x="1191" y="1837"/>
                    <a:pt x="1201" y="1839"/>
                    <a:pt x="1203" y="1848"/>
                  </a:cubicBezTo>
                  <a:cubicBezTo>
                    <a:pt x="1205" y="1855"/>
                    <a:pt x="1206" y="1863"/>
                    <a:pt x="1207" y="1870"/>
                  </a:cubicBezTo>
                  <a:cubicBezTo>
                    <a:pt x="1207" y="1871"/>
                    <a:pt x="1207" y="1871"/>
                    <a:pt x="1207" y="1871"/>
                  </a:cubicBezTo>
                  <a:cubicBezTo>
                    <a:pt x="1208" y="1873"/>
                    <a:pt x="1207" y="1874"/>
                    <a:pt x="1207" y="1876"/>
                  </a:cubicBezTo>
                  <a:cubicBezTo>
                    <a:pt x="1207" y="1876"/>
                    <a:pt x="1207" y="1876"/>
                    <a:pt x="1206" y="1876"/>
                  </a:cubicBezTo>
                  <a:cubicBezTo>
                    <a:pt x="1206" y="1876"/>
                    <a:pt x="1206" y="1876"/>
                    <a:pt x="1206" y="1876"/>
                  </a:cubicBezTo>
                  <a:cubicBezTo>
                    <a:pt x="1206" y="1877"/>
                    <a:pt x="1206" y="1877"/>
                    <a:pt x="1206" y="1877"/>
                  </a:cubicBezTo>
                  <a:cubicBezTo>
                    <a:pt x="1204" y="1880"/>
                    <a:pt x="1200" y="1882"/>
                    <a:pt x="1195" y="1883"/>
                  </a:cubicBezTo>
                  <a:cubicBezTo>
                    <a:pt x="1195" y="1883"/>
                    <a:pt x="1195" y="1884"/>
                    <a:pt x="1194" y="1884"/>
                  </a:cubicBezTo>
                  <a:cubicBezTo>
                    <a:pt x="1194" y="1884"/>
                    <a:pt x="1193" y="1884"/>
                    <a:pt x="1193" y="1884"/>
                  </a:cubicBezTo>
                  <a:cubicBezTo>
                    <a:pt x="1192" y="1884"/>
                    <a:pt x="1192" y="1884"/>
                    <a:pt x="1192" y="1884"/>
                  </a:cubicBezTo>
                  <a:cubicBezTo>
                    <a:pt x="1191" y="1884"/>
                    <a:pt x="1190" y="1884"/>
                    <a:pt x="1189" y="1885"/>
                  </a:cubicBezTo>
                  <a:cubicBezTo>
                    <a:pt x="1178" y="1886"/>
                    <a:pt x="1164" y="1885"/>
                    <a:pt x="1158" y="1885"/>
                  </a:cubicBezTo>
                  <a:cubicBezTo>
                    <a:pt x="1137" y="1885"/>
                    <a:pt x="1137" y="1885"/>
                    <a:pt x="1137" y="1885"/>
                  </a:cubicBezTo>
                  <a:cubicBezTo>
                    <a:pt x="1135" y="1885"/>
                    <a:pt x="1134" y="1885"/>
                    <a:pt x="1132" y="1885"/>
                  </a:cubicBezTo>
                  <a:cubicBezTo>
                    <a:pt x="1131" y="1884"/>
                    <a:pt x="1130" y="1884"/>
                    <a:pt x="1128" y="1884"/>
                  </a:cubicBezTo>
                  <a:cubicBezTo>
                    <a:pt x="1128" y="1884"/>
                    <a:pt x="1128" y="1884"/>
                    <a:pt x="1127" y="1884"/>
                  </a:cubicBezTo>
                  <a:cubicBezTo>
                    <a:pt x="1127" y="1884"/>
                    <a:pt x="1127" y="1884"/>
                    <a:pt x="1127" y="1884"/>
                  </a:cubicBezTo>
                  <a:cubicBezTo>
                    <a:pt x="1126" y="1883"/>
                    <a:pt x="1125" y="1883"/>
                    <a:pt x="1123" y="1883"/>
                  </a:cubicBezTo>
                  <a:cubicBezTo>
                    <a:pt x="1123" y="1883"/>
                    <a:pt x="1122" y="1882"/>
                    <a:pt x="1122" y="1882"/>
                  </a:cubicBezTo>
                  <a:cubicBezTo>
                    <a:pt x="1121" y="1882"/>
                    <a:pt x="1120" y="1881"/>
                    <a:pt x="1119" y="1881"/>
                  </a:cubicBezTo>
                  <a:cubicBezTo>
                    <a:pt x="1117" y="1880"/>
                    <a:pt x="1116" y="1879"/>
                    <a:pt x="1115" y="1878"/>
                  </a:cubicBezTo>
                  <a:cubicBezTo>
                    <a:pt x="1115" y="1878"/>
                    <a:pt x="1114" y="1878"/>
                    <a:pt x="1114" y="1878"/>
                  </a:cubicBezTo>
                  <a:close/>
                  <a:moveTo>
                    <a:pt x="1120" y="1961"/>
                  </a:moveTo>
                  <a:cubicBezTo>
                    <a:pt x="1118" y="1959"/>
                    <a:pt x="1117" y="1957"/>
                    <a:pt x="1117" y="1955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7" y="1952"/>
                    <a:pt x="1117" y="1952"/>
                    <a:pt x="1117" y="1952"/>
                  </a:cubicBezTo>
                  <a:cubicBezTo>
                    <a:pt x="1116" y="1943"/>
                    <a:pt x="1116" y="1935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6"/>
                    <a:pt x="1115" y="1926"/>
                    <a:pt x="1115" y="1926"/>
                  </a:cubicBezTo>
                  <a:cubicBezTo>
                    <a:pt x="1115" y="1925"/>
                    <a:pt x="1115" y="1925"/>
                    <a:pt x="1115" y="1924"/>
                  </a:cubicBezTo>
                  <a:cubicBezTo>
                    <a:pt x="1117" y="1906"/>
                    <a:pt x="1155" y="1911"/>
                    <a:pt x="1167" y="1911"/>
                  </a:cubicBezTo>
                  <a:cubicBezTo>
                    <a:pt x="1181" y="1911"/>
                    <a:pt x="1208" y="1907"/>
                    <a:pt x="1216" y="1921"/>
                  </a:cubicBezTo>
                  <a:cubicBezTo>
                    <a:pt x="1217" y="1923"/>
                    <a:pt x="1218" y="1924"/>
                    <a:pt x="1218" y="1925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27"/>
                    <a:pt x="1219" y="1927"/>
                    <a:pt x="1219" y="1927"/>
                  </a:cubicBezTo>
                  <a:cubicBezTo>
                    <a:pt x="1219" y="1931"/>
                    <a:pt x="1220" y="1936"/>
                    <a:pt x="1221" y="1940"/>
                  </a:cubicBezTo>
                  <a:cubicBezTo>
                    <a:pt x="1224" y="1955"/>
                    <a:pt x="1224" y="1955"/>
                    <a:pt x="1224" y="1955"/>
                  </a:cubicBezTo>
                  <a:cubicBezTo>
                    <a:pt x="1225" y="1957"/>
                    <a:pt x="1224" y="1959"/>
                    <a:pt x="1223" y="1961"/>
                  </a:cubicBezTo>
                  <a:cubicBezTo>
                    <a:pt x="1223" y="1962"/>
                    <a:pt x="1222" y="1963"/>
                    <a:pt x="1220" y="1964"/>
                  </a:cubicBezTo>
                  <a:cubicBezTo>
                    <a:pt x="1220" y="1965"/>
                    <a:pt x="1219" y="1965"/>
                    <a:pt x="1219" y="1966"/>
                  </a:cubicBezTo>
                  <a:cubicBezTo>
                    <a:pt x="1219" y="1966"/>
                    <a:pt x="1218" y="1966"/>
                    <a:pt x="1218" y="1966"/>
                  </a:cubicBezTo>
                  <a:cubicBezTo>
                    <a:pt x="1218" y="1966"/>
                    <a:pt x="1218" y="1966"/>
                    <a:pt x="1218" y="1967"/>
                  </a:cubicBezTo>
                  <a:cubicBezTo>
                    <a:pt x="1217" y="1967"/>
                    <a:pt x="1216" y="1967"/>
                    <a:pt x="1215" y="1968"/>
                  </a:cubicBezTo>
                  <a:cubicBezTo>
                    <a:pt x="1215" y="1968"/>
                    <a:pt x="1214" y="1968"/>
                    <a:pt x="1213" y="1969"/>
                  </a:cubicBezTo>
                  <a:cubicBezTo>
                    <a:pt x="1213" y="1969"/>
                    <a:pt x="1212" y="1969"/>
                    <a:pt x="1212" y="1969"/>
                  </a:cubicBezTo>
                  <a:cubicBezTo>
                    <a:pt x="1211" y="1969"/>
                    <a:pt x="1211" y="1970"/>
                    <a:pt x="1210" y="1970"/>
                  </a:cubicBezTo>
                  <a:cubicBezTo>
                    <a:pt x="1209" y="1970"/>
                    <a:pt x="1209" y="1970"/>
                    <a:pt x="1208" y="1970"/>
                  </a:cubicBezTo>
                  <a:cubicBezTo>
                    <a:pt x="1208" y="1970"/>
                    <a:pt x="1207" y="1970"/>
                    <a:pt x="1207" y="1970"/>
                  </a:cubicBezTo>
                  <a:cubicBezTo>
                    <a:pt x="1206" y="1971"/>
                    <a:pt x="1205" y="1971"/>
                    <a:pt x="1204" y="1971"/>
                  </a:cubicBezTo>
                  <a:cubicBezTo>
                    <a:pt x="1202" y="1971"/>
                    <a:pt x="1201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99" y="1971"/>
                    <a:pt x="1199" y="1971"/>
                    <a:pt x="1199" y="1971"/>
                  </a:cubicBezTo>
                  <a:cubicBezTo>
                    <a:pt x="1181" y="1971"/>
                    <a:pt x="1164" y="1971"/>
                    <a:pt x="1147" y="1971"/>
                  </a:cubicBezTo>
                  <a:cubicBezTo>
                    <a:pt x="1145" y="1971"/>
                    <a:pt x="1143" y="1971"/>
                    <a:pt x="1141" y="1971"/>
                  </a:cubicBezTo>
                  <a:cubicBezTo>
                    <a:pt x="1141" y="1971"/>
                    <a:pt x="1140" y="1971"/>
                    <a:pt x="1140" y="1971"/>
                  </a:cubicBezTo>
                  <a:cubicBezTo>
                    <a:pt x="1139" y="1971"/>
                    <a:pt x="1137" y="1970"/>
                    <a:pt x="1136" y="1970"/>
                  </a:cubicBezTo>
                  <a:cubicBezTo>
                    <a:pt x="1136" y="1970"/>
                    <a:pt x="1136" y="1970"/>
                    <a:pt x="1136" y="1970"/>
                  </a:cubicBezTo>
                  <a:cubicBezTo>
                    <a:pt x="1135" y="1970"/>
                    <a:pt x="1135" y="1970"/>
                    <a:pt x="1135" y="1970"/>
                  </a:cubicBezTo>
                  <a:cubicBezTo>
                    <a:pt x="1134" y="1969"/>
                    <a:pt x="1132" y="1969"/>
                    <a:pt x="1131" y="1969"/>
                  </a:cubicBezTo>
                  <a:cubicBezTo>
                    <a:pt x="1130" y="1968"/>
                    <a:pt x="1130" y="1968"/>
                    <a:pt x="1129" y="1968"/>
                  </a:cubicBezTo>
                  <a:cubicBezTo>
                    <a:pt x="1128" y="1967"/>
                    <a:pt x="1128" y="1967"/>
                    <a:pt x="1127" y="1967"/>
                  </a:cubicBezTo>
                  <a:cubicBezTo>
                    <a:pt x="1127" y="1967"/>
                    <a:pt x="1126" y="1967"/>
                    <a:pt x="1126" y="1966"/>
                  </a:cubicBezTo>
                  <a:cubicBezTo>
                    <a:pt x="1124" y="1965"/>
                    <a:pt x="1121" y="1963"/>
                    <a:pt x="1120" y="1961"/>
                  </a:cubicBezTo>
                  <a:close/>
                  <a:moveTo>
                    <a:pt x="1244" y="2063"/>
                  </a:moveTo>
                  <a:cubicBezTo>
                    <a:pt x="1243" y="2066"/>
                    <a:pt x="1241" y="2068"/>
                    <a:pt x="1238" y="2070"/>
                  </a:cubicBezTo>
                  <a:cubicBezTo>
                    <a:pt x="1236" y="2072"/>
                    <a:pt x="1233" y="2074"/>
                    <a:pt x="1229" y="2075"/>
                  </a:cubicBezTo>
                  <a:cubicBezTo>
                    <a:pt x="1225" y="2076"/>
                    <a:pt x="1221" y="2076"/>
                    <a:pt x="1217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205" y="2076"/>
                    <a:pt x="1205" y="2076"/>
                    <a:pt x="1205" y="2076"/>
                  </a:cubicBezTo>
                  <a:cubicBezTo>
                    <a:pt x="1189" y="2076"/>
                    <a:pt x="1174" y="2076"/>
                    <a:pt x="1158" y="2077"/>
                  </a:cubicBezTo>
                  <a:cubicBezTo>
                    <a:pt x="1156" y="2077"/>
                    <a:pt x="1154" y="2076"/>
                    <a:pt x="1152" y="2076"/>
                  </a:cubicBezTo>
                  <a:cubicBezTo>
                    <a:pt x="1152" y="2076"/>
                    <a:pt x="1151" y="2076"/>
                    <a:pt x="1151" y="2076"/>
                  </a:cubicBezTo>
                  <a:cubicBezTo>
                    <a:pt x="1149" y="2076"/>
                    <a:pt x="1148" y="2075"/>
                    <a:pt x="1146" y="2075"/>
                  </a:cubicBezTo>
                  <a:cubicBezTo>
                    <a:pt x="1146" y="2075"/>
                    <a:pt x="1146" y="2075"/>
                    <a:pt x="1146" y="2075"/>
                  </a:cubicBezTo>
                  <a:cubicBezTo>
                    <a:pt x="1145" y="2075"/>
                    <a:pt x="1145" y="2075"/>
                    <a:pt x="1145" y="2075"/>
                  </a:cubicBezTo>
                  <a:cubicBezTo>
                    <a:pt x="1138" y="2073"/>
                    <a:pt x="1132" y="2069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8" y="2064"/>
                    <a:pt x="1128" y="2064"/>
                    <a:pt x="1128" y="2064"/>
                  </a:cubicBezTo>
                  <a:cubicBezTo>
                    <a:pt x="1127" y="2063"/>
                    <a:pt x="1126" y="2062"/>
                    <a:pt x="1126" y="2060"/>
                  </a:cubicBezTo>
                  <a:cubicBezTo>
                    <a:pt x="1126" y="2060"/>
                    <a:pt x="1126" y="2059"/>
                    <a:pt x="1125" y="2059"/>
                  </a:cubicBezTo>
                  <a:cubicBezTo>
                    <a:pt x="1125" y="2058"/>
                    <a:pt x="1125" y="2057"/>
                    <a:pt x="1125" y="2057"/>
                  </a:cubicBezTo>
                  <a:cubicBezTo>
                    <a:pt x="1125" y="2056"/>
                    <a:pt x="1125" y="2056"/>
                    <a:pt x="1125" y="2056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5" y="2055"/>
                    <a:pt x="1125" y="2055"/>
                    <a:pt x="1125" y="2055"/>
                  </a:cubicBezTo>
                  <a:cubicBezTo>
                    <a:pt x="1124" y="2046"/>
                    <a:pt x="1123" y="2037"/>
                    <a:pt x="1123" y="2029"/>
                  </a:cubicBezTo>
                  <a:cubicBezTo>
                    <a:pt x="1123" y="2027"/>
                    <a:pt x="1122" y="2026"/>
                    <a:pt x="1122" y="2024"/>
                  </a:cubicBezTo>
                  <a:cubicBezTo>
                    <a:pt x="1122" y="2020"/>
                    <a:pt x="1122" y="2020"/>
                    <a:pt x="1122" y="2020"/>
                  </a:cubicBezTo>
                  <a:cubicBezTo>
                    <a:pt x="1122" y="2019"/>
                    <a:pt x="1122" y="2019"/>
                    <a:pt x="1122" y="2019"/>
                  </a:cubicBezTo>
                  <a:cubicBezTo>
                    <a:pt x="1122" y="2018"/>
                    <a:pt x="1122" y="2017"/>
                    <a:pt x="1122" y="2016"/>
                  </a:cubicBezTo>
                  <a:cubicBezTo>
                    <a:pt x="1122" y="2016"/>
                    <a:pt x="1123" y="2016"/>
                    <a:pt x="1123" y="2015"/>
                  </a:cubicBezTo>
                  <a:cubicBezTo>
                    <a:pt x="1123" y="2014"/>
                    <a:pt x="1123" y="2014"/>
                    <a:pt x="1123" y="2013"/>
                  </a:cubicBezTo>
                  <a:cubicBezTo>
                    <a:pt x="1124" y="2013"/>
                    <a:pt x="1124" y="2013"/>
                    <a:pt x="1124" y="2012"/>
                  </a:cubicBezTo>
                  <a:cubicBezTo>
                    <a:pt x="1124" y="2012"/>
                    <a:pt x="1124" y="2012"/>
                    <a:pt x="1124" y="2012"/>
                  </a:cubicBezTo>
                  <a:cubicBezTo>
                    <a:pt x="1125" y="2011"/>
                    <a:pt x="1125" y="2010"/>
                    <a:pt x="1126" y="2010"/>
                  </a:cubicBezTo>
                  <a:cubicBezTo>
                    <a:pt x="1126" y="2009"/>
                    <a:pt x="1127" y="2009"/>
                    <a:pt x="1127" y="2009"/>
                  </a:cubicBezTo>
                  <a:cubicBezTo>
                    <a:pt x="1128" y="2008"/>
                    <a:pt x="1128" y="2008"/>
                    <a:pt x="1129" y="2007"/>
                  </a:cubicBezTo>
                  <a:cubicBezTo>
                    <a:pt x="1129" y="2007"/>
                    <a:pt x="1129" y="2007"/>
                    <a:pt x="1130" y="2006"/>
                  </a:cubicBezTo>
                  <a:cubicBezTo>
                    <a:pt x="1130" y="2006"/>
                    <a:pt x="1130" y="2006"/>
                    <a:pt x="1130" y="2006"/>
                  </a:cubicBezTo>
                  <a:cubicBezTo>
                    <a:pt x="1131" y="2006"/>
                    <a:pt x="1132" y="2005"/>
                    <a:pt x="1133" y="2004"/>
                  </a:cubicBezTo>
                  <a:cubicBezTo>
                    <a:pt x="1134" y="2004"/>
                    <a:pt x="1134" y="2004"/>
                    <a:pt x="1134" y="2004"/>
                  </a:cubicBezTo>
                  <a:cubicBezTo>
                    <a:pt x="1134" y="2004"/>
                    <a:pt x="1135" y="2004"/>
                    <a:pt x="1135" y="2004"/>
                  </a:cubicBezTo>
                  <a:cubicBezTo>
                    <a:pt x="1135" y="2004"/>
                    <a:pt x="1135" y="2004"/>
                    <a:pt x="1136" y="2004"/>
                  </a:cubicBezTo>
                  <a:cubicBezTo>
                    <a:pt x="1137" y="2003"/>
                    <a:pt x="1138" y="2003"/>
                    <a:pt x="1139" y="2003"/>
                  </a:cubicBezTo>
                  <a:cubicBezTo>
                    <a:pt x="1139" y="2002"/>
                    <a:pt x="1140" y="2002"/>
                    <a:pt x="1140" y="2002"/>
                  </a:cubicBezTo>
                  <a:cubicBezTo>
                    <a:pt x="1141" y="2002"/>
                    <a:pt x="1141" y="2002"/>
                    <a:pt x="1142" y="2002"/>
                  </a:cubicBezTo>
                  <a:cubicBezTo>
                    <a:pt x="1143" y="2002"/>
                    <a:pt x="1145" y="2001"/>
                    <a:pt x="1147" y="2001"/>
                  </a:cubicBezTo>
                  <a:cubicBezTo>
                    <a:pt x="1147" y="2001"/>
                    <a:pt x="1148" y="2001"/>
                    <a:pt x="1148" y="2001"/>
                  </a:cubicBezTo>
                  <a:cubicBezTo>
                    <a:pt x="1149" y="2001"/>
                    <a:pt x="1149" y="2001"/>
                    <a:pt x="1150" y="2001"/>
                  </a:cubicBezTo>
                  <a:cubicBezTo>
                    <a:pt x="1153" y="2001"/>
                    <a:pt x="1153" y="2001"/>
                    <a:pt x="1153" y="2001"/>
                  </a:cubicBezTo>
                  <a:cubicBezTo>
                    <a:pt x="1155" y="2001"/>
                    <a:pt x="1158" y="2001"/>
                    <a:pt x="1160" y="2001"/>
                  </a:cubicBezTo>
                  <a:cubicBezTo>
                    <a:pt x="1163" y="2001"/>
                    <a:pt x="1165" y="2001"/>
                    <a:pt x="1168" y="2001"/>
                  </a:cubicBezTo>
                  <a:cubicBezTo>
                    <a:pt x="1191" y="2001"/>
                    <a:pt x="1191" y="2001"/>
                    <a:pt x="1191" y="2001"/>
                  </a:cubicBezTo>
                  <a:cubicBezTo>
                    <a:pt x="1197" y="2001"/>
                    <a:pt x="1203" y="2001"/>
                    <a:pt x="1209" y="2001"/>
                  </a:cubicBezTo>
                  <a:cubicBezTo>
                    <a:pt x="1210" y="2001"/>
                    <a:pt x="1211" y="2001"/>
                    <a:pt x="1212" y="2002"/>
                  </a:cubicBezTo>
                  <a:cubicBezTo>
                    <a:pt x="1212" y="2002"/>
                    <a:pt x="1213" y="2002"/>
                    <a:pt x="1214" y="2002"/>
                  </a:cubicBezTo>
                  <a:cubicBezTo>
                    <a:pt x="1214" y="2002"/>
                    <a:pt x="1214" y="2002"/>
                    <a:pt x="1215" y="2002"/>
                  </a:cubicBezTo>
                  <a:cubicBezTo>
                    <a:pt x="1215" y="2002"/>
                    <a:pt x="1216" y="2002"/>
                    <a:pt x="1216" y="2002"/>
                  </a:cubicBezTo>
                  <a:cubicBezTo>
                    <a:pt x="1216" y="2002"/>
                    <a:pt x="1216" y="2003"/>
                    <a:pt x="1217" y="2003"/>
                  </a:cubicBezTo>
                  <a:cubicBezTo>
                    <a:pt x="1218" y="2003"/>
                    <a:pt x="1219" y="2003"/>
                    <a:pt x="1220" y="2004"/>
                  </a:cubicBezTo>
                  <a:cubicBezTo>
                    <a:pt x="1221" y="2004"/>
                    <a:pt x="1221" y="2004"/>
                    <a:pt x="1222" y="2004"/>
                  </a:cubicBezTo>
                  <a:cubicBezTo>
                    <a:pt x="1222" y="2005"/>
                    <a:pt x="1223" y="2005"/>
                    <a:pt x="1223" y="2005"/>
                  </a:cubicBezTo>
                  <a:cubicBezTo>
                    <a:pt x="1224" y="2005"/>
                    <a:pt x="1225" y="2006"/>
                    <a:pt x="1226" y="2006"/>
                  </a:cubicBezTo>
                  <a:cubicBezTo>
                    <a:pt x="1229" y="2008"/>
                    <a:pt x="1231" y="2010"/>
                    <a:pt x="1233" y="2012"/>
                  </a:cubicBezTo>
                  <a:cubicBezTo>
                    <a:pt x="1235" y="2014"/>
                    <a:pt x="1237" y="2017"/>
                    <a:pt x="1237" y="2019"/>
                  </a:cubicBezTo>
                  <a:cubicBezTo>
                    <a:pt x="1240" y="2034"/>
                    <a:pt x="1240" y="2034"/>
                    <a:pt x="1240" y="2034"/>
                  </a:cubicBezTo>
                  <a:cubicBezTo>
                    <a:pt x="1241" y="2040"/>
                    <a:pt x="1243" y="2046"/>
                    <a:pt x="1244" y="2052"/>
                  </a:cubicBezTo>
                  <a:cubicBezTo>
                    <a:pt x="1244" y="2052"/>
                    <a:pt x="1244" y="2052"/>
                    <a:pt x="1244" y="2052"/>
                  </a:cubicBezTo>
                  <a:cubicBezTo>
                    <a:pt x="1244" y="2055"/>
                    <a:pt x="1244" y="2055"/>
                    <a:pt x="1244" y="2055"/>
                  </a:cubicBezTo>
                  <a:cubicBezTo>
                    <a:pt x="1245" y="2058"/>
                    <a:pt x="1245" y="2061"/>
                    <a:pt x="1244" y="2063"/>
                  </a:cubicBezTo>
                  <a:close/>
                  <a:moveTo>
                    <a:pt x="1349" y="1880"/>
                  </a:moveTo>
                  <a:cubicBezTo>
                    <a:pt x="1346" y="1879"/>
                    <a:pt x="1344" y="1878"/>
                    <a:pt x="1342" y="1876"/>
                  </a:cubicBezTo>
                  <a:cubicBezTo>
                    <a:pt x="1340" y="1875"/>
                    <a:pt x="1338" y="1873"/>
                    <a:pt x="1338" y="1871"/>
                  </a:cubicBezTo>
                  <a:cubicBezTo>
                    <a:pt x="1337" y="1868"/>
                    <a:pt x="1337" y="1868"/>
                    <a:pt x="1337" y="1868"/>
                  </a:cubicBezTo>
                  <a:cubicBezTo>
                    <a:pt x="1335" y="1863"/>
                    <a:pt x="1333" y="1859"/>
                    <a:pt x="1332" y="1854"/>
                  </a:cubicBezTo>
                  <a:cubicBezTo>
                    <a:pt x="1331" y="1852"/>
                    <a:pt x="1329" y="1848"/>
                    <a:pt x="1329" y="1845"/>
                  </a:cubicBezTo>
                  <a:cubicBezTo>
                    <a:pt x="1329" y="1845"/>
                    <a:pt x="1329" y="1845"/>
                    <a:pt x="1329" y="1844"/>
                  </a:cubicBezTo>
                  <a:cubicBezTo>
                    <a:pt x="1329" y="1844"/>
                    <a:pt x="1329" y="1844"/>
                    <a:pt x="1329" y="1844"/>
                  </a:cubicBezTo>
                  <a:cubicBezTo>
                    <a:pt x="1329" y="1844"/>
                    <a:pt x="1329" y="1843"/>
                    <a:pt x="1329" y="1843"/>
                  </a:cubicBezTo>
                  <a:cubicBezTo>
                    <a:pt x="1329" y="1843"/>
                    <a:pt x="1329" y="1843"/>
                    <a:pt x="1329" y="1842"/>
                  </a:cubicBezTo>
                  <a:cubicBezTo>
                    <a:pt x="1329" y="1842"/>
                    <a:pt x="1329" y="1842"/>
                    <a:pt x="1329" y="1842"/>
                  </a:cubicBezTo>
                  <a:cubicBezTo>
                    <a:pt x="1333" y="1834"/>
                    <a:pt x="1348" y="1835"/>
                    <a:pt x="1355" y="1835"/>
                  </a:cubicBezTo>
                  <a:cubicBezTo>
                    <a:pt x="1392" y="1835"/>
                    <a:pt x="1392" y="1835"/>
                    <a:pt x="1392" y="1835"/>
                  </a:cubicBezTo>
                  <a:cubicBezTo>
                    <a:pt x="1396" y="1835"/>
                    <a:pt x="1399" y="1835"/>
                    <a:pt x="1402" y="1836"/>
                  </a:cubicBezTo>
                  <a:cubicBezTo>
                    <a:pt x="1403" y="1836"/>
                    <a:pt x="1404" y="1836"/>
                    <a:pt x="1405" y="1836"/>
                  </a:cubicBezTo>
                  <a:cubicBezTo>
                    <a:pt x="1405" y="1836"/>
                    <a:pt x="1405" y="1837"/>
                    <a:pt x="1406" y="1837"/>
                  </a:cubicBezTo>
                  <a:cubicBezTo>
                    <a:pt x="1406" y="1837"/>
                    <a:pt x="1407" y="1837"/>
                    <a:pt x="1408" y="1837"/>
                  </a:cubicBezTo>
                  <a:cubicBezTo>
                    <a:pt x="1409" y="1837"/>
                    <a:pt x="1410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1" y="1838"/>
                    <a:pt x="1411" y="1838"/>
                    <a:pt x="1411" y="1838"/>
                  </a:cubicBezTo>
                  <a:cubicBezTo>
                    <a:pt x="1412" y="1839"/>
                    <a:pt x="1413" y="1839"/>
                    <a:pt x="1414" y="1840"/>
                  </a:cubicBezTo>
                  <a:cubicBezTo>
                    <a:pt x="1415" y="1840"/>
                    <a:pt x="1415" y="1840"/>
                    <a:pt x="1416" y="1841"/>
                  </a:cubicBezTo>
                  <a:cubicBezTo>
                    <a:pt x="1416" y="1841"/>
                    <a:pt x="1416" y="1841"/>
                    <a:pt x="1417" y="1841"/>
                  </a:cubicBezTo>
                  <a:cubicBezTo>
                    <a:pt x="1417" y="1841"/>
                    <a:pt x="1417" y="1841"/>
                    <a:pt x="1417" y="1842"/>
                  </a:cubicBezTo>
                  <a:cubicBezTo>
                    <a:pt x="1418" y="1842"/>
                    <a:pt x="1418" y="1842"/>
                    <a:pt x="1418" y="1842"/>
                  </a:cubicBezTo>
                  <a:cubicBezTo>
                    <a:pt x="1420" y="1844"/>
                    <a:pt x="1422" y="1845"/>
                    <a:pt x="1423" y="1847"/>
                  </a:cubicBezTo>
                  <a:cubicBezTo>
                    <a:pt x="1423" y="1847"/>
                    <a:pt x="1423" y="1847"/>
                    <a:pt x="1423" y="1847"/>
                  </a:cubicBezTo>
                  <a:cubicBezTo>
                    <a:pt x="1426" y="1852"/>
                    <a:pt x="1428" y="1859"/>
                    <a:pt x="1431" y="1864"/>
                  </a:cubicBezTo>
                  <a:cubicBezTo>
                    <a:pt x="1431" y="1864"/>
                    <a:pt x="1431" y="1864"/>
                    <a:pt x="1431" y="1864"/>
                  </a:cubicBezTo>
                  <a:cubicBezTo>
                    <a:pt x="1432" y="1867"/>
                    <a:pt x="1434" y="1870"/>
                    <a:pt x="1435" y="1873"/>
                  </a:cubicBezTo>
                  <a:cubicBezTo>
                    <a:pt x="1435" y="1873"/>
                    <a:pt x="1435" y="1873"/>
                    <a:pt x="1435" y="1873"/>
                  </a:cubicBezTo>
                  <a:cubicBezTo>
                    <a:pt x="1435" y="1873"/>
                    <a:pt x="1435" y="1873"/>
                    <a:pt x="1435" y="1874"/>
                  </a:cubicBezTo>
                  <a:cubicBezTo>
                    <a:pt x="1436" y="1879"/>
                    <a:pt x="1431" y="1882"/>
                    <a:pt x="1425" y="1883"/>
                  </a:cubicBezTo>
                  <a:cubicBezTo>
                    <a:pt x="1425" y="1883"/>
                    <a:pt x="1425" y="1883"/>
                    <a:pt x="1425" y="1883"/>
                  </a:cubicBezTo>
                  <a:cubicBezTo>
                    <a:pt x="1425" y="1883"/>
                    <a:pt x="1424" y="1883"/>
                    <a:pt x="1424" y="1883"/>
                  </a:cubicBezTo>
                  <a:cubicBezTo>
                    <a:pt x="1423" y="1884"/>
                    <a:pt x="1422" y="1884"/>
                    <a:pt x="1421" y="1884"/>
                  </a:cubicBezTo>
                  <a:cubicBezTo>
                    <a:pt x="1421" y="1884"/>
                    <a:pt x="1420" y="1884"/>
                    <a:pt x="1420" y="1884"/>
                  </a:cubicBezTo>
                  <a:cubicBezTo>
                    <a:pt x="1419" y="1884"/>
                    <a:pt x="1418" y="1884"/>
                    <a:pt x="1417" y="1884"/>
                  </a:cubicBezTo>
                  <a:cubicBezTo>
                    <a:pt x="1417" y="1884"/>
                    <a:pt x="1416" y="1884"/>
                    <a:pt x="1416" y="1884"/>
                  </a:cubicBezTo>
                  <a:cubicBezTo>
                    <a:pt x="1416" y="1884"/>
                    <a:pt x="1416" y="1884"/>
                    <a:pt x="1415" y="1884"/>
                  </a:cubicBezTo>
                  <a:cubicBezTo>
                    <a:pt x="1414" y="1884"/>
                    <a:pt x="1414" y="1884"/>
                    <a:pt x="1414" y="1884"/>
                  </a:cubicBezTo>
                  <a:cubicBezTo>
                    <a:pt x="1408" y="1884"/>
                    <a:pt x="1403" y="1884"/>
                    <a:pt x="1397" y="1884"/>
                  </a:cubicBezTo>
                  <a:cubicBezTo>
                    <a:pt x="1387" y="1884"/>
                    <a:pt x="1378" y="1884"/>
                    <a:pt x="1368" y="1884"/>
                  </a:cubicBezTo>
                  <a:cubicBezTo>
                    <a:pt x="1362" y="1884"/>
                    <a:pt x="1355" y="1883"/>
                    <a:pt x="1349" y="1880"/>
                  </a:cubicBezTo>
                  <a:cubicBezTo>
                    <a:pt x="1349" y="1880"/>
                    <a:pt x="1349" y="1880"/>
                    <a:pt x="1349" y="1880"/>
                  </a:cubicBezTo>
                  <a:close/>
                  <a:moveTo>
                    <a:pt x="1373" y="1961"/>
                  </a:moveTo>
                  <a:cubicBezTo>
                    <a:pt x="1371" y="1959"/>
                    <a:pt x="1369" y="1956"/>
                    <a:pt x="1369" y="1954"/>
                  </a:cubicBezTo>
                  <a:cubicBezTo>
                    <a:pt x="1363" y="1940"/>
                    <a:pt x="1363" y="1940"/>
                    <a:pt x="1363" y="1940"/>
                  </a:cubicBezTo>
                  <a:cubicBezTo>
                    <a:pt x="1362" y="1935"/>
                    <a:pt x="1360" y="1931"/>
                    <a:pt x="1359" y="1927"/>
                  </a:cubicBezTo>
                  <a:cubicBezTo>
                    <a:pt x="1359" y="1927"/>
                    <a:pt x="1359" y="1927"/>
                    <a:pt x="1359" y="1927"/>
                  </a:cubicBezTo>
                  <a:cubicBezTo>
                    <a:pt x="1358" y="1925"/>
                    <a:pt x="1358" y="1925"/>
                    <a:pt x="1358" y="1925"/>
                  </a:cubicBezTo>
                  <a:cubicBezTo>
                    <a:pt x="1357" y="1923"/>
                    <a:pt x="1357" y="1921"/>
                    <a:pt x="1358" y="1919"/>
                  </a:cubicBezTo>
                  <a:cubicBezTo>
                    <a:pt x="1358" y="1918"/>
                    <a:pt x="1359" y="1917"/>
                    <a:pt x="1360" y="1916"/>
                  </a:cubicBezTo>
                  <a:cubicBezTo>
                    <a:pt x="1360" y="1916"/>
                    <a:pt x="1361" y="1916"/>
                    <a:pt x="1361" y="1915"/>
                  </a:cubicBezTo>
                  <a:cubicBezTo>
                    <a:pt x="1361" y="1915"/>
                    <a:pt x="1361" y="1915"/>
                    <a:pt x="1362" y="1915"/>
                  </a:cubicBezTo>
                  <a:cubicBezTo>
                    <a:pt x="1364" y="1913"/>
                    <a:pt x="1366" y="1912"/>
                    <a:pt x="1369" y="1911"/>
                  </a:cubicBezTo>
                  <a:cubicBezTo>
                    <a:pt x="1371" y="1911"/>
                    <a:pt x="1374" y="1910"/>
                    <a:pt x="1376" y="1910"/>
                  </a:cubicBezTo>
                  <a:cubicBezTo>
                    <a:pt x="1386" y="1909"/>
                    <a:pt x="1397" y="1910"/>
                    <a:pt x="1402" y="1910"/>
                  </a:cubicBezTo>
                  <a:cubicBezTo>
                    <a:pt x="1420" y="1910"/>
                    <a:pt x="1451" y="1906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1" y="1925"/>
                    <a:pt x="1461" y="1925"/>
                    <a:pt x="1461" y="1925"/>
                  </a:cubicBezTo>
                  <a:cubicBezTo>
                    <a:pt x="1465" y="1933"/>
                    <a:pt x="1469" y="1940"/>
                    <a:pt x="1473" y="1948"/>
                  </a:cubicBezTo>
                  <a:cubicBezTo>
                    <a:pt x="1474" y="1951"/>
                    <a:pt x="1476" y="1953"/>
                    <a:pt x="1476" y="1956"/>
                  </a:cubicBezTo>
                  <a:cubicBezTo>
                    <a:pt x="1476" y="1956"/>
                    <a:pt x="1476" y="1956"/>
                    <a:pt x="1476" y="1957"/>
                  </a:cubicBezTo>
                  <a:cubicBezTo>
                    <a:pt x="1477" y="1957"/>
                    <a:pt x="1477" y="1958"/>
                    <a:pt x="1477" y="1958"/>
                  </a:cubicBezTo>
                  <a:cubicBezTo>
                    <a:pt x="1477" y="1959"/>
                    <a:pt x="1477" y="1959"/>
                    <a:pt x="1477" y="1960"/>
                  </a:cubicBezTo>
                  <a:cubicBezTo>
                    <a:pt x="1477" y="1960"/>
                    <a:pt x="1477" y="1960"/>
                    <a:pt x="1477" y="1960"/>
                  </a:cubicBezTo>
                  <a:cubicBezTo>
                    <a:pt x="1477" y="1960"/>
                    <a:pt x="1476" y="1961"/>
                    <a:pt x="1476" y="1961"/>
                  </a:cubicBezTo>
                  <a:cubicBezTo>
                    <a:pt x="1476" y="1962"/>
                    <a:pt x="1476" y="1962"/>
                    <a:pt x="1475" y="1963"/>
                  </a:cubicBezTo>
                  <a:cubicBezTo>
                    <a:pt x="1475" y="1963"/>
                    <a:pt x="1475" y="1963"/>
                    <a:pt x="1475" y="1963"/>
                  </a:cubicBezTo>
                  <a:cubicBezTo>
                    <a:pt x="1475" y="1964"/>
                    <a:pt x="1474" y="1965"/>
                    <a:pt x="1474" y="1965"/>
                  </a:cubicBezTo>
                  <a:cubicBezTo>
                    <a:pt x="1473" y="1965"/>
                    <a:pt x="1473" y="1965"/>
                    <a:pt x="1473" y="1966"/>
                  </a:cubicBezTo>
                  <a:cubicBezTo>
                    <a:pt x="1473" y="1966"/>
                    <a:pt x="1473" y="1966"/>
                    <a:pt x="1472" y="1966"/>
                  </a:cubicBezTo>
                  <a:cubicBezTo>
                    <a:pt x="1472" y="1966"/>
                    <a:pt x="1472" y="1967"/>
                    <a:pt x="1471" y="1967"/>
                  </a:cubicBezTo>
                  <a:cubicBezTo>
                    <a:pt x="1470" y="1968"/>
                    <a:pt x="1468" y="1969"/>
                    <a:pt x="1466" y="1969"/>
                  </a:cubicBezTo>
                  <a:cubicBezTo>
                    <a:pt x="1465" y="1969"/>
                    <a:pt x="1465" y="1969"/>
                    <a:pt x="1464" y="1970"/>
                  </a:cubicBezTo>
                  <a:cubicBezTo>
                    <a:pt x="1463" y="1970"/>
                    <a:pt x="1462" y="1970"/>
                    <a:pt x="1462" y="1970"/>
                  </a:cubicBezTo>
                  <a:cubicBezTo>
                    <a:pt x="1461" y="1970"/>
                    <a:pt x="1461" y="1970"/>
                    <a:pt x="1461" y="1970"/>
                  </a:cubicBezTo>
                  <a:cubicBezTo>
                    <a:pt x="1460" y="1970"/>
                    <a:pt x="1460" y="1970"/>
                    <a:pt x="1460" y="1970"/>
                  </a:cubicBezTo>
                  <a:cubicBezTo>
                    <a:pt x="1441" y="1972"/>
                    <a:pt x="1422" y="1971"/>
                    <a:pt x="1403" y="1971"/>
                  </a:cubicBezTo>
                  <a:cubicBezTo>
                    <a:pt x="1401" y="1971"/>
                    <a:pt x="1399" y="1971"/>
                    <a:pt x="1397" y="1970"/>
                  </a:cubicBezTo>
                  <a:cubicBezTo>
                    <a:pt x="1397" y="1970"/>
                    <a:pt x="1397" y="1970"/>
                    <a:pt x="1397" y="1970"/>
                  </a:cubicBezTo>
                  <a:cubicBezTo>
                    <a:pt x="1390" y="1970"/>
                    <a:pt x="1383" y="1967"/>
                    <a:pt x="1377" y="1964"/>
                  </a:cubicBezTo>
                  <a:cubicBezTo>
                    <a:pt x="1376" y="1963"/>
                    <a:pt x="1374" y="1962"/>
                    <a:pt x="1373" y="1961"/>
                  </a:cubicBezTo>
                  <a:close/>
                  <a:moveTo>
                    <a:pt x="1527" y="2063"/>
                  </a:moveTo>
                  <a:cubicBezTo>
                    <a:pt x="1527" y="2063"/>
                    <a:pt x="1527" y="2064"/>
                    <a:pt x="1527" y="2064"/>
                  </a:cubicBezTo>
                  <a:cubicBezTo>
                    <a:pt x="1527" y="2065"/>
                    <a:pt x="1526" y="2065"/>
                    <a:pt x="1526" y="2065"/>
                  </a:cubicBezTo>
                  <a:cubicBezTo>
                    <a:pt x="1526" y="2066"/>
                    <a:pt x="1526" y="2066"/>
                    <a:pt x="1525" y="2067"/>
                  </a:cubicBezTo>
                  <a:cubicBezTo>
                    <a:pt x="1525" y="2067"/>
                    <a:pt x="1525" y="2068"/>
                    <a:pt x="1525" y="2068"/>
                  </a:cubicBezTo>
                  <a:cubicBezTo>
                    <a:pt x="1525" y="2068"/>
                    <a:pt x="1524" y="2068"/>
                    <a:pt x="1524" y="2069"/>
                  </a:cubicBezTo>
                  <a:cubicBezTo>
                    <a:pt x="1524" y="2069"/>
                    <a:pt x="1524" y="2069"/>
                    <a:pt x="1524" y="2069"/>
                  </a:cubicBezTo>
                  <a:cubicBezTo>
                    <a:pt x="1524" y="2069"/>
                    <a:pt x="1523" y="2070"/>
                    <a:pt x="1523" y="2070"/>
                  </a:cubicBezTo>
                  <a:cubicBezTo>
                    <a:pt x="1520" y="2073"/>
                    <a:pt x="1515" y="2074"/>
                    <a:pt x="1511" y="2075"/>
                  </a:cubicBezTo>
                  <a:cubicBezTo>
                    <a:pt x="1510" y="2075"/>
                    <a:pt x="1510" y="2075"/>
                    <a:pt x="1510" y="2075"/>
                  </a:cubicBezTo>
                  <a:cubicBezTo>
                    <a:pt x="1508" y="2075"/>
                    <a:pt x="1506" y="2076"/>
                    <a:pt x="1504" y="2076"/>
                  </a:cubicBezTo>
                  <a:cubicBezTo>
                    <a:pt x="1504" y="2076"/>
                    <a:pt x="1504" y="2076"/>
                    <a:pt x="1504" y="2076"/>
                  </a:cubicBezTo>
                  <a:cubicBezTo>
                    <a:pt x="1503" y="2076"/>
                    <a:pt x="1503" y="2076"/>
                    <a:pt x="1503" y="2076"/>
                  </a:cubicBezTo>
                  <a:cubicBezTo>
                    <a:pt x="1501" y="2076"/>
                    <a:pt x="1499" y="2076"/>
                    <a:pt x="1497" y="2076"/>
                  </a:cubicBezTo>
                  <a:cubicBezTo>
                    <a:pt x="1446" y="2076"/>
                    <a:pt x="1446" y="2076"/>
                    <a:pt x="1446" y="2076"/>
                  </a:cubicBezTo>
                  <a:cubicBezTo>
                    <a:pt x="1444" y="2076"/>
                    <a:pt x="1441" y="2076"/>
                    <a:pt x="1439" y="2075"/>
                  </a:cubicBezTo>
                  <a:cubicBezTo>
                    <a:pt x="1439" y="2075"/>
                    <a:pt x="1438" y="2075"/>
                    <a:pt x="1438" y="2075"/>
                  </a:cubicBezTo>
                  <a:cubicBezTo>
                    <a:pt x="1427" y="2074"/>
                    <a:pt x="1414" y="2069"/>
                    <a:pt x="1408" y="2059"/>
                  </a:cubicBezTo>
                  <a:cubicBezTo>
                    <a:pt x="1407" y="2058"/>
                    <a:pt x="1407" y="2056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6" y="2055"/>
                    <a:pt x="1406" y="2055"/>
                    <a:pt x="1406" y="2055"/>
                  </a:cubicBezTo>
                  <a:cubicBezTo>
                    <a:pt x="1403" y="2047"/>
                    <a:pt x="1400" y="2040"/>
                    <a:pt x="1398" y="2032"/>
                  </a:cubicBezTo>
                  <a:cubicBezTo>
                    <a:pt x="1396" y="2029"/>
                    <a:pt x="1394" y="2024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3" y="2019"/>
                    <a:pt x="1393" y="2019"/>
                    <a:pt x="1393" y="2019"/>
                  </a:cubicBezTo>
                  <a:cubicBezTo>
                    <a:pt x="1392" y="2018"/>
                    <a:pt x="1392" y="2018"/>
                    <a:pt x="1392" y="2017"/>
                  </a:cubicBezTo>
                  <a:cubicBezTo>
                    <a:pt x="1392" y="2015"/>
                    <a:pt x="1392" y="2013"/>
                    <a:pt x="1392" y="2012"/>
                  </a:cubicBezTo>
                  <a:cubicBezTo>
                    <a:pt x="1393" y="2011"/>
                    <a:pt x="1393" y="2010"/>
                    <a:pt x="1394" y="2009"/>
                  </a:cubicBezTo>
                  <a:cubicBezTo>
                    <a:pt x="1394" y="2009"/>
                    <a:pt x="1394" y="2009"/>
                    <a:pt x="1394" y="2009"/>
                  </a:cubicBezTo>
                  <a:cubicBezTo>
                    <a:pt x="1397" y="2004"/>
                    <a:pt x="1403" y="2002"/>
                    <a:pt x="1409" y="2001"/>
                  </a:cubicBezTo>
                  <a:cubicBezTo>
                    <a:pt x="1409" y="2001"/>
                    <a:pt x="1409" y="2001"/>
                    <a:pt x="1410" y="2001"/>
                  </a:cubicBezTo>
                  <a:cubicBezTo>
                    <a:pt x="1411" y="2001"/>
                    <a:pt x="1413" y="2001"/>
                    <a:pt x="1414" y="2000"/>
                  </a:cubicBezTo>
                  <a:cubicBezTo>
                    <a:pt x="1414" y="2000"/>
                    <a:pt x="1415" y="2000"/>
                    <a:pt x="1415" y="2000"/>
                  </a:cubicBezTo>
                  <a:cubicBezTo>
                    <a:pt x="1418" y="2000"/>
                    <a:pt x="1418" y="2000"/>
                    <a:pt x="1418" y="2000"/>
                  </a:cubicBezTo>
                  <a:cubicBezTo>
                    <a:pt x="1419" y="2000"/>
                    <a:pt x="1420" y="2000"/>
                    <a:pt x="1421" y="2000"/>
                  </a:cubicBezTo>
                  <a:cubicBezTo>
                    <a:pt x="1437" y="2000"/>
                    <a:pt x="1453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1471" y="2000"/>
                    <a:pt x="1473" y="2000"/>
                    <a:pt x="1475" y="2001"/>
                  </a:cubicBezTo>
                  <a:cubicBezTo>
                    <a:pt x="1475" y="2001"/>
                    <a:pt x="1476" y="2001"/>
                    <a:pt x="1476" y="2001"/>
                  </a:cubicBezTo>
                  <a:cubicBezTo>
                    <a:pt x="1487" y="2002"/>
                    <a:pt x="1499" y="2006"/>
                    <a:pt x="1505" y="2015"/>
                  </a:cubicBezTo>
                  <a:cubicBezTo>
                    <a:pt x="1506" y="2016"/>
                    <a:pt x="1507" y="2017"/>
                    <a:pt x="1508" y="2019"/>
                  </a:cubicBezTo>
                  <a:cubicBezTo>
                    <a:pt x="1509" y="2022"/>
                    <a:pt x="1509" y="2022"/>
                    <a:pt x="1509" y="2022"/>
                  </a:cubicBezTo>
                  <a:cubicBezTo>
                    <a:pt x="1512" y="2028"/>
                    <a:pt x="1516" y="2035"/>
                    <a:pt x="1519" y="2041"/>
                  </a:cubicBezTo>
                  <a:cubicBezTo>
                    <a:pt x="1521" y="2045"/>
                    <a:pt x="1524" y="2051"/>
                    <a:pt x="1526" y="2056"/>
                  </a:cubicBezTo>
                  <a:cubicBezTo>
                    <a:pt x="1527" y="2058"/>
                    <a:pt x="1527" y="2061"/>
                    <a:pt x="1527" y="2063"/>
                  </a:cubicBezTo>
                  <a:close/>
                  <a:moveTo>
                    <a:pt x="1640" y="2000"/>
                  </a:moveTo>
                  <a:cubicBezTo>
                    <a:pt x="1642" y="2000"/>
                    <a:pt x="1643" y="2000"/>
                    <a:pt x="1645" y="2000"/>
                  </a:cubicBezTo>
                  <a:cubicBezTo>
                    <a:pt x="1645" y="2000"/>
                    <a:pt x="1645" y="2000"/>
                    <a:pt x="1646" y="2000"/>
                  </a:cubicBezTo>
                  <a:cubicBezTo>
                    <a:pt x="1657" y="2002"/>
                    <a:pt x="1669" y="2006"/>
                    <a:pt x="1677" y="2014"/>
                  </a:cubicBezTo>
                  <a:cubicBezTo>
                    <a:pt x="1678" y="2014"/>
                    <a:pt x="1678" y="2015"/>
                    <a:pt x="1678" y="2015"/>
                  </a:cubicBezTo>
                  <a:cubicBezTo>
                    <a:pt x="1679" y="2016"/>
                    <a:pt x="1679" y="2016"/>
                    <a:pt x="1680" y="2017"/>
                  </a:cubicBezTo>
                  <a:cubicBezTo>
                    <a:pt x="1680" y="2017"/>
                    <a:pt x="1680" y="2017"/>
                    <a:pt x="1680" y="2018"/>
                  </a:cubicBezTo>
                  <a:cubicBezTo>
                    <a:pt x="1681" y="2018"/>
                    <a:pt x="1681" y="2018"/>
                    <a:pt x="1681" y="2018"/>
                  </a:cubicBezTo>
                  <a:cubicBezTo>
                    <a:pt x="1682" y="2019"/>
                    <a:pt x="1682" y="2019"/>
                    <a:pt x="1682" y="2019"/>
                  </a:cubicBezTo>
                  <a:cubicBezTo>
                    <a:pt x="1685" y="2024"/>
                    <a:pt x="1688" y="2029"/>
                    <a:pt x="1692" y="2034"/>
                  </a:cubicBezTo>
                  <a:cubicBezTo>
                    <a:pt x="1692" y="2034"/>
                    <a:pt x="1692" y="2034"/>
                    <a:pt x="1692" y="2034"/>
                  </a:cubicBezTo>
                  <a:cubicBezTo>
                    <a:pt x="1697" y="2041"/>
                    <a:pt x="1703" y="2049"/>
                    <a:pt x="1707" y="2056"/>
                  </a:cubicBezTo>
                  <a:cubicBezTo>
                    <a:pt x="1707" y="2057"/>
                    <a:pt x="1707" y="2057"/>
                    <a:pt x="1708" y="2058"/>
                  </a:cubicBezTo>
                  <a:cubicBezTo>
                    <a:pt x="1708" y="2058"/>
                    <a:pt x="1708" y="2058"/>
                    <a:pt x="1708" y="2058"/>
                  </a:cubicBezTo>
                  <a:cubicBezTo>
                    <a:pt x="1709" y="2063"/>
                    <a:pt x="1709" y="2066"/>
                    <a:pt x="1707" y="2068"/>
                  </a:cubicBezTo>
                  <a:cubicBezTo>
                    <a:pt x="1706" y="2069"/>
                    <a:pt x="1706" y="2069"/>
                    <a:pt x="1706" y="2069"/>
                  </a:cubicBezTo>
                  <a:cubicBezTo>
                    <a:pt x="1705" y="2071"/>
                    <a:pt x="1702" y="2072"/>
                    <a:pt x="1699" y="2073"/>
                  </a:cubicBezTo>
                  <a:cubicBezTo>
                    <a:pt x="1696" y="2074"/>
                    <a:pt x="1692" y="2075"/>
                    <a:pt x="1688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84" y="2075"/>
                    <a:pt x="1684" y="2075"/>
                    <a:pt x="1684" y="2075"/>
                  </a:cubicBezTo>
                  <a:cubicBezTo>
                    <a:pt x="1666" y="2075"/>
                    <a:pt x="1648" y="2075"/>
                    <a:pt x="1629" y="2075"/>
                  </a:cubicBezTo>
                  <a:cubicBezTo>
                    <a:pt x="1627" y="2075"/>
                    <a:pt x="1625" y="2075"/>
                    <a:pt x="1623" y="2075"/>
                  </a:cubicBezTo>
                  <a:cubicBezTo>
                    <a:pt x="1623" y="2075"/>
                    <a:pt x="1623" y="2075"/>
                    <a:pt x="1623" y="2075"/>
                  </a:cubicBezTo>
                  <a:cubicBezTo>
                    <a:pt x="1610" y="2073"/>
                    <a:pt x="1597" y="2068"/>
                    <a:pt x="1589" y="2059"/>
                  </a:cubicBezTo>
                  <a:cubicBezTo>
                    <a:pt x="1588" y="2057"/>
                    <a:pt x="1587" y="2056"/>
                    <a:pt x="1586" y="2055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6" y="2054"/>
                    <a:pt x="1586" y="2054"/>
                    <a:pt x="1586" y="2054"/>
                  </a:cubicBezTo>
                  <a:cubicBezTo>
                    <a:pt x="1582" y="2047"/>
                    <a:pt x="1578" y="2041"/>
                    <a:pt x="1574" y="2034"/>
                  </a:cubicBezTo>
                  <a:cubicBezTo>
                    <a:pt x="1571" y="2029"/>
                    <a:pt x="1566" y="2021"/>
                    <a:pt x="1564" y="2015"/>
                  </a:cubicBezTo>
                  <a:cubicBezTo>
                    <a:pt x="1564" y="2015"/>
                    <a:pt x="1564" y="2015"/>
                    <a:pt x="1564" y="2014"/>
                  </a:cubicBezTo>
                  <a:cubicBezTo>
                    <a:pt x="1564" y="2014"/>
                    <a:pt x="1564" y="2013"/>
                    <a:pt x="1564" y="2013"/>
                  </a:cubicBezTo>
                  <a:cubicBezTo>
                    <a:pt x="1564" y="2006"/>
                    <a:pt x="1568" y="2003"/>
                    <a:pt x="1574" y="2002"/>
                  </a:cubicBezTo>
                  <a:cubicBezTo>
                    <a:pt x="1574" y="2001"/>
                    <a:pt x="1574" y="2001"/>
                    <a:pt x="1574" y="2001"/>
                  </a:cubicBezTo>
                  <a:cubicBezTo>
                    <a:pt x="1574" y="2001"/>
                    <a:pt x="1575" y="2001"/>
                    <a:pt x="1575" y="2001"/>
                  </a:cubicBezTo>
                  <a:cubicBezTo>
                    <a:pt x="1575" y="2001"/>
                    <a:pt x="1576" y="2001"/>
                    <a:pt x="1576" y="2001"/>
                  </a:cubicBezTo>
                  <a:cubicBezTo>
                    <a:pt x="1579" y="2000"/>
                    <a:pt x="1581" y="2000"/>
                    <a:pt x="1585" y="2000"/>
                  </a:cubicBezTo>
                  <a:cubicBezTo>
                    <a:pt x="1621" y="2000"/>
                    <a:pt x="1621" y="2000"/>
                    <a:pt x="1621" y="2000"/>
                  </a:cubicBezTo>
                  <a:cubicBezTo>
                    <a:pt x="1627" y="2000"/>
                    <a:pt x="1633" y="2000"/>
                    <a:pt x="1639" y="2000"/>
                  </a:cubicBezTo>
                  <a:cubicBezTo>
                    <a:pt x="1639" y="2000"/>
                    <a:pt x="1639" y="2000"/>
                    <a:pt x="1639" y="2000"/>
                  </a:cubicBezTo>
                  <a:cubicBezTo>
                    <a:pt x="1639" y="2000"/>
                    <a:pt x="1640" y="2000"/>
                    <a:pt x="1640" y="2000"/>
                  </a:cubicBezTo>
                  <a:close/>
                  <a:moveTo>
                    <a:pt x="1617" y="1924"/>
                  </a:moveTo>
                  <a:cubicBezTo>
                    <a:pt x="1621" y="1930"/>
                    <a:pt x="1625" y="1937"/>
                    <a:pt x="1629" y="1943"/>
                  </a:cubicBezTo>
                  <a:cubicBezTo>
                    <a:pt x="1631" y="1946"/>
                    <a:pt x="1635" y="1950"/>
                    <a:pt x="1637" y="1955"/>
                  </a:cubicBezTo>
                  <a:cubicBezTo>
                    <a:pt x="1638" y="1956"/>
                    <a:pt x="1639" y="1958"/>
                    <a:pt x="1639" y="1960"/>
                  </a:cubicBezTo>
                  <a:cubicBezTo>
                    <a:pt x="1639" y="1961"/>
                    <a:pt x="1638" y="1962"/>
                    <a:pt x="1638" y="1963"/>
                  </a:cubicBezTo>
                  <a:cubicBezTo>
                    <a:pt x="1637" y="1964"/>
                    <a:pt x="1637" y="1964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5"/>
                    <a:pt x="1636" y="1965"/>
                    <a:pt x="1636" y="1965"/>
                  </a:cubicBezTo>
                  <a:cubicBezTo>
                    <a:pt x="1636" y="1966"/>
                    <a:pt x="1635" y="1966"/>
                    <a:pt x="1635" y="1966"/>
                  </a:cubicBezTo>
                  <a:cubicBezTo>
                    <a:pt x="1635" y="1966"/>
                    <a:pt x="1634" y="1967"/>
                    <a:pt x="1634" y="1967"/>
                  </a:cubicBezTo>
                  <a:cubicBezTo>
                    <a:pt x="1634" y="1967"/>
                    <a:pt x="1633" y="1967"/>
                    <a:pt x="1632" y="1968"/>
                  </a:cubicBezTo>
                  <a:cubicBezTo>
                    <a:pt x="1632" y="1968"/>
                    <a:pt x="1631" y="1968"/>
                    <a:pt x="1630" y="1969"/>
                  </a:cubicBezTo>
                  <a:cubicBezTo>
                    <a:pt x="1630" y="1969"/>
                    <a:pt x="1630" y="1969"/>
                    <a:pt x="1630" y="1969"/>
                  </a:cubicBezTo>
                  <a:cubicBezTo>
                    <a:pt x="1630" y="1969"/>
                    <a:pt x="1630" y="1969"/>
                    <a:pt x="1629" y="1969"/>
                  </a:cubicBezTo>
                  <a:cubicBezTo>
                    <a:pt x="1620" y="1972"/>
                    <a:pt x="1607" y="1970"/>
                    <a:pt x="1598" y="1970"/>
                  </a:cubicBezTo>
                  <a:cubicBezTo>
                    <a:pt x="1588" y="1970"/>
                    <a:pt x="1578" y="1970"/>
                    <a:pt x="1567" y="1970"/>
                  </a:cubicBezTo>
                  <a:cubicBezTo>
                    <a:pt x="1558" y="1970"/>
                    <a:pt x="1547" y="1968"/>
                    <a:pt x="1539" y="1962"/>
                  </a:cubicBezTo>
                  <a:cubicBezTo>
                    <a:pt x="1538" y="1962"/>
                    <a:pt x="1536" y="1961"/>
                    <a:pt x="1535" y="1960"/>
                  </a:cubicBezTo>
                  <a:cubicBezTo>
                    <a:pt x="1533" y="1958"/>
                    <a:pt x="1531" y="1956"/>
                    <a:pt x="1530" y="1954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9" y="1952"/>
                    <a:pt x="1529" y="1952"/>
                    <a:pt x="1529" y="1952"/>
                  </a:cubicBezTo>
                  <a:cubicBezTo>
                    <a:pt x="1524" y="1944"/>
                    <a:pt x="1520" y="1936"/>
                    <a:pt x="1515" y="1928"/>
                  </a:cubicBezTo>
                  <a:cubicBezTo>
                    <a:pt x="1513" y="1925"/>
                    <a:pt x="1513" y="1925"/>
                    <a:pt x="1513" y="1925"/>
                  </a:cubicBezTo>
                  <a:cubicBezTo>
                    <a:pt x="1512" y="1923"/>
                    <a:pt x="1512" y="1921"/>
                    <a:pt x="1512" y="1919"/>
                  </a:cubicBezTo>
                  <a:cubicBezTo>
                    <a:pt x="1512" y="1917"/>
                    <a:pt x="1513" y="1915"/>
                    <a:pt x="1515" y="1914"/>
                  </a:cubicBezTo>
                  <a:cubicBezTo>
                    <a:pt x="1517" y="1913"/>
                    <a:pt x="1519" y="1912"/>
                    <a:pt x="1522" y="1911"/>
                  </a:cubicBezTo>
                  <a:cubicBezTo>
                    <a:pt x="1524" y="1910"/>
                    <a:pt x="1528" y="1910"/>
                    <a:pt x="1531" y="1910"/>
                  </a:cubicBezTo>
                  <a:cubicBezTo>
                    <a:pt x="1532" y="1910"/>
                    <a:pt x="1532" y="1910"/>
                    <a:pt x="1532" y="1910"/>
                  </a:cubicBezTo>
                  <a:cubicBezTo>
                    <a:pt x="1540" y="1909"/>
                    <a:pt x="1548" y="1910"/>
                    <a:pt x="1553" y="1910"/>
                  </a:cubicBezTo>
                  <a:cubicBezTo>
                    <a:pt x="1573" y="1910"/>
                    <a:pt x="1604" y="1906"/>
                    <a:pt x="1617" y="1924"/>
                  </a:cubicBezTo>
                  <a:close/>
                  <a:moveTo>
                    <a:pt x="366" y="1441"/>
                  </a:moveTo>
                  <a:cubicBezTo>
                    <a:pt x="372" y="1443"/>
                    <a:pt x="377" y="1446"/>
                    <a:pt x="382" y="1448"/>
                  </a:cubicBezTo>
                  <a:cubicBezTo>
                    <a:pt x="392" y="1453"/>
                    <a:pt x="403" y="1458"/>
                    <a:pt x="413" y="1462"/>
                  </a:cubicBezTo>
                  <a:cubicBezTo>
                    <a:pt x="418" y="1464"/>
                    <a:pt x="422" y="1466"/>
                    <a:pt x="426" y="1468"/>
                  </a:cubicBezTo>
                  <a:cubicBezTo>
                    <a:pt x="430" y="1469"/>
                    <a:pt x="433" y="1470"/>
                    <a:pt x="437" y="1472"/>
                  </a:cubicBezTo>
                  <a:cubicBezTo>
                    <a:pt x="458" y="1479"/>
                    <a:pt x="479" y="1486"/>
                    <a:pt x="502" y="1492"/>
                  </a:cubicBezTo>
                  <a:cubicBezTo>
                    <a:pt x="527" y="1499"/>
                    <a:pt x="552" y="1505"/>
                    <a:pt x="578" y="1510"/>
                  </a:cubicBezTo>
                  <a:cubicBezTo>
                    <a:pt x="683" y="1532"/>
                    <a:pt x="786" y="1541"/>
                    <a:pt x="819" y="1542"/>
                  </a:cubicBezTo>
                  <a:cubicBezTo>
                    <a:pt x="819" y="1610"/>
                    <a:pt x="819" y="1610"/>
                    <a:pt x="819" y="1610"/>
                  </a:cubicBezTo>
                  <a:cubicBezTo>
                    <a:pt x="857" y="1570"/>
                    <a:pt x="857" y="1570"/>
                    <a:pt x="857" y="1570"/>
                  </a:cubicBezTo>
                  <a:cubicBezTo>
                    <a:pt x="906" y="1518"/>
                    <a:pt x="906" y="1518"/>
                    <a:pt x="906" y="1518"/>
                  </a:cubicBezTo>
                  <a:cubicBezTo>
                    <a:pt x="1019" y="1399"/>
                    <a:pt x="1019" y="1399"/>
                    <a:pt x="1019" y="1399"/>
                  </a:cubicBezTo>
                  <a:cubicBezTo>
                    <a:pt x="933" y="1308"/>
                    <a:pt x="933" y="1308"/>
                    <a:pt x="933" y="1308"/>
                  </a:cubicBezTo>
                  <a:cubicBezTo>
                    <a:pt x="819" y="1188"/>
                    <a:pt x="819" y="1188"/>
                    <a:pt x="819" y="1188"/>
                  </a:cubicBezTo>
                  <a:cubicBezTo>
                    <a:pt x="819" y="1271"/>
                    <a:pt x="819" y="1271"/>
                    <a:pt x="819" y="1271"/>
                  </a:cubicBezTo>
                  <a:cubicBezTo>
                    <a:pt x="740" y="1279"/>
                    <a:pt x="653" y="1266"/>
                    <a:pt x="578" y="1249"/>
                  </a:cubicBezTo>
                  <a:cubicBezTo>
                    <a:pt x="550" y="1242"/>
                    <a:pt x="525" y="1235"/>
                    <a:pt x="502" y="1229"/>
                  </a:cubicBezTo>
                  <a:cubicBezTo>
                    <a:pt x="471" y="1219"/>
                    <a:pt x="445" y="1211"/>
                    <a:pt x="426" y="1204"/>
                  </a:cubicBezTo>
                  <a:cubicBezTo>
                    <a:pt x="422" y="1202"/>
                    <a:pt x="418" y="1201"/>
                    <a:pt x="415" y="1199"/>
                  </a:cubicBezTo>
                  <a:cubicBezTo>
                    <a:pt x="414" y="1199"/>
                    <a:pt x="414" y="1199"/>
                    <a:pt x="413" y="1199"/>
                  </a:cubicBezTo>
                  <a:cubicBezTo>
                    <a:pt x="413" y="1199"/>
                    <a:pt x="413" y="1199"/>
                    <a:pt x="413" y="1199"/>
                  </a:cubicBezTo>
                  <a:cubicBezTo>
                    <a:pt x="354" y="1175"/>
                    <a:pt x="300" y="1147"/>
                    <a:pt x="253" y="1115"/>
                  </a:cubicBezTo>
                  <a:cubicBezTo>
                    <a:pt x="189" y="1073"/>
                    <a:pt x="142" y="1028"/>
                    <a:pt x="110" y="981"/>
                  </a:cubicBezTo>
                  <a:cubicBezTo>
                    <a:pt x="94" y="963"/>
                    <a:pt x="80" y="944"/>
                    <a:pt x="68" y="925"/>
                  </a:cubicBezTo>
                  <a:cubicBezTo>
                    <a:pt x="33" y="870"/>
                    <a:pt x="13" y="811"/>
                    <a:pt x="11" y="751"/>
                  </a:cubicBezTo>
                  <a:cubicBezTo>
                    <a:pt x="7" y="768"/>
                    <a:pt x="4" y="785"/>
                    <a:pt x="3" y="802"/>
                  </a:cubicBezTo>
                  <a:cubicBezTo>
                    <a:pt x="0" y="834"/>
                    <a:pt x="4" y="864"/>
                    <a:pt x="7" y="893"/>
                  </a:cubicBezTo>
                  <a:cubicBezTo>
                    <a:pt x="8" y="898"/>
                    <a:pt x="9" y="904"/>
                    <a:pt x="9" y="909"/>
                  </a:cubicBezTo>
                  <a:cubicBezTo>
                    <a:pt x="22" y="1021"/>
                    <a:pt x="22" y="1021"/>
                    <a:pt x="22" y="1021"/>
                  </a:cubicBezTo>
                  <a:cubicBezTo>
                    <a:pt x="23" y="1025"/>
                    <a:pt x="23" y="1029"/>
                    <a:pt x="24" y="1033"/>
                  </a:cubicBezTo>
                  <a:cubicBezTo>
                    <a:pt x="25" y="1048"/>
                    <a:pt x="27" y="1064"/>
                    <a:pt x="30" y="1080"/>
                  </a:cubicBezTo>
                  <a:cubicBezTo>
                    <a:pt x="34" y="1101"/>
                    <a:pt x="40" y="1121"/>
                    <a:pt x="47" y="1140"/>
                  </a:cubicBezTo>
                  <a:cubicBezTo>
                    <a:pt x="61" y="1175"/>
                    <a:pt x="80" y="1208"/>
                    <a:pt x="103" y="1239"/>
                  </a:cubicBezTo>
                  <a:cubicBezTo>
                    <a:pt x="146" y="1295"/>
                    <a:pt x="202" y="1344"/>
                    <a:pt x="275" y="1390"/>
                  </a:cubicBezTo>
                  <a:cubicBezTo>
                    <a:pt x="304" y="1409"/>
                    <a:pt x="335" y="1426"/>
                    <a:pt x="366" y="1441"/>
                  </a:cubicBezTo>
                  <a:close/>
                  <a:moveTo>
                    <a:pt x="64" y="773"/>
                  </a:moveTo>
                  <a:cubicBezTo>
                    <a:pt x="67" y="798"/>
                    <a:pt x="74" y="823"/>
                    <a:pt x="84" y="848"/>
                  </a:cubicBezTo>
                  <a:cubicBezTo>
                    <a:pt x="107" y="785"/>
                    <a:pt x="165" y="713"/>
                    <a:pt x="209" y="677"/>
                  </a:cubicBezTo>
                  <a:cubicBezTo>
                    <a:pt x="272" y="628"/>
                    <a:pt x="353" y="583"/>
                    <a:pt x="451" y="545"/>
                  </a:cubicBezTo>
                  <a:cubicBezTo>
                    <a:pt x="515" y="521"/>
                    <a:pt x="582" y="501"/>
                    <a:pt x="652" y="486"/>
                  </a:cubicBezTo>
                  <a:cubicBezTo>
                    <a:pt x="652" y="314"/>
                    <a:pt x="652" y="314"/>
                    <a:pt x="652" y="314"/>
                  </a:cubicBezTo>
                  <a:cubicBezTo>
                    <a:pt x="640" y="317"/>
                    <a:pt x="627" y="320"/>
                    <a:pt x="615" y="323"/>
                  </a:cubicBezTo>
                  <a:cubicBezTo>
                    <a:pt x="544" y="340"/>
                    <a:pt x="476" y="361"/>
                    <a:pt x="413" y="386"/>
                  </a:cubicBezTo>
                  <a:cubicBezTo>
                    <a:pt x="345" y="413"/>
                    <a:pt x="288" y="442"/>
                    <a:pt x="238" y="474"/>
                  </a:cubicBezTo>
                  <a:cubicBezTo>
                    <a:pt x="204" y="496"/>
                    <a:pt x="178" y="516"/>
                    <a:pt x="153" y="537"/>
                  </a:cubicBezTo>
                  <a:cubicBezTo>
                    <a:pt x="142" y="547"/>
                    <a:pt x="131" y="556"/>
                    <a:pt x="122" y="566"/>
                  </a:cubicBezTo>
                  <a:cubicBezTo>
                    <a:pt x="81" y="622"/>
                    <a:pt x="60" y="684"/>
                    <a:pt x="62" y="747"/>
                  </a:cubicBezTo>
                  <a:cubicBezTo>
                    <a:pt x="62" y="756"/>
                    <a:pt x="63" y="764"/>
                    <a:pt x="64" y="773"/>
                  </a:cubicBezTo>
                  <a:close/>
                  <a:moveTo>
                    <a:pt x="1928" y="693"/>
                  </a:moveTo>
                  <a:cubicBezTo>
                    <a:pt x="1966" y="727"/>
                    <a:pt x="2007" y="795"/>
                    <a:pt x="2021" y="856"/>
                  </a:cubicBezTo>
                  <a:cubicBezTo>
                    <a:pt x="2034" y="828"/>
                    <a:pt x="2042" y="798"/>
                    <a:pt x="2045" y="768"/>
                  </a:cubicBezTo>
                  <a:cubicBezTo>
                    <a:pt x="2046" y="761"/>
                    <a:pt x="2047" y="754"/>
                    <a:pt x="2047" y="747"/>
                  </a:cubicBezTo>
                  <a:cubicBezTo>
                    <a:pt x="2049" y="670"/>
                    <a:pt x="2018" y="595"/>
                    <a:pt x="1958" y="530"/>
                  </a:cubicBezTo>
                  <a:cubicBezTo>
                    <a:pt x="1924" y="501"/>
                    <a:pt x="1884" y="473"/>
                    <a:pt x="1839" y="447"/>
                  </a:cubicBezTo>
                  <a:cubicBezTo>
                    <a:pt x="1782" y="415"/>
                    <a:pt x="1718" y="387"/>
                    <a:pt x="1639" y="359"/>
                  </a:cubicBezTo>
                  <a:cubicBezTo>
                    <a:pt x="1584" y="340"/>
                    <a:pt x="1524" y="324"/>
                    <a:pt x="1457" y="310"/>
                  </a:cubicBezTo>
                  <a:cubicBezTo>
                    <a:pt x="1457" y="482"/>
                    <a:pt x="1457" y="482"/>
                    <a:pt x="1457" y="482"/>
                  </a:cubicBezTo>
                  <a:cubicBezTo>
                    <a:pt x="1542" y="500"/>
                    <a:pt x="1625" y="525"/>
                    <a:pt x="1700" y="556"/>
                  </a:cubicBezTo>
                  <a:cubicBezTo>
                    <a:pt x="1795" y="595"/>
                    <a:pt x="1871" y="642"/>
                    <a:pt x="1928" y="693"/>
                  </a:cubicBezTo>
                  <a:close/>
                  <a:moveTo>
                    <a:pt x="1054" y="814"/>
                  </a:moveTo>
                  <a:cubicBezTo>
                    <a:pt x="1186" y="814"/>
                    <a:pt x="1408" y="789"/>
                    <a:pt x="1408" y="696"/>
                  </a:cubicBezTo>
                  <a:cubicBezTo>
                    <a:pt x="1408" y="118"/>
                    <a:pt x="1408" y="118"/>
                    <a:pt x="1408" y="118"/>
                  </a:cubicBezTo>
                  <a:cubicBezTo>
                    <a:pt x="1408" y="25"/>
                    <a:pt x="1186" y="0"/>
                    <a:pt x="1054" y="0"/>
                  </a:cubicBezTo>
                  <a:cubicBezTo>
                    <a:pt x="923" y="0"/>
                    <a:pt x="701" y="25"/>
                    <a:pt x="701" y="118"/>
                  </a:cubicBezTo>
                  <a:cubicBezTo>
                    <a:pt x="701" y="696"/>
                    <a:pt x="701" y="696"/>
                    <a:pt x="701" y="696"/>
                  </a:cubicBezTo>
                  <a:cubicBezTo>
                    <a:pt x="701" y="789"/>
                    <a:pt x="923" y="814"/>
                    <a:pt x="1054" y="814"/>
                  </a:cubicBezTo>
                  <a:close/>
                  <a:moveTo>
                    <a:pt x="1054" y="35"/>
                  </a:moveTo>
                  <a:cubicBezTo>
                    <a:pt x="1219" y="35"/>
                    <a:pt x="1352" y="71"/>
                    <a:pt x="1352" y="116"/>
                  </a:cubicBezTo>
                  <a:cubicBezTo>
                    <a:pt x="1352" y="161"/>
                    <a:pt x="1219" y="197"/>
                    <a:pt x="1054" y="197"/>
                  </a:cubicBezTo>
                  <a:cubicBezTo>
                    <a:pt x="890" y="197"/>
                    <a:pt x="757" y="161"/>
                    <a:pt x="757" y="116"/>
                  </a:cubicBezTo>
                  <a:cubicBezTo>
                    <a:pt x="757" y="71"/>
                    <a:pt x="890" y="35"/>
                    <a:pt x="105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186521" tIns="149217" rIns="186521" bIns="149217"/>
            <a:lstStyle/>
            <a:p>
              <a:pPr defTabSz="9321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gradFill>
                  <a:gsLst>
                    <a:gs pos="5000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</a:endParaRPr>
            </a:p>
          </p:txBody>
        </p:sp>
      </p:grpSp>
      <p:grpSp>
        <p:nvGrpSpPr>
          <p:cNvPr id="34824" name="组合 38"/>
          <p:cNvGrpSpPr/>
          <p:nvPr/>
        </p:nvGrpSpPr>
        <p:grpSpPr bwMode="auto">
          <a:xfrm>
            <a:off x="468313" y="714375"/>
            <a:ext cx="5773737" cy="3657600"/>
            <a:chOff x="467544" y="714375"/>
            <a:chExt cx="5774592" cy="3657605"/>
          </a:xfrm>
        </p:grpSpPr>
        <p:pic>
          <p:nvPicPr>
            <p:cNvPr id="34825" name="Picture 2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42"/>
            <a:stretch>
              <a:fillRect/>
            </a:stretch>
          </p:blipFill>
          <p:spPr bwMode="auto">
            <a:xfrm>
              <a:off x="481496" y="714375"/>
              <a:ext cx="5760640" cy="3638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矩形 10"/>
            <p:cNvSpPr/>
            <p:nvPr/>
          </p:nvSpPr>
          <p:spPr>
            <a:xfrm>
              <a:off x="481496" y="714375"/>
              <a:ext cx="5760640" cy="3657605"/>
            </a:xfrm>
            <a:prstGeom prst="rect">
              <a:avLst/>
            </a:prstGeom>
            <a:gradFill>
              <a:gsLst>
                <a:gs pos="100000">
                  <a:schemeClr val="tx1">
                    <a:lumMod val="95000"/>
                    <a:lumOff val="5000"/>
                    <a:alpha val="71000"/>
                  </a:schemeClr>
                </a:gs>
                <a:gs pos="50000">
                  <a:schemeClr val="bg1">
                    <a:alpha val="57000"/>
                  </a:schemeClr>
                </a:gs>
                <a:gs pos="0">
                  <a:schemeClr val="tx1">
                    <a:lumMod val="95000"/>
                    <a:lumOff val="5000"/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Orange"/>
            <p:cNvSpPr/>
            <p:nvPr/>
          </p:nvSpPr>
          <p:spPr bwMode="auto">
            <a:xfrm>
              <a:off x="1093112" y="3581404"/>
              <a:ext cx="2016424" cy="390526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en-US" altLang="zh-CN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矩形 33"/>
            <p:cNvSpPr/>
            <p:nvPr/>
          </p:nvSpPr>
          <p:spPr>
            <a:xfrm>
              <a:off x="1547664" y="3610082"/>
              <a:ext cx="1086964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31545" eaLnBrk="1" hangingPunct="1">
                <a:lnSpc>
                  <a:spcPct val="90000"/>
                </a:lnSpc>
                <a:defRPr/>
              </a:pPr>
              <a:r>
                <a:rPr lang="zh-CN" altLang="en-US" kern="0" spc="-4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ea typeface="+mn-ea"/>
                </a:rPr>
                <a:t>添加标题</a:t>
              </a:r>
              <a:endParaRPr lang="en-US" altLang="zh-CN" kern="0" spc="-4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</a:endParaRPr>
            </a:p>
          </p:txBody>
        </p:sp>
        <p:grpSp>
          <p:nvGrpSpPr>
            <p:cNvPr id="34831" name="组合 37"/>
            <p:cNvGrpSpPr/>
            <p:nvPr/>
          </p:nvGrpSpPr>
          <p:grpSpPr bwMode="auto">
            <a:xfrm>
              <a:off x="467544" y="1182391"/>
              <a:ext cx="5724780" cy="1389359"/>
              <a:chOff x="365014" y="1032585"/>
              <a:chExt cx="7346247" cy="1782877"/>
            </a:xfrm>
          </p:grpSpPr>
          <p:sp>
            <p:nvSpPr>
              <p:cNvPr id="35" name="Rectangle 63"/>
              <p:cNvSpPr/>
              <p:nvPr/>
            </p:nvSpPr>
            <p:spPr bwMode="auto">
              <a:xfrm>
                <a:off x="637412" y="1160620"/>
                <a:ext cx="6905578" cy="1654842"/>
              </a:xfrm>
              <a:prstGeom prst="rect">
                <a:avLst/>
              </a:prstGeom>
              <a:noFill/>
              <a:ln w="381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just" eaLnBrk="1" fontAlgn="auto" hangingPunct="1">
                  <a:lnSpc>
                    <a:spcPct val="150000"/>
                  </a:lnSpc>
                  <a:spcAft>
                    <a:spcPts val="0"/>
                  </a:spcAft>
                  <a:defRPr/>
                </a:pP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上海锐普广告有限公司是中国第一家精品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机构。拥有国内顶尖的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</a:t>
                </a:r>
                <a:r>
                  <a:rPr lang="en-US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zh-CN" sz="14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坚持精益求精、拒绝平庸的做事精神。</a:t>
                </a:r>
                <a:endParaRPr lang="en-U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1905" algn="r" defTabSz="931545" eaLnBrk="1" hangingPunct="1">
                  <a:lnSpc>
                    <a:spcPct val="90000"/>
                  </a:lnSpc>
                  <a:spcBef>
                    <a:spcPts val="1225"/>
                  </a:spcBef>
                  <a:defRPr/>
                </a:pPr>
                <a:endParaRPr lang="en-US" sz="1200" kern="0" dirty="0">
                  <a:gradFill>
                    <a:gsLst>
                      <a:gs pos="0">
                        <a:prstClr val="black"/>
                      </a:gs>
                      <a:gs pos="99000">
                        <a:prstClr val="black"/>
                      </a:gs>
                    </a:gsLst>
                    <a:lin ang="5400000" scaled="0"/>
                  </a:gradFill>
                  <a:latin typeface="+mn-lt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34833" name="Picture 2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 flipV="1">
                <a:off x="365014" y="1032585"/>
                <a:ext cx="336542" cy="256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4834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74719" y="2324410"/>
                <a:ext cx="336542" cy="2212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20"/>
          <p:cNvSpPr/>
          <p:nvPr/>
        </p:nvSpPr>
        <p:spPr bwMode="auto">
          <a:xfrm>
            <a:off x="467545" y="2533230"/>
            <a:ext cx="2198619" cy="702018"/>
          </a:xfrm>
          <a:prstGeom prst="homePlate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3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Pentagon 25"/>
          <p:cNvSpPr/>
          <p:nvPr/>
        </p:nvSpPr>
        <p:spPr bwMode="auto">
          <a:xfrm>
            <a:off x="467544" y="3308649"/>
            <a:ext cx="2198619" cy="702018"/>
          </a:xfrm>
          <a:prstGeom prst="homePlate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4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Pentagon 12"/>
          <p:cNvSpPr/>
          <p:nvPr/>
        </p:nvSpPr>
        <p:spPr bwMode="auto">
          <a:xfrm>
            <a:off x="467544" y="974032"/>
            <a:ext cx="2198619" cy="702018"/>
          </a:xfrm>
          <a:prstGeom prst="homePlate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1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Pentagon 32"/>
          <p:cNvSpPr/>
          <p:nvPr/>
        </p:nvSpPr>
        <p:spPr bwMode="auto">
          <a:xfrm>
            <a:off x="476889" y="1749452"/>
            <a:ext cx="2198619" cy="702018"/>
          </a:xfrm>
          <a:prstGeom prst="homePlat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354" tIns="0" rIns="0" bIns="0" anchor="ctr"/>
          <a:lstStyle/>
          <a:p>
            <a:pPr defTabSz="913130" eaLnBrk="1" hangingPunct="1">
              <a:lnSpc>
                <a:spcPct val="90000"/>
              </a:lnSpc>
              <a:defRPr/>
            </a:pPr>
            <a:r>
              <a:rPr 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</a:rPr>
              <a:t>2. </a:t>
            </a:r>
            <a:r>
              <a:rPr lang="zh-CN" altLang="en-US" sz="2000" dirty="0">
                <a:gradFill>
                  <a:gsLst>
                    <a:gs pos="9184">
                      <a:srgbClr val="FFFFFF"/>
                    </a:gs>
                    <a:gs pos="42000">
                      <a:srgbClr val="FFFFFF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sz="2000" dirty="0">
              <a:gradFill>
                <a:gsLst>
                  <a:gs pos="9184">
                    <a:srgbClr val="FFFFFF"/>
                  </a:gs>
                  <a:gs pos="42000">
                    <a:srgbClr val="FFFFFF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5846" name="Group 1"/>
          <p:cNvGrpSpPr/>
          <p:nvPr/>
        </p:nvGrpSpPr>
        <p:grpSpPr bwMode="auto">
          <a:xfrm>
            <a:off x="2808288" y="915988"/>
            <a:ext cx="5810250" cy="3094037"/>
            <a:chOff x="3790698" y="1956968"/>
            <a:chExt cx="6435762" cy="3355553"/>
          </a:xfrm>
        </p:grpSpPr>
        <p:sp>
          <p:nvSpPr>
            <p:cNvPr id="7" name="Rectangle 55"/>
            <p:cNvSpPr/>
            <p:nvPr/>
          </p:nvSpPr>
          <p:spPr bwMode="auto">
            <a:xfrm>
              <a:off x="3790698" y="1956968"/>
              <a:ext cx="6435762" cy="3355553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endParaRPr lang="en-US" sz="2000" dirty="0" err="1">
                <a:gradFill>
                  <a:gsLst>
                    <a:gs pos="1250">
                      <a:srgbClr val="EFEFEF"/>
                    </a:gs>
                    <a:gs pos="10417">
                      <a:srgbClr val="EFEFE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8" name="Rectangle 35"/>
            <p:cNvSpPr/>
            <p:nvPr/>
          </p:nvSpPr>
          <p:spPr bwMode="auto">
            <a:xfrm>
              <a:off x="8039004" y="2426986"/>
              <a:ext cx="1900835" cy="1189681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Rectangle 39"/>
            <p:cNvSpPr/>
            <p:nvPr/>
          </p:nvSpPr>
          <p:spPr bwMode="auto">
            <a:xfrm>
              <a:off x="6030906" y="3745793"/>
              <a:ext cx="1879734" cy="1187959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Rectangle 40"/>
            <p:cNvSpPr/>
            <p:nvPr/>
          </p:nvSpPr>
          <p:spPr bwMode="auto">
            <a:xfrm>
              <a:off x="4024565" y="3745793"/>
              <a:ext cx="1877976" cy="1184516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Rectangle 41"/>
            <p:cNvSpPr/>
            <p:nvPr/>
          </p:nvSpPr>
          <p:spPr bwMode="auto">
            <a:xfrm>
              <a:off x="4024565" y="2426986"/>
              <a:ext cx="1877976" cy="1189681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Rectangle 43"/>
            <p:cNvSpPr/>
            <p:nvPr/>
          </p:nvSpPr>
          <p:spPr bwMode="auto">
            <a:xfrm>
              <a:off x="8061863" y="3745793"/>
              <a:ext cx="1877976" cy="1187959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Rectangle 44"/>
            <p:cNvSpPr/>
            <p:nvPr/>
          </p:nvSpPr>
          <p:spPr bwMode="auto">
            <a:xfrm>
              <a:off x="6030906" y="2426986"/>
              <a:ext cx="1879734" cy="1189681"/>
            </a:xfrm>
            <a:prstGeom prst="rect">
              <a:avLst/>
            </a:prstGeom>
            <a:gradFill>
              <a:gsLst>
                <a:gs pos="0">
                  <a:srgbClr val="505050">
                    <a:lumMod val="0"/>
                    <a:lumOff val="100000"/>
                  </a:srgbClr>
                </a:gs>
                <a:gs pos="100000">
                  <a:srgbClr val="505050">
                    <a:lumMod val="0"/>
                    <a:lumOff val="10000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54" tIns="146283" rIns="182854" bIns="146283" anchor="ctr"/>
            <a:lstStyle/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130" eaLnBrk="1" hangingPunct="1">
                <a:lnSpc>
                  <a:spcPct val="90000"/>
                </a:lnSpc>
                <a:defRPr/>
              </a:pP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 descr="C:\Users\Administrator.MICROSO-BQCPAHA\Desktop\2014\图片221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02"/>
          <a:stretch>
            <a:fillRect/>
          </a:stretch>
        </p:blipFill>
        <p:spPr bwMode="auto">
          <a:xfrm>
            <a:off x="2514600" y="2870200"/>
            <a:ext cx="2081213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Picture 2" descr="C:\Users\Administrator.MICROSO-BQCPAHA\Desktop\2014\图片22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015"/>
          <a:stretch>
            <a:fillRect/>
          </a:stretch>
        </p:blipFill>
        <p:spPr bwMode="auto">
          <a:xfrm>
            <a:off x="6789738" y="2074863"/>
            <a:ext cx="208915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8" name="Picture 7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0" r="13554" b="10808"/>
          <a:stretch>
            <a:fillRect/>
          </a:stretch>
        </p:blipFill>
        <p:spPr bwMode="auto">
          <a:xfrm>
            <a:off x="4643438" y="2066925"/>
            <a:ext cx="2089150" cy="16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9" name="Picture 7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2" t="-522" r="7498" b="522"/>
          <a:stretch>
            <a:fillRect/>
          </a:stretch>
        </p:blipFill>
        <p:spPr bwMode="auto">
          <a:xfrm>
            <a:off x="384175" y="2060575"/>
            <a:ext cx="2078038" cy="162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range"/>
          <p:cNvSpPr/>
          <p:nvPr/>
        </p:nvSpPr>
        <p:spPr bwMode="auto">
          <a:xfrm>
            <a:off x="374650" y="3722688"/>
            <a:ext cx="2087563" cy="649287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" name="Orange"/>
          <p:cNvSpPr/>
          <p:nvPr/>
        </p:nvSpPr>
        <p:spPr bwMode="auto">
          <a:xfrm>
            <a:off x="2508250" y="3722688"/>
            <a:ext cx="2087563" cy="649287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hangingPunct="1"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" name="Orange"/>
          <p:cNvSpPr/>
          <p:nvPr/>
        </p:nvSpPr>
        <p:spPr bwMode="auto">
          <a:xfrm>
            <a:off x="4643438" y="3722688"/>
            <a:ext cx="2089150" cy="649287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hangingPunct="1"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5" name="Orange"/>
          <p:cNvSpPr/>
          <p:nvPr/>
        </p:nvSpPr>
        <p:spPr bwMode="auto">
          <a:xfrm>
            <a:off x="6777038" y="3722688"/>
            <a:ext cx="2087562" cy="649287"/>
          </a:xfrm>
          <a:prstGeom prst="roundRect">
            <a:avLst>
              <a:gd name="adj" fmla="val 0"/>
            </a:avLst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hangingPunct="1">
              <a:defRPr/>
            </a:pPr>
            <a:r>
              <a:rPr lang="zh-CN" altLang="en-US" sz="2200" dirty="0">
                <a:solidFill>
                  <a:prstClr val="white">
                    <a:alpha val="99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添加标题</a:t>
            </a:r>
            <a:endParaRPr lang="en-US" sz="2200" dirty="0">
              <a:solidFill>
                <a:prstClr val="white">
                  <a:alpha val="99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0" name="Orange"/>
          <p:cNvSpPr/>
          <p:nvPr/>
        </p:nvSpPr>
        <p:spPr bwMode="auto">
          <a:xfrm>
            <a:off x="6786563" y="2927350"/>
            <a:ext cx="2089150" cy="754063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20" tIns="46611" rIns="93220" bIns="46611" anchor="ctr"/>
          <a:lstStyle>
            <a:lvl1pPr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931545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3154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endParaRPr lang="en-US" altLang="zh-CN" sz="2200" smtClean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6875" name="组合 13"/>
          <p:cNvGrpSpPr/>
          <p:nvPr/>
        </p:nvGrpSpPr>
        <p:grpSpPr bwMode="auto">
          <a:xfrm>
            <a:off x="334963" y="809625"/>
            <a:ext cx="8558212" cy="1185863"/>
            <a:chOff x="539552" y="699542"/>
            <a:chExt cx="7947085" cy="1186786"/>
          </a:xfrm>
        </p:grpSpPr>
        <p:sp>
          <p:nvSpPr>
            <p:cNvPr id="11" name="Rectangle 63"/>
            <p:cNvSpPr/>
            <p:nvPr/>
          </p:nvSpPr>
          <p:spPr bwMode="auto">
            <a:xfrm>
              <a:off x="811950" y="827577"/>
              <a:ext cx="7506416" cy="1058751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just" eaLnBrk="1" fontAlgn="auto" hangingPunct="1">
                <a:lnSpc>
                  <a:spcPct val="150000"/>
                </a:lnSpc>
                <a:spcAft>
                  <a:spcPts val="0"/>
                </a:spcAft>
                <a:defRPr/>
              </a:pP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</a:t>
              </a:r>
              <a:r>
                <a:rPr lang="en-US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zh-CN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坚持精益求精、拒绝平庸的做事精神。</a:t>
              </a:r>
              <a:endPara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905" algn="r" defTabSz="931545" eaLnBrk="1" hangingPunct="1">
                <a:lnSpc>
                  <a:spcPct val="90000"/>
                </a:lnSpc>
                <a:spcBef>
                  <a:spcPts val="1225"/>
                </a:spcBef>
                <a:defRPr/>
              </a:pPr>
              <a:endParaRPr lang="en-US" sz="1100" kern="0" dirty="0">
                <a:gradFill>
                  <a:gsLst>
                    <a:gs pos="0">
                      <a:prstClr val="black"/>
                    </a:gs>
                    <a:gs pos="99000">
                      <a:prstClr val="black"/>
                    </a:gs>
                  </a:gsLst>
                  <a:lin ang="5400000" scaled="0"/>
                </a:gradFill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6880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539552" y="699542"/>
              <a:ext cx="336542" cy="2560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881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0095" y="1554948"/>
              <a:ext cx="336542" cy="2212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9" name="Orange"/>
          <p:cNvSpPr/>
          <p:nvPr/>
        </p:nvSpPr>
        <p:spPr bwMode="auto">
          <a:xfrm>
            <a:off x="2511128" y="2051447"/>
            <a:ext cx="2088158" cy="75398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008FBA">
                <a:satMod val="300000"/>
              </a:srgbClr>
            </a:contourClr>
          </a:sp3d>
        </p:spPr>
        <p:txBody>
          <a:bodyPr lIns="186423" tIns="93212" rIns="186423" bIns="93212" anchor="b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/>
          <p:cNvGrpSpPr/>
          <p:nvPr/>
        </p:nvGrpSpPr>
        <p:grpSpPr>
          <a:xfrm>
            <a:off x="6407912" y="1938339"/>
            <a:ext cx="1124036" cy="1166611"/>
            <a:chOff x="6407912" y="1938339"/>
            <a:chExt cx="1124036" cy="116661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6407912" y="2011582"/>
              <a:ext cx="1100685" cy="109336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grpSp>
          <p:nvGrpSpPr>
            <p:cNvPr id="25" name="组合 24"/>
            <p:cNvGrpSpPr/>
            <p:nvPr/>
          </p:nvGrpSpPr>
          <p:grpSpPr>
            <a:xfrm>
              <a:off x="7092280" y="1938339"/>
              <a:ext cx="439668" cy="1042599"/>
              <a:chOff x="4852412" y="2376567"/>
              <a:chExt cx="439668" cy="1042599"/>
            </a:xfrm>
          </p:grpSpPr>
          <p:sp>
            <p:nvSpPr>
              <p:cNvPr id="26" name="TextBox 25"/>
              <p:cNvSpPr txBox="1"/>
              <p:nvPr/>
            </p:nvSpPr>
            <p:spPr>
              <a:xfrm>
                <a:off x="5059248" y="237656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852412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28" name="组合 27"/>
          <p:cNvGrpSpPr/>
          <p:nvPr/>
        </p:nvGrpSpPr>
        <p:grpSpPr>
          <a:xfrm>
            <a:off x="2408599" y="1449153"/>
            <a:ext cx="2280065" cy="2293940"/>
            <a:chOff x="179512" y="1446863"/>
            <a:chExt cx="1786932" cy="1797806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29" name="组合 28"/>
            <p:cNvGrpSpPr/>
            <p:nvPr/>
          </p:nvGrpSpPr>
          <p:grpSpPr>
            <a:xfrm>
              <a:off x="179512" y="1446863"/>
              <a:ext cx="1786932" cy="1797806"/>
              <a:chOff x="988043" y="1034182"/>
              <a:chExt cx="1786932" cy="1797806"/>
            </a:xfrm>
            <a:scene3d>
              <a:camera prst="orthographicFront">
                <a:rot lat="0" lon="0" rev="0"/>
              </a:camera>
              <a:lightRig rig="threePt" dir="t"/>
            </a:scene3d>
          </p:grpSpPr>
          <p:sp>
            <p:nvSpPr>
              <p:cNvPr id="31" name="Rectangle 14"/>
              <p:cNvSpPr>
                <a:spLocks noChangeArrowheads="1"/>
              </p:cNvSpPr>
              <p:nvPr/>
            </p:nvSpPr>
            <p:spPr bwMode="auto">
              <a:xfrm>
                <a:off x="988043" y="1141258"/>
                <a:ext cx="1702045" cy="169073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2414935" y="1034182"/>
                <a:ext cx="360040" cy="52322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8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28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279500" y="1939546"/>
              <a:ext cx="434179" cy="1124059"/>
            </a:xfrm>
            <a:prstGeom prst="rect">
              <a:avLst/>
            </a:prstGeom>
            <a:noFill/>
          </p:spPr>
          <p:txBody>
            <a:bodyPr vert="eaVert">
              <a:spAutoFit/>
            </a:bodyPr>
            <a:lstStyle/>
            <a:p>
              <a:pPr algn="dist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TextBox 32"/>
          <p:cNvSpPr txBox="1"/>
          <p:nvPr/>
        </p:nvSpPr>
        <p:spPr bwMode="auto">
          <a:xfrm>
            <a:off x="900113" y="987425"/>
            <a:ext cx="10795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zh-CN" altLang="en-US" sz="2800" b="1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5764031" y="2140866"/>
            <a:ext cx="1136625" cy="1174644"/>
            <a:chOff x="5277103" y="2170182"/>
            <a:chExt cx="1136625" cy="1174644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5" name="Rectangle 14"/>
            <p:cNvSpPr>
              <a:spLocks noChangeArrowheads="1"/>
            </p:cNvSpPr>
            <p:nvPr/>
          </p:nvSpPr>
          <p:spPr bwMode="auto">
            <a:xfrm>
              <a:off x="5277103" y="2251459"/>
              <a:ext cx="1105215" cy="109336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grpSp>
          <p:nvGrpSpPr>
            <p:cNvPr id="36" name="组合 35"/>
            <p:cNvGrpSpPr/>
            <p:nvPr/>
          </p:nvGrpSpPr>
          <p:grpSpPr>
            <a:xfrm>
              <a:off x="5963012" y="2170182"/>
              <a:ext cx="450716" cy="999702"/>
              <a:chOff x="4847180" y="2285147"/>
              <a:chExt cx="450716" cy="999702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5065064" y="228514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847180" y="2557939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39" name="组合 38"/>
          <p:cNvGrpSpPr/>
          <p:nvPr/>
        </p:nvGrpSpPr>
        <p:grpSpPr>
          <a:xfrm>
            <a:off x="5037078" y="2426846"/>
            <a:ext cx="1105511" cy="1161271"/>
            <a:chOff x="4160177" y="2389634"/>
            <a:chExt cx="1105511" cy="1161271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40" name="Rectangle 14"/>
            <p:cNvSpPr>
              <a:spLocks noChangeArrowheads="1"/>
            </p:cNvSpPr>
            <p:nvPr/>
          </p:nvSpPr>
          <p:spPr bwMode="auto">
            <a:xfrm>
              <a:off x="4160177" y="2457538"/>
              <a:ext cx="1100684" cy="109336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1" name="组合 40"/>
            <p:cNvGrpSpPr/>
            <p:nvPr/>
          </p:nvGrpSpPr>
          <p:grpSpPr>
            <a:xfrm>
              <a:off x="4852412" y="2389634"/>
              <a:ext cx="413276" cy="1034979"/>
              <a:chOff x="4742304" y="2384187"/>
              <a:chExt cx="413276" cy="1034979"/>
            </a:xfrm>
          </p:grpSpPr>
          <p:sp>
            <p:nvSpPr>
              <p:cNvPr id="42" name="TextBox 41"/>
              <p:cNvSpPr txBox="1"/>
              <p:nvPr/>
            </p:nvSpPr>
            <p:spPr>
              <a:xfrm>
                <a:off x="4922748" y="2384187"/>
                <a:ext cx="232832" cy="338554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1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</a:t>
                </a:r>
                <a:endParaRPr lang="zh-CN" altLang="en-US" sz="16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742304" y="2692256"/>
                <a:ext cx="369332" cy="726910"/>
              </a:xfrm>
              <a:prstGeom prst="rect">
                <a:avLst/>
              </a:prstGeom>
              <a:noFill/>
            </p:spPr>
            <p:txBody>
              <a:bodyPr vert="eaVert">
                <a:spAutoFit/>
              </a:bodyPr>
              <a:lstStyle/>
              <a:p>
                <a:pPr algn="di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2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 descr="C:\Users\ADMINI~1.MIC\AppData\Local\Temp\360zip$Temp\360$0\527f7e3f61c31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4" t="21436"/>
          <a:stretch>
            <a:fillRect/>
          </a:stretch>
        </p:blipFill>
        <p:spPr bwMode="auto">
          <a:xfrm>
            <a:off x="-30163" y="-101600"/>
            <a:ext cx="9253538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891" name="组合 108"/>
          <p:cNvGrpSpPr/>
          <p:nvPr/>
        </p:nvGrpSpPr>
        <p:grpSpPr bwMode="auto">
          <a:xfrm>
            <a:off x="2090738" y="804863"/>
            <a:ext cx="5040312" cy="1587500"/>
            <a:chOff x="2090961" y="805458"/>
            <a:chExt cx="5040560" cy="1586268"/>
          </a:xfrm>
        </p:grpSpPr>
        <p:sp>
          <p:nvSpPr>
            <p:cNvPr id="52" name="TextBox 51"/>
            <p:cNvSpPr txBox="1"/>
            <p:nvPr/>
          </p:nvSpPr>
          <p:spPr>
            <a:xfrm>
              <a:off x="2090961" y="805458"/>
              <a:ext cx="5040560" cy="585332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32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上海锐普广告有限公司</a:t>
              </a:r>
              <a:endParaRPr lang="zh-CN" altLang="en-US" sz="32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  <p:sp>
          <p:nvSpPr>
            <p:cNvPr id="53" name="矩形 52"/>
            <p:cNvSpPr>
              <a:spLocks noChangeArrowheads="1"/>
            </p:cNvSpPr>
            <p:nvPr/>
          </p:nvSpPr>
          <p:spPr bwMode="auto">
            <a:xfrm>
              <a:off x="2292583" y="1295614"/>
              <a:ext cx="4637316" cy="217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dist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800" spc="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HANGHAI RAPIDESIGN ADVERTISING CO.,LTD </a:t>
              </a:r>
              <a:endParaRPr lang="en-US" altLang="zh-CN" sz="800" spc="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7910" name="组合 62"/>
            <p:cNvGrpSpPr/>
            <p:nvPr/>
          </p:nvGrpSpPr>
          <p:grpSpPr bwMode="auto">
            <a:xfrm>
              <a:off x="3522266" y="2083949"/>
              <a:ext cx="2177951" cy="307777"/>
              <a:chOff x="4772174" y="1863480"/>
              <a:chExt cx="2177951" cy="307777"/>
            </a:xfrm>
          </p:grpSpPr>
          <p:sp>
            <p:nvSpPr>
              <p:cNvPr id="64" name="TextBox 63"/>
              <p:cNvSpPr txBox="1"/>
              <p:nvPr/>
            </p:nvSpPr>
            <p:spPr bwMode="auto">
              <a:xfrm>
                <a:off x="5698422" y="1863521"/>
                <a:ext cx="1251011" cy="30773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pc="30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 eaLnBrk="1" hangingPunct="1">
                  <a:defRPr/>
                </a:pPr>
                <a:r>
                  <a:rPr lang="zh-CN" altLang="en-US" sz="1400" dirty="0">
                    <a:solidFill>
                      <a:prstClr val="white"/>
                    </a:solidFill>
                  </a:rPr>
                  <a:t>普及精品</a:t>
                </a:r>
                <a:endParaRPr lang="zh-CN" altLang="en-US" sz="1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4772864" y="1863521"/>
                <a:ext cx="1311339" cy="30773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CN" altLang="en-US" sz="1400" spc="3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锐意进取</a:t>
                </a:r>
                <a:endParaRPr lang="zh-CN" altLang="en-US" sz="1400" spc="3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37911" name="组合 65"/>
            <p:cNvGrpSpPr/>
            <p:nvPr/>
          </p:nvGrpSpPr>
          <p:grpSpPr bwMode="auto">
            <a:xfrm>
              <a:off x="3286132" y="1759995"/>
              <a:ext cx="2650218" cy="280059"/>
              <a:chOff x="6104762" y="-956653"/>
              <a:chExt cx="2777154" cy="293473"/>
            </a:xfrm>
          </p:grpSpPr>
          <p:grpSp>
            <p:nvGrpSpPr>
              <p:cNvPr id="37913" name="组合 66"/>
              <p:cNvGrpSpPr/>
              <p:nvPr/>
            </p:nvGrpSpPr>
            <p:grpSpPr bwMode="auto">
              <a:xfrm>
                <a:off x="6104762" y="-956652"/>
                <a:ext cx="421484" cy="293471"/>
                <a:chOff x="3080440" y="2857789"/>
                <a:chExt cx="233340" cy="175871"/>
              </a:xfrm>
            </p:grpSpPr>
            <p:sp>
              <p:nvSpPr>
                <p:cNvPr id="37931" name="矩形 88"/>
                <p:cNvSpPr>
                  <a:spLocks noChangeArrowheads="1"/>
                </p:cNvSpPr>
                <p:nvPr/>
              </p:nvSpPr>
              <p:spPr bwMode="auto">
                <a:xfrm>
                  <a:off x="3080440" y="2857789"/>
                  <a:ext cx="233340" cy="175871"/>
                </a:xfrm>
                <a:prstGeom prst="rect">
                  <a:avLst/>
                </a:prstGeom>
                <a:solidFill>
                  <a:srgbClr val="7A5E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932" name="Freeform 276"/>
                <p:cNvSpPr>
                  <a:spLocks noEditPoints="1"/>
                </p:cNvSpPr>
                <p:nvPr/>
              </p:nvSpPr>
              <p:spPr bwMode="auto">
                <a:xfrm>
                  <a:off x="3137254" y="2894296"/>
                  <a:ext cx="109481" cy="113168"/>
                </a:xfrm>
                <a:custGeom>
                  <a:avLst/>
                  <a:gdLst>
                    <a:gd name="T0" fmla="*/ 2147483646 w 156"/>
                    <a:gd name="T1" fmla="*/ 2147483646 h 161"/>
                    <a:gd name="T2" fmla="*/ 2147483646 w 156"/>
                    <a:gd name="T3" fmla="*/ 2147483646 h 161"/>
                    <a:gd name="T4" fmla="*/ 2147483646 w 156"/>
                    <a:gd name="T5" fmla="*/ 2147483646 h 161"/>
                    <a:gd name="T6" fmla="*/ 2147483646 w 156"/>
                    <a:gd name="T7" fmla="*/ 2147483646 h 161"/>
                    <a:gd name="T8" fmla="*/ 0 w 156"/>
                    <a:gd name="T9" fmla="*/ 2147483646 h 161"/>
                    <a:gd name="T10" fmla="*/ 0 w 156"/>
                    <a:gd name="T11" fmla="*/ 2147483646 h 161"/>
                    <a:gd name="T12" fmla="*/ 2147483646 w 156"/>
                    <a:gd name="T13" fmla="*/ 2147483646 h 161"/>
                    <a:gd name="T14" fmla="*/ 2147483646 w 156"/>
                    <a:gd name="T15" fmla="*/ 2147483646 h 161"/>
                    <a:gd name="T16" fmla="*/ 2147483646 w 156"/>
                    <a:gd name="T17" fmla="*/ 0 h 161"/>
                    <a:gd name="T18" fmla="*/ 2147483646 w 156"/>
                    <a:gd name="T19" fmla="*/ 2147483646 h 161"/>
                    <a:gd name="T20" fmla="*/ 2147483646 w 156"/>
                    <a:gd name="T21" fmla="*/ 2147483646 h 161"/>
                    <a:gd name="T22" fmla="*/ 0 w 156"/>
                    <a:gd name="T23" fmla="*/ 2147483646 h 161"/>
                    <a:gd name="T24" fmla="*/ 2147483646 w 156"/>
                    <a:gd name="T25" fmla="*/ 2147483646 h 161"/>
                    <a:gd name="T26" fmla="*/ 2147483646 w 156"/>
                    <a:gd name="T27" fmla="*/ 2147483646 h 161"/>
                    <a:gd name="T28" fmla="*/ 2147483646 w 156"/>
                    <a:gd name="T29" fmla="*/ 2147483646 h 161"/>
                    <a:gd name="T30" fmla="*/ 2147483646 w 156"/>
                    <a:gd name="T31" fmla="*/ 2147483646 h 161"/>
                    <a:gd name="T32" fmla="*/ 2147483646 w 156"/>
                    <a:gd name="T33" fmla="*/ 2147483646 h 161"/>
                    <a:gd name="T34" fmla="*/ 2147483646 w 156"/>
                    <a:gd name="T35" fmla="*/ 2147483646 h 161"/>
                    <a:gd name="T36" fmla="*/ 2147483646 w 156"/>
                    <a:gd name="T37" fmla="*/ 2147483646 h 161"/>
                    <a:gd name="T38" fmla="*/ 2147483646 w 156"/>
                    <a:gd name="T39" fmla="*/ 2147483646 h 161"/>
                    <a:gd name="T40" fmla="*/ 2147483646 w 156"/>
                    <a:gd name="T41" fmla="*/ 2147483646 h 161"/>
                    <a:gd name="T42" fmla="*/ 2147483646 w 156"/>
                    <a:gd name="T43" fmla="*/ 2147483646 h 161"/>
                    <a:gd name="T44" fmla="*/ 2147483646 w 156"/>
                    <a:gd name="T45" fmla="*/ 2147483646 h 161"/>
                    <a:gd name="T46" fmla="*/ 2147483646 w 156"/>
                    <a:gd name="T47" fmla="*/ 2147483646 h 161"/>
                    <a:gd name="T48" fmla="*/ 2147483646 w 156"/>
                    <a:gd name="T49" fmla="*/ 2147483646 h 161"/>
                    <a:gd name="T50" fmla="*/ 2147483646 w 156"/>
                    <a:gd name="T51" fmla="*/ 2147483646 h 161"/>
                    <a:gd name="T52" fmla="*/ 2147483646 w 156"/>
                    <a:gd name="T53" fmla="*/ 2147483646 h 161"/>
                    <a:gd name="T54" fmla="*/ 2147483646 w 156"/>
                    <a:gd name="T55" fmla="*/ 2147483646 h 161"/>
                    <a:gd name="T56" fmla="*/ 2147483646 w 156"/>
                    <a:gd name="T57" fmla="*/ 2147483646 h 161"/>
                    <a:gd name="T58" fmla="*/ 2147483646 w 156"/>
                    <a:gd name="T59" fmla="*/ 2147483646 h 161"/>
                    <a:gd name="T60" fmla="*/ 2147483646 w 156"/>
                    <a:gd name="T61" fmla="*/ 2147483646 h 161"/>
                    <a:gd name="T62" fmla="*/ 2147483646 w 156"/>
                    <a:gd name="T63" fmla="*/ 2147483646 h 161"/>
                    <a:gd name="T64" fmla="*/ 2147483646 w 156"/>
                    <a:gd name="T65" fmla="*/ 2147483646 h 161"/>
                    <a:gd name="T66" fmla="*/ 2147483646 w 156"/>
                    <a:gd name="T67" fmla="*/ 2147483646 h 161"/>
                    <a:gd name="T68" fmla="*/ 2147483646 w 156"/>
                    <a:gd name="T69" fmla="*/ 2147483646 h 161"/>
                    <a:gd name="T70" fmla="*/ 2147483646 w 156"/>
                    <a:gd name="T71" fmla="*/ 2147483646 h 161"/>
                    <a:gd name="T72" fmla="*/ 2147483646 w 156"/>
                    <a:gd name="T73" fmla="*/ 2147483646 h 16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156" h="161">
                      <a:moveTo>
                        <a:pt x="120" y="64"/>
                      </a:moveTo>
                      <a:lnTo>
                        <a:pt x="120" y="137"/>
                      </a:lnTo>
                      <a:lnTo>
                        <a:pt x="127" y="137"/>
                      </a:lnTo>
                      <a:lnTo>
                        <a:pt x="127" y="55"/>
                      </a:lnTo>
                      <a:lnTo>
                        <a:pt x="120" y="64"/>
                      </a:lnTo>
                      <a:close/>
                      <a:moveTo>
                        <a:pt x="0" y="144"/>
                      </a:moveTo>
                      <a:lnTo>
                        <a:pt x="156" y="144"/>
                      </a:lnTo>
                      <a:lnTo>
                        <a:pt x="156" y="161"/>
                      </a:lnTo>
                      <a:lnTo>
                        <a:pt x="0" y="161"/>
                      </a:lnTo>
                      <a:lnTo>
                        <a:pt x="0" y="144"/>
                      </a:lnTo>
                      <a:close/>
                      <a:moveTo>
                        <a:pt x="0" y="100"/>
                      </a:moveTo>
                      <a:lnTo>
                        <a:pt x="49" y="50"/>
                      </a:lnTo>
                      <a:lnTo>
                        <a:pt x="71" y="71"/>
                      </a:lnTo>
                      <a:lnTo>
                        <a:pt x="130" y="12"/>
                      </a:lnTo>
                      <a:lnTo>
                        <a:pt x="118" y="0"/>
                      </a:lnTo>
                      <a:lnTo>
                        <a:pt x="156" y="0"/>
                      </a:lnTo>
                      <a:lnTo>
                        <a:pt x="156" y="38"/>
                      </a:lnTo>
                      <a:lnTo>
                        <a:pt x="144" y="26"/>
                      </a:lnTo>
                      <a:lnTo>
                        <a:pt x="71" y="100"/>
                      </a:lnTo>
                      <a:lnTo>
                        <a:pt x="49" y="78"/>
                      </a:lnTo>
                      <a:lnTo>
                        <a:pt x="0" y="128"/>
                      </a:lnTo>
                      <a:lnTo>
                        <a:pt x="0" y="100"/>
                      </a:lnTo>
                      <a:close/>
                      <a:moveTo>
                        <a:pt x="134" y="48"/>
                      </a:moveTo>
                      <a:lnTo>
                        <a:pt x="134" y="137"/>
                      </a:lnTo>
                      <a:lnTo>
                        <a:pt x="144" y="137"/>
                      </a:lnTo>
                      <a:lnTo>
                        <a:pt x="144" y="38"/>
                      </a:lnTo>
                      <a:lnTo>
                        <a:pt x="134" y="48"/>
                      </a:lnTo>
                      <a:close/>
                      <a:moveTo>
                        <a:pt x="14" y="128"/>
                      </a:moveTo>
                      <a:lnTo>
                        <a:pt x="14" y="137"/>
                      </a:lnTo>
                      <a:lnTo>
                        <a:pt x="21" y="137"/>
                      </a:lnTo>
                      <a:lnTo>
                        <a:pt x="21" y="118"/>
                      </a:lnTo>
                      <a:lnTo>
                        <a:pt x="14" y="128"/>
                      </a:lnTo>
                      <a:close/>
                      <a:moveTo>
                        <a:pt x="28" y="111"/>
                      </a:moveTo>
                      <a:lnTo>
                        <a:pt x="28" y="137"/>
                      </a:lnTo>
                      <a:lnTo>
                        <a:pt x="38" y="137"/>
                      </a:lnTo>
                      <a:lnTo>
                        <a:pt x="38" y="104"/>
                      </a:lnTo>
                      <a:lnTo>
                        <a:pt x="28" y="111"/>
                      </a:lnTo>
                      <a:close/>
                      <a:moveTo>
                        <a:pt x="42" y="97"/>
                      </a:moveTo>
                      <a:lnTo>
                        <a:pt x="42" y="137"/>
                      </a:lnTo>
                      <a:lnTo>
                        <a:pt x="52" y="137"/>
                      </a:lnTo>
                      <a:lnTo>
                        <a:pt x="52" y="93"/>
                      </a:lnTo>
                      <a:lnTo>
                        <a:pt x="49" y="90"/>
                      </a:lnTo>
                      <a:lnTo>
                        <a:pt x="42" y="97"/>
                      </a:lnTo>
                      <a:close/>
                      <a:moveTo>
                        <a:pt x="59" y="100"/>
                      </a:moveTo>
                      <a:lnTo>
                        <a:pt x="59" y="137"/>
                      </a:lnTo>
                      <a:lnTo>
                        <a:pt x="68" y="137"/>
                      </a:lnTo>
                      <a:lnTo>
                        <a:pt x="68" y="109"/>
                      </a:lnTo>
                      <a:lnTo>
                        <a:pt x="61" y="102"/>
                      </a:lnTo>
                      <a:lnTo>
                        <a:pt x="59" y="100"/>
                      </a:lnTo>
                      <a:close/>
                      <a:moveTo>
                        <a:pt x="73" y="109"/>
                      </a:moveTo>
                      <a:lnTo>
                        <a:pt x="73" y="137"/>
                      </a:lnTo>
                      <a:lnTo>
                        <a:pt x="82" y="137"/>
                      </a:lnTo>
                      <a:lnTo>
                        <a:pt x="82" y="100"/>
                      </a:lnTo>
                      <a:lnTo>
                        <a:pt x="80" y="102"/>
                      </a:lnTo>
                      <a:lnTo>
                        <a:pt x="73" y="109"/>
                      </a:lnTo>
                      <a:close/>
                      <a:moveTo>
                        <a:pt x="90" y="95"/>
                      </a:moveTo>
                      <a:lnTo>
                        <a:pt x="90" y="137"/>
                      </a:lnTo>
                      <a:lnTo>
                        <a:pt x="99" y="137"/>
                      </a:lnTo>
                      <a:lnTo>
                        <a:pt x="99" y="85"/>
                      </a:lnTo>
                      <a:lnTo>
                        <a:pt x="90" y="95"/>
                      </a:lnTo>
                      <a:close/>
                      <a:moveTo>
                        <a:pt x="104" y="78"/>
                      </a:moveTo>
                      <a:lnTo>
                        <a:pt x="104" y="137"/>
                      </a:lnTo>
                      <a:lnTo>
                        <a:pt x="113" y="137"/>
                      </a:lnTo>
                      <a:lnTo>
                        <a:pt x="113" y="69"/>
                      </a:lnTo>
                      <a:lnTo>
                        <a:pt x="104" y="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7914" name="组合 67"/>
              <p:cNvGrpSpPr/>
              <p:nvPr/>
            </p:nvGrpSpPr>
            <p:grpSpPr bwMode="auto">
              <a:xfrm>
                <a:off x="6575896" y="-956651"/>
                <a:ext cx="421484" cy="293471"/>
                <a:chOff x="3626849" y="2596125"/>
                <a:chExt cx="360598" cy="251077"/>
              </a:xfrm>
            </p:grpSpPr>
            <p:sp>
              <p:nvSpPr>
                <p:cNvPr id="87" name="矩形 86"/>
                <p:cNvSpPr/>
                <p:nvPr/>
              </p:nvSpPr>
              <p:spPr>
                <a:xfrm>
                  <a:off x="3626813" y="2596479"/>
                  <a:ext cx="360094" cy="250293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93220" tIns="46611" rIns="93220" bIns="46611" anchor="ctr"/>
                <a:lstStyle>
                  <a:lvl1pPr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 defTabSz="931545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defTabSz="93154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algn="ctr" eaLnBrk="1" hangingPunct="1">
                    <a:defRPr/>
                  </a:pPr>
                  <a:endParaRPr lang="zh-CN" altLang="en-US" sz="2200" smtClean="0">
                    <a:solidFill>
                      <a:srgbClr val="000000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7930" name="Freeform 29"/>
                <p:cNvSpPr>
                  <a:spLocks noEditPoints="1"/>
                </p:cNvSpPr>
                <p:nvPr/>
              </p:nvSpPr>
              <p:spPr bwMode="auto">
                <a:xfrm>
                  <a:off x="3727461" y="2649037"/>
                  <a:ext cx="159374" cy="155251"/>
                </a:xfrm>
                <a:custGeom>
                  <a:avLst/>
                  <a:gdLst>
                    <a:gd name="T0" fmla="*/ 2147483646 w 33"/>
                    <a:gd name="T1" fmla="*/ 2147483646 h 32"/>
                    <a:gd name="T2" fmla="*/ 2147483646 w 33"/>
                    <a:gd name="T3" fmla="*/ 0 h 32"/>
                    <a:gd name="T4" fmla="*/ 2147483646 w 33"/>
                    <a:gd name="T5" fmla="*/ 0 h 32"/>
                    <a:gd name="T6" fmla="*/ 2147483646 w 33"/>
                    <a:gd name="T7" fmla="*/ 0 h 32"/>
                    <a:gd name="T8" fmla="*/ 2147483646 w 33"/>
                    <a:gd name="T9" fmla="*/ 2147483646 h 32"/>
                    <a:gd name="T10" fmla="*/ 2147483646 w 33"/>
                    <a:gd name="T11" fmla="*/ 2147483646 h 32"/>
                    <a:gd name="T12" fmla="*/ 2147483646 w 33"/>
                    <a:gd name="T13" fmla="*/ 2147483646 h 32"/>
                    <a:gd name="T14" fmla="*/ 2147483646 w 33"/>
                    <a:gd name="T15" fmla="*/ 2147483646 h 32"/>
                    <a:gd name="T16" fmla="*/ 2147483646 w 33"/>
                    <a:gd name="T17" fmla="*/ 2147483646 h 32"/>
                    <a:gd name="T18" fmla="*/ 0 w 33"/>
                    <a:gd name="T19" fmla="*/ 2147483646 h 32"/>
                    <a:gd name="T20" fmla="*/ 2147483646 w 33"/>
                    <a:gd name="T21" fmla="*/ 2147483646 h 32"/>
                    <a:gd name="T22" fmla="*/ 2147483646 w 33"/>
                    <a:gd name="T23" fmla="*/ 2147483646 h 32"/>
                    <a:gd name="T24" fmla="*/ 2147483646 w 33"/>
                    <a:gd name="T25" fmla="*/ 2147483646 h 32"/>
                    <a:gd name="T26" fmla="*/ 2147483646 w 33"/>
                    <a:gd name="T27" fmla="*/ 2147483646 h 32"/>
                    <a:gd name="T28" fmla="*/ 2147483646 w 33"/>
                    <a:gd name="T29" fmla="*/ 2147483646 h 32"/>
                    <a:gd name="T30" fmla="*/ 2147483646 w 33"/>
                    <a:gd name="T31" fmla="*/ 2147483646 h 32"/>
                    <a:gd name="T32" fmla="*/ 2147483646 w 33"/>
                    <a:gd name="T33" fmla="*/ 2147483646 h 32"/>
                    <a:gd name="T34" fmla="*/ 2147483646 w 33"/>
                    <a:gd name="T35" fmla="*/ 2147483646 h 32"/>
                    <a:gd name="T36" fmla="*/ 2147483646 w 33"/>
                    <a:gd name="T37" fmla="*/ 2147483646 h 32"/>
                    <a:gd name="T38" fmla="*/ 2147483646 w 33"/>
                    <a:gd name="T39" fmla="*/ 2147483646 h 32"/>
                    <a:gd name="T40" fmla="*/ 2147483646 w 33"/>
                    <a:gd name="T41" fmla="*/ 2147483646 h 32"/>
                    <a:gd name="T42" fmla="*/ 2147483646 w 33"/>
                    <a:gd name="T43" fmla="*/ 2147483646 h 32"/>
                    <a:gd name="T44" fmla="*/ 2147483646 w 33"/>
                    <a:gd name="T45" fmla="*/ 2147483646 h 32"/>
                    <a:gd name="T46" fmla="*/ 2147483646 w 33"/>
                    <a:gd name="T47" fmla="*/ 2147483646 h 32"/>
                    <a:gd name="T48" fmla="*/ 2147483646 w 33"/>
                    <a:gd name="T49" fmla="*/ 2147483646 h 32"/>
                    <a:gd name="T50" fmla="*/ 2147483646 w 33"/>
                    <a:gd name="T51" fmla="*/ 2147483646 h 32"/>
                    <a:gd name="T52" fmla="*/ 2147483646 w 33"/>
                    <a:gd name="T53" fmla="*/ 2147483646 h 32"/>
                    <a:gd name="T54" fmla="*/ 2147483646 w 33"/>
                    <a:gd name="T55" fmla="*/ 2147483646 h 32"/>
                    <a:gd name="T56" fmla="*/ 2147483646 w 33"/>
                    <a:gd name="T57" fmla="*/ 2147483646 h 32"/>
                    <a:gd name="T58" fmla="*/ 2147483646 w 33"/>
                    <a:gd name="T59" fmla="*/ 2147483646 h 32"/>
                    <a:gd name="T60" fmla="*/ 2147483646 w 33"/>
                    <a:gd name="T61" fmla="*/ 2147483646 h 32"/>
                    <a:gd name="T62" fmla="*/ 2147483646 w 33"/>
                    <a:gd name="T63" fmla="*/ 2147483646 h 32"/>
                    <a:gd name="T64" fmla="*/ 2147483646 w 33"/>
                    <a:gd name="T65" fmla="*/ 2147483646 h 32"/>
                    <a:gd name="T66" fmla="*/ 2147483646 w 33"/>
                    <a:gd name="T67" fmla="*/ 2147483646 h 32"/>
                    <a:gd name="T68" fmla="*/ 2147483646 w 33"/>
                    <a:gd name="T69" fmla="*/ 2147483646 h 32"/>
                    <a:gd name="T70" fmla="*/ 2147483646 w 33"/>
                    <a:gd name="T71" fmla="*/ 2147483646 h 32"/>
                    <a:gd name="T72" fmla="*/ 2147483646 w 33"/>
                    <a:gd name="T73" fmla="*/ 2147483646 h 32"/>
                    <a:gd name="T74" fmla="*/ 2147483646 w 33"/>
                    <a:gd name="T75" fmla="*/ 2147483646 h 3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33" h="32">
                      <a:moveTo>
                        <a:pt x="2" y="1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8" y="1"/>
                        <a:pt x="9" y="0"/>
                        <a:pt x="10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5"/>
                        <a:pt x="25" y="5"/>
                        <a:pt x="25" y="5"/>
                      </a:cubicBezTo>
                      <a:cubicBezTo>
                        <a:pt x="25" y="5"/>
                        <a:pt x="25" y="5"/>
                        <a:pt x="25" y="5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2" y="16"/>
                        <a:pt x="33" y="17"/>
                        <a:pt x="33" y="18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3" y="31"/>
                        <a:pt x="32" y="32"/>
                        <a:pt x="31" y="32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1"/>
                        <a:pt x="0" y="3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17"/>
                        <a:pt x="1" y="16"/>
                        <a:pt x="2" y="16"/>
                      </a:cubicBezTo>
                      <a:close/>
                      <a:moveTo>
                        <a:pt x="10" y="16"/>
                      </a:moveTo>
                      <a:cubicBezTo>
                        <a:pt x="23" y="16"/>
                        <a:pt x="23" y="16"/>
                        <a:pt x="23" y="16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2" y="8"/>
                        <a:pt x="12" y="7"/>
                        <a:pt x="12" y="7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6"/>
                        <a:pt x="12" y="5"/>
                        <a:pt x="12" y="5"/>
                      </a:cubicBezTo>
                      <a:cubicBezTo>
                        <a:pt x="16" y="5"/>
                        <a:pt x="16" y="5"/>
                        <a:pt x="16" y="5"/>
                      </a:cubicBezTo>
                      <a:cubicBezTo>
                        <a:pt x="16" y="2"/>
                        <a:pt x="16" y="2"/>
                        <a:pt x="16" y="2"/>
                      </a:cubicBezTo>
                      <a:cubicBezTo>
                        <a:pt x="12" y="2"/>
                        <a:pt x="12" y="2"/>
                        <a:pt x="12" y="2"/>
                      </a:cubicBezTo>
                      <a:cubicBezTo>
                        <a:pt x="11" y="2"/>
                        <a:pt x="10" y="3"/>
                        <a:pt x="10" y="4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lose/>
                      <a:moveTo>
                        <a:pt x="12" y="10"/>
                      </a:move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21" y="11"/>
                        <a:pt x="21" y="11"/>
                        <a:pt x="21" y="11"/>
                      </a:cubicBezTo>
                      <a:cubicBezTo>
                        <a:pt x="21" y="11"/>
                        <a:pt x="22" y="11"/>
                        <a:pt x="22" y="11"/>
                      </a:cubicBezTo>
                      <a:cubicBezTo>
                        <a:pt x="22" y="10"/>
                        <a:pt x="22" y="10"/>
                        <a:pt x="22" y="10"/>
                      </a:cubicBezTo>
                      <a:cubicBezTo>
                        <a:pt x="22" y="9"/>
                        <a:pt x="21" y="9"/>
                        <a:pt x="21" y="9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2" y="9"/>
                        <a:pt x="12" y="9"/>
                        <a:pt x="12" y="10"/>
                      </a:cubicBezTo>
                      <a:close/>
                      <a:moveTo>
                        <a:pt x="21" y="13"/>
                      </a:move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12" y="13"/>
                        <a:pt x="12" y="13"/>
                        <a:pt x="12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21" y="15"/>
                        <a:pt x="21" y="15"/>
                        <a:pt x="21" y="15"/>
                      </a:cubicBezTo>
                      <a:cubicBezTo>
                        <a:pt x="21" y="15"/>
                        <a:pt x="22" y="15"/>
                        <a:pt x="22" y="14"/>
                      </a:cubicBezTo>
                      <a:cubicBezTo>
                        <a:pt x="22" y="14"/>
                        <a:pt x="22" y="14"/>
                        <a:pt x="22" y="14"/>
                      </a:cubicBezTo>
                      <a:cubicBezTo>
                        <a:pt x="22" y="13"/>
                        <a:pt x="21" y="13"/>
                        <a:pt x="21" y="13"/>
                      </a:cubicBezTo>
                      <a:close/>
                      <a:moveTo>
                        <a:pt x="19" y="6"/>
                      </a:moveTo>
                      <a:cubicBezTo>
                        <a:pt x="24" y="6"/>
                        <a:pt x="24" y="6"/>
                        <a:pt x="24" y="6"/>
                      </a:cubicBezTo>
                      <a:cubicBezTo>
                        <a:pt x="19" y="1"/>
                        <a:pt x="19" y="1"/>
                        <a:pt x="19" y="1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5"/>
                        <a:pt x="18" y="5"/>
                        <a:pt x="18" y="5"/>
                      </a:cubicBezTo>
                      <a:cubicBezTo>
                        <a:pt x="18" y="6"/>
                        <a:pt x="19" y="6"/>
                        <a:pt x="19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lose/>
                      <a:moveTo>
                        <a:pt x="8" y="22"/>
                      </a:moveTo>
                      <a:cubicBezTo>
                        <a:pt x="7" y="24"/>
                        <a:pt x="6" y="25"/>
                        <a:pt x="6" y="26"/>
                      </a:cubicBezTo>
                      <a:cubicBezTo>
                        <a:pt x="6" y="26"/>
                        <a:pt x="7" y="27"/>
                        <a:pt x="7" y="27"/>
                      </a:cubicBezTo>
                      <a:cubicBezTo>
                        <a:pt x="7" y="27"/>
                        <a:pt x="8" y="27"/>
                        <a:pt x="8" y="27"/>
                      </a:cubicBezTo>
                      <a:cubicBezTo>
                        <a:pt x="10" y="27"/>
                        <a:pt x="11" y="27"/>
                        <a:pt x="12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12" y="24"/>
                        <a:pt x="13" y="23"/>
                        <a:pt x="17" y="23"/>
                      </a:cubicBezTo>
                      <a:cubicBezTo>
                        <a:pt x="20" y="23"/>
                        <a:pt x="21" y="24"/>
                        <a:pt x="22" y="25"/>
                      </a:cubicBezTo>
                      <a:cubicBezTo>
                        <a:pt x="22" y="25"/>
                        <a:pt x="22" y="25"/>
                        <a:pt x="22" y="25"/>
                      </a:cubicBezTo>
                      <a:cubicBezTo>
                        <a:pt x="22" y="27"/>
                        <a:pt x="23" y="27"/>
                        <a:pt x="25" y="27"/>
                      </a:cubicBezTo>
                      <a:cubicBezTo>
                        <a:pt x="26" y="27"/>
                        <a:pt x="27" y="27"/>
                        <a:pt x="27" y="26"/>
                      </a:cubicBezTo>
                      <a:cubicBezTo>
                        <a:pt x="27" y="25"/>
                        <a:pt x="26" y="24"/>
                        <a:pt x="25" y="22"/>
                      </a:cubicBezTo>
                      <a:cubicBezTo>
                        <a:pt x="23" y="21"/>
                        <a:pt x="20" y="21"/>
                        <a:pt x="17" y="21"/>
                      </a:cubicBezTo>
                      <a:cubicBezTo>
                        <a:pt x="15" y="21"/>
                        <a:pt x="13" y="21"/>
                        <a:pt x="12" y="21"/>
                      </a:cubicBezTo>
                      <a:cubicBezTo>
                        <a:pt x="11" y="21"/>
                        <a:pt x="9" y="22"/>
                        <a:pt x="8" y="2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7915" name="组合 68"/>
              <p:cNvGrpSpPr/>
              <p:nvPr/>
            </p:nvGrpSpPr>
            <p:grpSpPr bwMode="auto">
              <a:xfrm>
                <a:off x="7047030" y="-956651"/>
                <a:ext cx="421484" cy="293471"/>
                <a:chOff x="4117406" y="2596125"/>
                <a:chExt cx="360598" cy="251077"/>
              </a:xfrm>
            </p:grpSpPr>
            <p:sp>
              <p:nvSpPr>
                <p:cNvPr id="37927" name="矩形 84"/>
                <p:cNvSpPr>
                  <a:spLocks noChangeArrowheads="1"/>
                </p:cNvSpPr>
                <p:nvPr/>
              </p:nvSpPr>
              <p:spPr bwMode="auto">
                <a:xfrm>
                  <a:off x="4117406" y="2596125"/>
                  <a:ext cx="360598" cy="251077"/>
                </a:xfrm>
                <a:prstGeom prst="rect">
                  <a:avLst/>
                </a:prstGeom>
                <a:solidFill>
                  <a:srgbClr val="4395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928" name="Freeform 74"/>
                <p:cNvSpPr>
                  <a:spLocks noEditPoints="1"/>
                </p:cNvSpPr>
                <p:nvPr/>
              </p:nvSpPr>
              <p:spPr bwMode="auto">
                <a:xfrm>
                  <a:off x="4229800" y="2658649"/>
                  <a:ext cx="135810" cy="136025"/>
                </a:xfrm>
                <a:custGeom>
                  <a:avLst/>
                  <a:gdLst>
                    <a:gd name="T0" fmla="*/ 29919729 w 242"/>
                    <a:gd name="T1" fmla="*/ 65715813 h 242"/>
                    <a:gd name="T2" fmla="*/ 20786226 w 242"/>
                    <a:gd name="T3" fmla="*/ 66347599 h 242"/>
                    <a:gd name="T4" fmla="*/ 10708226 w 242"/>
                    <a:gd name="T5" fmla="*/ 65084028 h 242"/>
                    <a:gd name="T6" fmla="*/ 9448335 w 242"/>
                    <a:gd name="T7" fmla="*/ 54973773 h 242"/>
                    <a:gd name="T8" fmla="*/ 11652722 w 242"/>
                    <a:gd name="T9" fmla="*/ 48970686 h 242"/>
                    <a:gd name="T10" fmla="*/ 5984058 w 242"/>
                    <a:gd name="T11" fmla="*/ 46127651 h 242"/>
                    <a:gd name="T12" fmla="*/ 0 w 242"/>
                    <a:gd name="T13" fmla="*/ 37596860 h 242"/>
                    <a:gd name="T14" fmla="*/ 6298890 w 242"/>
                    <a:gd name="T15" fmla="*/ 30014310 h 242"/>
                    <a:gd name="T16" fmla="*/ 11652722 w 242"/>
                    <a:gd name="T17" fmla="*/ 27487168 h 242"/>
                    <a:gd name="T18" fmla="*/ 9763168 w 242"/>
                    <a:gd name="T19" fmla="*/ 21168188 h 242"/>
                    <a:gd name="T20" fmla="*/ 10708226 w 242"/>
                    <a:gd name="T21" fmla="*/ 10742040 h 242"/>
                    <a:gd name="T22" fmla="*/ 21415890 w 242"/>
                    <a:gd name="T23" fmla="*/ 9794362 h 242"/>
                    <a:gd name="T24" fmla="*/ 27714780 w 242"/>
                    <a:gd name="T25" fmla="*/ 11373826 h 242"/>
                    <a:gd name="T26" fmla="*/ 30234561 w 242"/>
                    <a:gd name="T27" fmla="*/ 6318980 h 242"/>
                    <a:gd name="T28" fmla="*/ 38423006 w 242"/>
                    <a:gd name="T29" fmla="*/ 0 h 242"/>
                    <a:gd name="T30" fmla="*/ 45981787 w 242"/>
                    <a:gd name="T31" fmla="*/ 6634872 h 242"/>
                    <a:gd name="T32" fmla="*/ 48186174 w 242"/>
                    <a:gd name="T33" fmla="*/ 11373826 h 242"/>
                    <a:gd name="T34" fmla="*/ 54170232 w 242"/>
                    <a:gd name="T35" fmla="*/ 10110255 h 242"/>
                    <a:gd name="T36" fmla="*/ 65508122 w 242"/>
                    <a:gd name="T37" fmla="*/ 11057933 h 242"/>
                    <a:gd name="T38" fmla="*/ 65508122 w 242"/>
                    <a:gd name="T39" fmla="*/ 21799974 h 242"/>
                    <a:gd name="T40" fmla="*/ 64563625 w 242"/>
                    <a:gd name="T41" fmla="*/ 27803060 h 242"/>
                    <a:gd name="T42" fmla="*/ 69287793 w 242"/>
                    <a:gd name="T43" fmla="*/ 30014310 h 242"/>
                    <a:gd name="T44" fmla="*/ 76216348 w 242"/>
                    <a:gd name="T45" fmla="*/ 37912753 h 242"/>
                    <a:gd name="T46" fmla="*/ 69287793 w 242"/>
                    <a:gd name="T47" fmla="*/ 46127651 h 242"/>
                    <a:gd name="T48" fmla="*/ 64563625 w 242"/>
                    <a:gd name="T49" fmla="*/ 48338901 h 242"/>
                    <a:gd name="T50" fmla="*/ 65822954 w 242"/>
                    <a:gd name="T51" fmla="*/ 54341987 h 242"/>
                    <a:gd name="T52" fmla="*/ 65193290 w 242"/>
                    <a:gd name="T53" fmla="*/ 65084028 h 242"/>
                    <a:gd name="T54" fmla="*/ 54170232 w 242"/>
                    <a:gd name="T55" fmla="*/ 65715813 h 242"/>
                    <a:gd name="T56" fmla="*/ 48816399 w 242"/>
                    <a:gd name="T57" fmla="*/ 64452242 h 242"/>
                    <a:gd name="T58" fmla="*/ 45981787 w 242"/>
                    <a:gd name="T59" fmla="*/ 68243518 h 242"/>
                    <a:gd name="T60" fmla="*/ 36848283 w 242"/>
                    <a:gd name="T61" fmla="*/ 76457854 h 242"/>
                    <a:gd name="T62" fmla="*/ 30234561 w 242"/>
                    <a:gd name="T63" fmla="*/ 67295277 h 242"/>
                    <a:gd name="T64" fmla="*/ 29919729 w 242"/>
                    <a:gd name="T65" fmla="*/ 65715813 h 242"/>
                    <a:gd name="T66" fmla="*/ 38108174 w 242"/>
                    <a:gd name="T67" fmla="*/ 53078416 h 242"/>
                    <a:gd name="T68" fmla="*/ 52910341 w 242"/>
                    <a:gd name="T69" fmla="*/ 37912753 h 242"/>
                    <a:gd name="T70" fmla="*/ 38423006 w 242"/>
                    <a:gd name="T71" fmla="*/ 23379437 h 242"/>
                    <a:gd name="T72" fmla="*/ 23306006 w 242"/>
                    <a:gd name="T73" fmla="*/ 37912753 h 242"/>
                    <a:gd name="T74" fmla="*/ 38108174 w 242"/>
                    <a:gd name="T75" fmla="*/ 53078416 h 24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242" h="242">
                      <a:moveTo>
                        <a:pt x="95" y="208"/>
                      </a:moveTo>
                      <a:cubicBezTo>
                        <a:pt x="85" y="199"/>
                        <a:pt x="76" y="199"/>
                        <a:pt x="66" y="210"/>
                      </a:cubicBezTo>
                      <a:cubicBezTo>
                        <a:pt x="54" y="223"/>
                        <a:pt x="44" y="216"/>
                        <a:pt x="34" y="206"/>
                      </a:cubicBezTo>
                      <a:cubicBezTo>
                        <a:pt x="24" y="196"/>
                        <a:pt x="20" y="187"/>
                        <a:pt x="30" y="174"/>
                      </a:cubicBezTo>
                      <a:cubicBezTo>
                        <a:pt x="34" y="169"/>
                        <a:pt x="39" y="160"/>
                        <a:pt x="37" y="155"/>
                      </a:cubicBezTo>
                      <a:cubicBezTo>
                        <a:pt x="36" y="150"/>
                        <a:pt x="26" y="147"/>
                        <a:pt x="19" y="146"/>
                      </a:cubicBezTo>
                      <a:cubicBezTo>
                        <a:pt x="2" y="144"/>
                        <a:pt x="0" y="133"/>
                        <a:pt x="0" y="119"/>
                      </a:cubicBezTo>
                      <a:cubicBezTo>
                        <a:pt x="0" y="105"/>
                        <a:pt x="5" y="97"/>
                        <a:pt x="20" y="95"/>
                      </a:cubicBezTo>
                      <a:cubicBezTo>
                        <a:pt x="26" y="95"/>
                        <a:pt x="36" y="91"/>
                        <a:pt x="37" y="87"/>
                      </a:cubicBezTo>
                      <a:cubicBezTo>
                        <a:pt x="38" y="81"/>
                        <a:pt x="36" y="72"/>
                        <a:pt x="31" y="67"/>
                      </a:cubicBezTo>
                      <a:cubicBezTo>
                        <a:pt x="20" y="55"/>
                        <a:pt x="23" y="45"/>
                        <a:pt x="34" y="34"/>
                      </a:cubicBezTo>
                      <a:cubicBezTo>
                        <a:pt x="44" y="24"/>
                        <a:pt x="54" y="19"/>
                        <a:pt x="68" y="31"/>
                      </a:cubicBezTo>
                      <a:cubicBezTo>
                        <a:pt x="73" y="35"/>
                        <a:pt x="82" y="38"/>
                        <a:pt x="88" y="36"/>
                      </a:cubicBezTo>
                      <a:cubicBezTo>
                        <a:pt x="92" y="35"/>
                        <a:pt x="95" y="26"/>
                        <a:pt x="96" y="20"/>
                      </a:cubicBezTo>
                      <a:cubicBezTo>
                        <a:pt x="97" y="2"/>
                        <a:pt x="108" y="0"/>
                        <a:pt x="122" y="0"/>
                      </a:cubicBezTo>
                      <a:cubicBezTo>
                        <a:pt x="137" y="0"/>
                        <a:pt x="146" y="4"/>
                        <a:pt x="146" y="21"/>
                      </a:cubicBezTo>
                      <a:cubicBezTo>
                        <a:pt x="146" y="26"/>
                        <a:pt x="150" y="35"/>
                        <a:pt x="153" y="36"/>
                      </a:cubicBezTo>
                      <a:cubicBezTo>
                        <a:pt x="159" y="38"/>
                        <a:pt x="168" y="36"/>
                        <a:pt x="172" y="32"/>
                      </a:cubicBezTo>
                      <a:cubicBezTo>
                        <a:pt x="186" y="20"/>
                        <a:pt x="196" y="23"/>
                        <a:pt x="208" y="35"/>
                      </a:cubicBezTo>
                      <a:cubicBezTo>
                        <a:pt x="220" y="47"/>
                        <a:pt x="220" y="57"/>
                        <a:pt x="208" y="69"/>
                      </a:cubicBezTo>
                      <a:cubicBezTo>
                        <a:pt x="205" y="73"/>
                        <a:pt x="203" y="82"/>
                        <a:pt x="205" y="88"/>
                      </a:cubicBezTo>
                      <a:cubicBezTo>
                        <a:pt x="206" y="92"/>
                        <a:pt x="215" y="95"/>
                        <a:pt x="220" y="95"/>
                      </a:cubicBezTo>
                      <a:cubicBezTo>
                        <a:pt x="237" y="96"/>
                        <a:pt x="242" y="104"/>
                        <a:pt x="242" y="120"/>
                      </a:cubicBezTo>
                      <a:cubicBezTo>
                        <a:pt x="242" y="135"/>
                        <a:pt x="238" y="145"/>
                        <a:pt x="220" y="146"/>
                      </a:cubicBezTo>
                      <a:cubicBezTo>
                        <a:pt x="215" y="146"/>
                        <a:pt x="206" y="150"/>
                        <a:pt x="205" y="153"/>
                      </a:cubicBezTo>
                      <a:cubicBezTo>
                        <a:pt x="203" y="159"/>
                        <a:pt x="205" y="168"/>
                        <a:pt x="209" y="172"/>
                      </a:cubicBezTo>
                      <a:cubicBezTo>
                        <a:pt x="221" y="185"/>
                        <a:pt x="218" y="195"/>
                        <a:pt x="207" y="206"/>
                      </a:cubicBezTo>
                      <a:cubicBezTo>
                        <a:pt x="195" y="218"/>
                        <a:pt x="185" y="220"/>
                        <a:pt x="172" y="208"/>
                      </a:cubicBezTo>
                      <a:cubicBezTo>
                        <a:pt x="168" y="205"/>
                        <a:pt x="160" y="203"/>
                        <a:pt x="155" y="204"/>
                      </a:cubicBezTo>
                      <a:cubicBezTo>
                        <a:pt x="151" y="204"/>
                        <a:pt x="146" y="212"/>
                        <a:pt x="146" y="216"/>
                      </a:cubicBezTo>
                      <a:cubicBezTo>
                        <a:pt x="147" y="237"/>
                        <a:pt x="136" y="242"/>
                        <a:pt x="117" y="242"/>
                      </a:cubicBezTo>
                      <a:cubicBezTo>
                        <a:pt x="97" y="241"/>
                        <a:pt x="95" y="229"/>
                        <a:pt x="96" y="213"/>
                      </a:cubicBezTo>
                      <a:cubicBezTo>
                        <a:pt x="96" y="211"/>
                        <a:pt x="96" y="209"/>
                        <a:pt x="95" y="208"/>
                      </a:cubicBezTo>
                      <a:close/>
                      <a:moveTo>
                        <a:pt x="121" y="168"/>
                      </a:moveTo>
                      <a:cubicBezTo>
                        <a:pt x="146" y="167"/>
                        <a:pt x="169" y="144"/>
                        <a:pt x="168" y="120"/>
                      </a:cubicBezTo>
                      <a:cubicBezTo>
                        <a:pt x="167" y="96"/>
                        <a:pt x="145" y="74"/>
                        <a:pt x="122" y="74"/>
                      </a:cubicBezTo>
                      <a:cubicBezTo>
                        <a:pt x="97" y="73"/>
                        <a:pt x="74" y="96"/>
                        <a:pt x="74" y="120"/>
                      </a:cubicBezTo>
                      <a:cubicBezTo>
                        <a:pt x="74" y="145"/>
                        <a:pt x="97" y="168"/>
                        <a:pt x="121" y="1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7916" name="组合 69"/>
              <p:cNvGrpSpPr/>
              <p:nvPr/>
            </p:nvGrpSpPr>
            <p:grpSpPr bwMode="auto">
              <a:xfrm>
                <a:off x="7518164" y="-956651"/>
                <a:ext cx="421484" cy="293471"/>
                <a:chOff x="4607963" y="2596125"/>
                <a:chExt cx="360598" cy="251077"/>
              </a:xfrm>
            </p:grpSpPr>
            <p:sp>
              <p:nvSpPr>
                <p:cNvPr id="79" name="矩形 78"/>
                <p:cNvSpPr/>
                <p:nvPr/>
              </p:nvSpPr>
              <p:spPr>
                <a:xfrm>
                  <a:off x="4607362" y="2596479"/>
                  <a:ext cx="361518" cy="250293"/>
                </a:xfrm>
                <a:prstGeom prst="rect">
                  <a:avLst/>
                </a:prstGeom>
                <a:solidFill>
                  <a:srgbClr val="FBB040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80" name="组合 79"/>
                <p:cNvGrpSpPr/>
                <p:nvPr/>
              </p:nvGrpSpPr>
              <p:grpSpPr>
                <a:xfrm>
                  <a:off x="4715567" y="2645498"/>
                  <a:ext cx="145959" cy="158790"/>
                  <a:chOff x="834020" y="2567046"/>
                  <a:chExt cx="421058" cy="458075"/>
                </a:xfrm>
                <a:solidFill>
                  <a:schemeClr val="bg1">
                    <a:alpha val="90000"/>
                  </a:schemeClr>
                </a:solidFill>
              </p:grpSpPr>
              <p:sp>
                <p:nvSpPr>
                  <p:cNvPr id="81" name="Freeform 86"/>
                  <p:cNvSpPr/>
                  <p:nvPr/>
                </p:nvSpPr>
                <p:spPr bwMode="auto">
                  <a:xfrm>
                    <a:off x="834020" y="2734634"/>
                    <a:ext cx="421058" cy="290487"/>
                  </a:xfrm>
                  <a:custGeom>
                    <a:avLst/>
                    <a:gdLst>
                      <a:gd name="T0" fmla="*/ 129 w 203"/>
                      <a:gd name="T1" fmla="*/ 90 h 154"/>
                      <a:gd name="T2" fmla="*/ 129 w 203"/>
                      <a:gd name="T3" fmla="*/ 127 h 154"/>
                      <a:gd name="T4" fmla="*/ 104 w 203"/>
                      <a:gd name="T5" fmla="*/ 154 h 154"/>
                      <a:gd name="T6" fmla="*/ 79 w 203"/>
                      <a:gd name="T7" fmla="*/ 127 h 154"/>
                      <a:gd name="T8" fmla="*/ 79 w 203"/>
                      <a:gd name="T9" fmla="*/ 100 h 154"/>
                      <a:gd name="T10" fmla="*/ 71 w 203"/>
                      <a:gd name="T11" fmla="*/ 83 h 154"/>
                      <a:gd name="T12" fmla="*/ 65 w 203"/>
                      <a:gd name="T13" fmla="*/ 85 h 154"/>
                      <a:gd name="T14" fmla="*/ 65 w 203"/>
                      <a:gd name="T15" fmla="*/ 119 h 154"/>
                      <a:gd name="T16" fmla="*/ 45 w 203"/>
                      <a:gd name="T17" fmla="*/ 138 h 154"/>
                      <a:gd name="T18" fmla="*/ 23 w 203"/>
                      <a:gd name="T19" fmla="*/ 118 h 154"/>
                      <a:gd name="T20" fmla="*/ 10 w 203"/>
                      <a:gd name="T21" fmla="*/ 66 h 154"/>
                      <a:gd name="T22" fmla="*/ 1 w 203"/>
                      <a:gd name="T23" fmla="*/ 15 h 154"/>
                      <a:gd name="T24" fmla="*/ 13 w 203"/>
                      <a:gd name="T25" fmla="*/ 5 h 154"/>
                      <a:gd name="T26" fmla="*/ 41 w 203"/>
                      <a:gd name="T27" fmla="*/ 0 h 154"/>
                      <a:gd name="T28" fmla="*/ 45 w 203"/>
                      <a:gd name="T29" fmla="*/ 38 h 154"/>
                      <a:gd name="T30" fmla="*/ 54 w 203"/>
                      <a:gd name="T31" fmla="*/ 72 h 154"/>
                      <a:gd name="T32" fmla="*/ 49 w 203"/>
                      <a:gd name="T33" fmla="*/ 28 h 154"/>
                      <a:gd name="T34" fmla="*/ 65 w 203"/>
                      <a:gd name="T35" fmla="*/ 5 h 154"/>
                      <a:gd name="T36" fmla="*/ 144 w 203"/>
                      <a:gd name="T37" fmla="*/ 5 h 154"/>
                      <a:gd name="T38" fmla="*/ 160 w 203"/>
                      <a:gd name="T39" fmla="*/ 25 h 154"/>
                      <a:gd name="T40" fmla="*/ 158 w 203"/>
                      <a:gd name="T41" fmla="*/ 73 h 154"/>
                      <a:gd name="T42" fmla="*/ 168 w 203"/>
                      <a:gd name="T43" fmla="*/ 2 h 154"/>
                      <a:gd name="T44" fmla="*/ 199 w 203"/>
                      <a:gd name="T45" fmla="*/ 37 h 154"/>
                      <a:gd name="T46" fmla="*/ 181 w 203"/>
                      <a:gd name="T47" fmla="*/ 81 h 154"/>
                      <a:gd name="T48" fmla="*/ 177 w 203"/>
                      <a:gd name="T49" fmla="*/ 112 h 154"/>
                      <a:gd name="T50" fmla="*/ 156 w 203"/>
                      <a:gd name="T51" fmla="*/ 138 h 154"/>
                      <a:gd name="T52" fmla="*/ 135 w 203"/>
                      <a:gd name="T53" fmla="*/ 111 h 154"/>
                      <a:gd name="T54" fmla="*/ 135 w 203"/>
                      <a:gd name="T55" fmla="*/ 90 h 154"/>
                      <a:gd name="T56" fmla="*/ 129 w 203"/>
                      <a:gd name="T57" fmla="*/ 9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203" h="154">
                        <a:moveTo>
                          <a:pt x="129" y="90"/>
                        </a:moveTo>
                        <a:cubicBezTo>
                          <a:pt x="129" y="102"/>
                          <a:pt x="128" y="115"/>
                          <a:pt x="129" y="127"/>
                        </a:cubicBezTo>
                        <a:cubicBezTo>
                          <a:pt x="131" y="151"/>
                          <a:pt x="120" y="154"/>
                          <a:pt x="104" y="154"/>
                        </a:cubicBezTo>
                        <a:cubicBezTo>
                          <a:pt x="87" y="153"/>
                          <a:pt x="77" y="150"/>
                          <a:pt x="79" y="127"/>
                        </a:cubicBezTo>
                        <a:cubicBezTo>
                          <a:pt x="80" y="118"/>
                          <a:pt x="80" y="109"/>
                          <a:pt x="79" y="100"/>
                        </a:cubicBezTo>
                        <a:cubicBezTo>
                          <a:pt x="78" y="94"/>
                          <a:pt x="74" y="89"/>
                          <a:pt x="71" y="83"/>
                        </a:cubicBezTo>
                        <a:cubicBezTo>
                          <a:pt x="69" y="84"/>
                          <a:pt x="67" y="85"/>
                          <a:pt x="65" y="85"/>
                        </a:cubicBezTo>
                        <a:cubicBezTo>
                          <a:pt x="65" y="96"/>
                          <a:pt x="65" y="108"/>
                          <a:pt x="65" y="119"/>
                        </a:cubicBezTo>
                        <a:cubicBezTo>
                          <a:pt x="66" y="133"/>
                          <a:pt x="56" y="137"/>
                          <a:pt x="45" y="138"/>
                        </a:cubicBezTo>
                        <a:cubicBezTo>
                          <a:pt x="33" y="138"/>
                          <a:pt x="23" y="134"/>
                          <a:pt x="23" y="118"/>
                        </a:cubicBezTo>
                        <a:cubicBezTo>
                          <a:pt x="24" y="100"/>
                          <a:pt x="24" y="83"/>
                          <a:pt x="10" y="66"/>
                        </a:cubicBezTo>
                        <a:cubicBezTo>
                          <a:pt x="0" y="54"/>
                          <a:pt x="2" y="32"/>
                          <a:pt x="1" y="15"/>
                        </a:cubicBezTo>
                        <a:cubicBezTo>
                          <a:pt x="0" y="12"/>
                          <a:pt x="8" y="7"/>
                          <a:pt x="13" y="5"/>
                        </a:cubicBezTo>
                        <a:cubicBezTo>
                          <a:pt x="21" y="2"/>
                          <a:pt x="30" y="2"/>
                          <a:pt x="41" y="0"/>
                        </a:cubicBezTo>
                        <a:cubicBezTo>
                          <a:pt x="42" y="14"/>
                          <a:pt x="44" y="26"/>
                          <a:pt x="45" y="38"/>
                        </a:cubicBezTo>
                        <a:cubicBezTo>
                          <a:pt x="47" y="50"/>
                          <a:pt x="49" y="61"/>
                          <a:pt x="54" y="72"/>
                        </a:cubicBezTo>
                        <a:cubicBezTo>
                          <a:pt x="53" y="58"/>
                          <a:pt x="51" y="43"/>
                          <a:pt x="49" y="28"/>
                        </a:cubicBezTo>
                        <a:cubicBezTo>
                          <a:pt x="46" y="14"/>
                          <a:pt x="48" y="5"/>
                          <a:pt x="65" y="5"/>
                        </a:cubicBezTo>
                        <a:cubicBezTo>
                          <a:pt x="92" y="5"/>
                          <a:pt x="118" y="4"/>
                          <a:pt x="144" y="5"/>
                        </a:cubicBezTo>
                        <a:cubicBezTo>
                          <a:pt x="158" y="5"/>
                          <a:pt x="163" y="12"/>
                          <a:pt x="160" y="25"/>
                        </a:cubicBezTo>
                        <a:cubicBezTo>
                          <a:pt x="157" y="41"/>
                          <a:pt x="156" y="57"/>
                          <a:pt x="158" y="73"/>
                        </a:cubicBezTo>
                        <a:cubicBezTo>
                          <a:pt x="161" y="49"/>
                          <a:pt x="164" y="26"/>
                          <a:pt x="168" y="2"/>
                        </a:cubicBezTo>
                        <a:cubicBezTo>
                          <a:pt x="203" y="7"/>
                          <a:pt x="202" y="7"/>
                          <a:pt x="199" y="37"/>
                        </a:cubicBezTo>
                        <a:cubicBezTo>
                          <a:pt x="196" y="54"/>
                          <a:pt x="196" y="69"/>
                          <a:pt x="181" y="81"/>
                        </a:cubicBezTo>
                        <a:cubicBezTo>
                          <a:pt x="175" y="86"/>
                          <a:pt x="177" y="101"/>
                          <a:pt x="177" y="112"/>
                        </a:cubicBezTo>
                        <a:cubicBezTo>
                          <a:pt x="178" y="128"/>
                          <a:pt x="173" y="138"/>
                          <a:pt x="156" y="138"/>
                        </a:cubicBezTo>
                        <a:cubicBezTo>
                          <a:pt x="138" y="138"/>
                          <a:pt x="134" y="127"/>
                          <a:pt x="135" y="111"/>
                        </a:cubicBezTo>
                        <a:cubicBezTo>
                          <a:pt x="136" y="104"/>
                          <a:pt x="135" y="97"/>
                          <a:pt x="135" y="90"/>
                        </a:cubicBezTo>
                        <a:cubicBezTo>
                          <a:pt x="133" y="90"/>
                          <a:pt x="131" y="90"/>
                          <a:pt x="129" y="9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2" name="Freeform 87"/>
                  <p:cNvSpPr/>
                  <p:nvPr/>
                </p:nvSpPr>
                <p:spPr bwMode="auto">
                  <a:xfrm>
                    <a:off x="964727" y="2567046"/>
                    <a:ext cx="172812" cy="158011"/>
                  </a:xfrm>
                  <a:custGeom>
                    <a:avLst/>
                    <a:gdLst>
                      <a:gd name="T0" fmla="*/ 82 w 83"/>
                      <a:gd name="T1" fmla="*/ 44 h 84"/>
                      <a:gd name="T2" fmla="*/ 40 w 83"/>
                      <a:gd name="T3" fmla="*/ 83 h 84"/>
                      <a:gd name="T4" fmla="*/ 0 w 83"/>
                      <a:gd name="T5" fmla="*/ 41 h 84"/>
                      <a:gd name="T6" fmla="*/ 44 w 83"/>
                      <a:gd name="T7" fmla="*/ 2 h 84"/>
                      <a:gd name="T8" fmla="*/ 82 w 83"/>
                      <a:gd name="T9" fmla="*/ 4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3" h="84">
                        <a:moveTo>
                          <a:pt x="82" y="44"/>
                        </a:moveTo>
                        <a:cubicBezTo>
                          <a:pt x="81" y="66"/>
                          <a:pt x="63" y="84"/>
                          <a:pt x="40" y="83"/>
                        </a:cubicBezTo>
                        <a:cubicBezTo>
                          <a:pt x="17" y="83"/>
                          <a:pt x="0" y="64"/>
                          <a:pt x="0" y="41"/>
                        </a:cubicBezTo>
                        <a:cubicBezTo>
                          <a:pt x="1" y="18"/>
                          <a:pt x="21" y="0"/>
                          <a:pt x="44" y="2"/>
                        </a:cubicBezTo>
                        <a:cubicBezTo>
                          <a:pt x="66" y="3"/>
                          <a:pt x="83" y="21"/>
                          <a:pt x="82" y="44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3" name="Freeform 88"/>
                  <p:cNvSpPr/>
                  <p:nvPr/>
                </p:nvSpPr>
                <p:spPr bwMode="auto">
                  <a:xfrm>
                    <a:off x="1133091" y="2593517"/>
                    <a:ext cx="109652" cy="137262"/>
                  </a:xfrm>
                  <a:custGeom>
                    <a:avLst/>
                    <a:gdLst>
                      <a:gd name="T0" fmla="*/ 0 w 53"/>
                      <a:gd name="T1" fmla="*/ 64 h 73"/>
                      <a:gd name="T2" fmla="*/ 8 w 53"/>
                      <a:gd name="T3" fmla="*/ 5 h 73"/>
                      <a:gd name="T4" fmla="*/ 45 w 53"/>
                      <a:gd name="T5" fmla="*/ 21 h 73"/>
                      <a:gd name="T6" fmla="*/ 38 w 53"/>
                      <a:gd name="T7" fmla="*/ 61 h 73"/>
                      <a:gd name="T8" fmla="*/ 0 w 53"/>
                      <a:gd name="T9" fmla="*/ 64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3" h="73">
                        <a:moveTo>
                          <a:pt x="0" y="64"/>
                        </a:moveTo>
                        <a:cubicBezTo>
                          <a:pt x="3" y="42"/>
                          <a:pt x="5" y="25"/>
                          <a:pt x="8" y="5"/>
                        </a:cubicBezTo>
                        <a:cubicBezTo>
                          <a:pt x="23" y="0"/>
                          <a:pt x="37" y="5"/>
                          <a:pt x="45" y="21"/>
                        </a:cubicBezTo>
                        <a:cubicBezTo>
                          <a:pt x="53" y="35"/>
                          <a:pt x="51" y="50"/>
                          <a:pt x="38" y="61"/>
                        </a:cubicBezTo>
                        <a:cubicBezTo>
                          <a:pt x="25" y="72"/>
                          <a:pt x="11" y="73"/>
                          <a:pt x="0" y="64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84" name="Freeform 89"/>
                  <p:cNvSpPr/>
                  <p:nvPr/>
                </p:nvSpPr>
                <p:spPr bwMode="auto">
                  <a:xfrm>
                    <a:off x="859646" y="2595003"/>
                    <a:ext cx="109652" cy="138057"/>
                  </a:xfrm>
                  <a:custGeom>
                    <a:avLst/>
                    <a:gdLst>
                      <a:gd name="T0" fmla="*/ 45 w 53"/>
                      <a:gd name="T1" fmla="*/ 5 h 73"/>
                      <a:gd name="T2" fmla="*/ 53 w 53"/>
                      <a:gd name="T3" fmla="*/ 63 h 73"/>
                      <a:gd name="T4" fmla="*/ 16 w 53"/>
                      <a:gd name="T5" fmla="*/ 61 h 73"/>
                      <a:gd name="T6" fmla="*/ 7 w 53"/>
                      <a:gd name="T7" fmla="*/ 22 h 73"/>
                      <a:gd name="T8" fmla="*/ 45 w 53"/>
                      <a:gd name="T9" fmla="*/ 5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3" h="73">
                        <a:moveTo>
                          <a:pt x="45" y="5"/>
                        </a:moveTo>
                        <a:cubicBezTo>
                          <a:pt x="47" y="24"/>
                          <a:pt x="50" y="41"/>
                          <a:pt x="53" y="63"/>
                        </a:cubicBezTo>
                        <a:cubicBezTo>
                          <a:pt x="43" y="73"/>
                          <a:pt x="29" y="71"/>
                          <a:pt x="16" y="61"/>
                        </a:cubicBezTo>
                        <a:cubicBezTo>
                          <a:pt x="2" y="51"/>
                          <a:pt x="0" y="37"/>
                          <a:pt x="7" y="22"/>
                        </a:cubicBezTo>
                        <a:cubicBezTo>
                          <a:pt x="14" y="6"/>
                          <a:pt x="28" y="0"/>
                          <a:pt x="45" y="5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</p:grpSp>
          <p:grpSp>
            <p:nvGrpSpPr>
              <p:cNvPr id="37917" name="组合 70"/>
              <p:cNvGrpSpPr/>
              <p:nvPr/>
            </p:nvGrpSpPr>
            <p:grpSpPr bwMode="auto">
              <a:xfrm>
                <a:off x="7989298" y="-956653"/>
                <a:ext cx="421484" cy="293471"/>
                <a:chOff x="5098520" y="2596124"/>
                <a:chExt cx="360598" cy="251077"/>
              </a:xfrm>
            </p:grpSpPr>
            <p:sp>
              <p:nvSpPr>
                <p:cNvPr id="75" name="矩形 74"/>
                <p:cNvSpPr/>
                <p:nvPr/>
              </p:nvSpPr>
              <p:spPr>
                <a:xfrm>
                  <a:off x="5098520" y="2596124"/>
                  <a:ext cx="360598" cy="251077"/>
                </a:xfrm>
                <a:prstGeom prst="rect">
                  <a:avLst/>
                </a:prstGeom>
                <a:solidFill>
                  <a:schemeClr val="accent3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008FBA">
                      <a:satMod val="300000"/>
                    </a:srgbClr>
                  </a:contourClr>
                </a:sp3d>
              </p:spPr>
              <p:txBody>
                <a:bodyPr lIns="186423" tIns="93212" rIns="186423" bIns="93212" anchor="b"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grpSp>
              <p:nvGrpSpPr>
                <p:cNvPr id="76" name="组合 75"/>
                <p:cNvGrpSpPr/>
                <p:nvPr/>
              </p:nvGrpSpPr>
              <p:grpSpPr>
                <a:xfrm>
                  <a:off x="5206314" y="2641135"/>
                  <a:ext cx="134569" cy="171052"/>
                  <a:chOff x="4396485" y="3361019"/>
                  <a:chExt cx="403905" cy="513408"/>
                </a:xfrm>
                <a:solidFill>
                  <a:schemeClr val="bg1">
                    <a:alpha val="90000"/>
                  </a:schemeClr>
                </a:solidFill>
              </p:grpSpPr>
              <p:sp>
                <p:nvSpPr>
                  <p:cNvPr id="77" name="Freeform 9"/>
                  <p:cNvSpPr/>
                  <p:nvPr/>
                </p:nvSpPr>
                <p:spPr bwMode="auto">
                  <a:xfrm>
                    <a:off x="4471282" y="3361019"/>
                    <a:ext cx="265680" cy="102921"/>
                  </a:xfrm>
                  <a:custGeom>
                    <a:avLst/>
                    <a:gdLst>
                      <a:gd name="T0" fmla="*/ 43 w 188"/>
                      <a:gd name="T1" fmla="*/ 73 h 73"/>
                      <a:gd name="T2" fmla="*/ 90 w 188"/>
                      <a:gd name="T3" fmla="*/ 73 h 73"/>
                      <a:gd name="T4" fmla="*/ 91 w 188"/>
                      <a:gd name="T5" fmla="*/ 73 h 73"/>
                      <a:gd name="T6" fmla="*/ 138 w 188"/>
                      <a:gd name="T7" fmla="*/ 73 h 73"/>
                      <a:gd name="T8" fmla="*/ 161 w 188"/>
                      <a:gd name="T9" fmla="*/ 18 h 73"/>
                      <a:gd name="T10" fmla="*/ 133 w 188"/>
                      <a:gd name="T11" fmla="*/ 13 h 73"/>
                      <a:gd name="T12" fmla="*/ 108 w 188"/>
                      <a:gd name="T13" fmla="*/ 45 h 73"/>
                      <a:gd name="T14" fmla="*/ 118 w 188"/>
                      <a:gd name="T15" fmla="*/ 5 h 73"/>
                      <a:gd name="T16" fmla="*/ 91 w 188"/>
                      <a:gd name="T17" fmla="*/ 0 h 73"/>
                      <a:gd name="T18" fmla="*/ 63 w 188"/>
                      <a:gd name="T19" fmla="*/ 5 h 73"/>
                      <a:gd name="T20" fmla="*/ 73 w 188"/>
                      <a:gd name="T21" fmla="*/ 45 h 73"/>
                      <a:gd name="T22" fmla="*/ 48 w 188"/>
                      <a:gd name="T23" fmla="*/ 13 h 73"/>
                      <a:gd name="T24" fmla="*/ 20 w 188"/>
                      <a:gd name="T25" fmla="*/ 18 h 73"/>
                      <a:gd name="T26" fmla="*/ 43 w 188"/>
                      <a:gd name="T27" fmla="*/ 73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88" h="73">
                        <a:moveTo>
                          <a:pt x="43" y="73"/>
                        </a:moveTo>
                        <a:cubicBezTo>
                          <a:pt x="90" y="73"/>
                          <a:pt x="90" y="73"/>
                          <a:pt x="90" y="73"/>
                        </a:cubicBezTo>
                        <a:cubicBezTo>
                          <a:pt x="91" y="73"/>
                          <a:pt x="91" y="73"/>
                          <a:pt x="91" y="73"/>
                        </a:cubicBezTo>
                        <a:cubicBezTo>
                          <a:pt x="138" y="73"/>
                          <a:pt x="138" y="73"/>
                          <a:pt x="138" y="73"/>
                        </a:cubicBezTo>
                        <a:cubicBezTo>
                          <a:pt x="152" y="25"/>
                          <a:pt x="188" y="31"/>
                          <a:pt x="161" y="18"/>
                        </a:cubicBezTo>
                        <a:cubicBezTo>
                          <a:pt x="155" y="14"/>
                          <a:pt x="138" y="7"/>
                          <a:pt x="133" y="13"/>
                        </a:cubicBezTo>
                        <a:cubicBezTo>
                          <a:pt x="128" y="18"/>
                          <a:pt x="122" y="44"/>
                          <a:pt x="108" y="45"/>
                        </a:cubicBezTo>
                        <a:cubicBezTo>
                          <a:pt x="109" y="37"/>
                          <a:pt x="124" y="14"/>
                          <a:pt x="118" y="5"/>
                        </a:cubicBezTo>
                        <a:cubicBezTo>
                          <a:pt x="115" y="0"/>
                          <a:pt x="96" y="0"/>
                          <a:pt x="91" y="0"/>
                        </a:cubicBezTo>
                        <a:cubicBezTo>
                          <a:pt x="85" y="0"/>
                          <a:pt x="66" y="0"/>
                          <a:pt x="63" y="5"/>
                        </a:cubicBezTo>
                        <a:cubicBezTo>
                          <a:pt x="57" y="14"/>
                          <a:pt x="72" y="37"/>
                          <a:pt x="73" y="45"/>
                        </a:cubicBezTo>
                        <a:cubicBezTo>
                          <a:pt x="59" y="44"/>
                          <a:pt x="53" y="18"/>
                          <a:pt x="48" y="13"/>
                        </a:cubicBezTo>
                        <a:cubicBezTo>
                          <a:pt x="43" y="7"/>
                          <a:pt x="26" y="11"/>
                          <a:pt x="20" y="18"/>
                        </a:cubicBezTo>
                        <a:cubicBezTo>
                          <a:pt x="0" y="40"/>
                          <a:pt x="29" y="25"/>
                          <a:pt x="43" y="73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78" name="Freeform 11"/>
                  <p:cNvSpPr>
                    <a:spLocks noEditPoints="1"/>
                  </p:cNvSpPr>
                  <p:nvPr/>
                </p:nvSpPr>
                <p:spPr bwMode="auto">
                  <a:xfrm>
                    <a:off x="4396485" y="3518991"/>
                    <a:ext cx="403905" cy="355436"/>
                  </a:xfrm>
                  <a:custGeom>
                    <a:avLst/>
                    <a:gdLst>
                      <a:gd name="T0" fmla="*/ 192 w 286"/>
                      <a:gd name="T1" fmla="*/ 0 h 251"/>
                      <a:gd name="T2" fmla="*/ 146 w 286"/>
                      <a:gd name="T3" fmla="*/ 0 h 251"/>
                      <a:gd name="T4" fmla="*/ 140 w 286"/>
                      <a:gd name="T5" fmla="*/ 0 h 251"/>
                      <a:gd name="T6" fmla="*/ 94 w 286"/>
                      <a:gd name="T7" fmla="*/ 0 h 251"/>
                      <a:gd name="T8" fmla="*/ 1 w 286"/>
                      <a:gd name="T9" fmla="*/ 162 h 251"/>
                      <a:gd name="T10" fmla="*/ 143 w 286"/>
                      <a:gd name="T11" fmla="*/ 251 h 251"/>
                      <a:gd name="T12" fmla="*/ 143 w 286"/>
                      <a:gd name="T13" fmla="*/ 251 h 251"/>
                      <a:gd name="T14" fmla="*/ 143 w 286"/>
                      <a:gd name="T15" fmla="*/ 251 h 251"/>
                      <a:gd name="T16" fmla="*/ 285 w 286"/>
                      <a:gd name="T17" fmla="*/ 162 h 251"/>
                      <a:gd name="T18" fmla="*/ 192 w 286"/>
                      <a:gd name="T19" fmla="*/ 0 h 251"/>
                      <a:gd name="T20" fmla="*/ 185 w 286"/>
                      <a:gd name="T21" fmla="*/ 189 h 251"/>
                      <a:gd name="T22" fmla="*/ 155 w 286"/>
                      <a:gd name="T23" fmla="*/ 200 h 251"/>
                      <a:gd name="T24" fmla="*/ 151 w 286"/>
                      <a:gd name="T25" fmla="*/ 204 h 251"/>
                      <a:gd name="T26" fmla="*/ 151 w 286"/>
                      <a:gd name="T27" fmla="*/ 211 h 251"/>
                      <a:gd name="T28" fmla="*/ 147 w 286"/>
                      <a:gd name="T29" fmla="*/ 215 h 251"/>
                      <a:gd name="T30" fmla="*/ 134 w 286"/>
                      <a:gd name="T31" fmla="*/ 215 h 251"/>
                      <a:gd name="T32" fmla="*/ 131 w 286"/>
                      <a:gd name="T33" fmla="*/ 211 h 251"/>
                      <a:gd name="T34" fmla="*/ 131 w 286"/>
                      <a:gd name="T35" fmla="*/ 203 h 251"/>
                      <a:gd name="T36" fmla="*/ 127 w 286"/>
                      <a:gd name="T37" fmla="*/ 198 h 251"/>
                      <a:gd name="T38" fmla="*/ 89 w 286"/>
                      <a:gd name="T39" fmla="*/ 178 h 251"/>
                      <a:gd name="T40" fmla="*/ 105 w 286"/>
                      <a:gd name="T41" fmla="*/ 165 h 251"/>
                      <a:gd name="T42" fmla="*/ 106 w 286"/>
                      <a:gd name="T43" fmla="*/ 167 h 251"/>
                      <a:gd name="T44" fmla="*/ 107 w 286"/>
                      <a:gd name="T45" fmla="*/ 167 h 251"/>
                      <a:gd name="T46" fmla="*/ 108 w 286"/>
                      <a:gd name="T47" fmla="*/ 169 h 251"/>
                      <a:gd name="T48" fmla="*/ 124 w 286"/>
                      <a:gd name="T49" fmla="*/ 178 h 251"/>
                      <a:gd name="T50" fmla="*/ 127 w 286"/>
                      <a:gd name="T51" fmla="*/ 179 h 251"/>
                      <a:gd name="T52" fmla="*/ 131 w 286"/>
                      <a:gd name="T53" fmla="*/ 176 h 251"/>
                      <a:gd name="T54" fmla="*/ 131 w 286"/>
                      <a:gd name="T55" fmla="*/ 132 h 251"/>
                      <a:gd name="T56" fmla="*/ 127 w 286"/>
                      <a:gd name="T57" fmla="*/ 127 h 251"/>
                      <a:gd name="T58" fmla="*/ 107 w 286"/>
                      <a:gd name="T59" fmla="*/ 118 h 251"/>
                      <a:gd name="T60" fmla="*/ 93 w 286"/>
                      <a:gd name="T61" fmla="*/ 102 h 251"/>
                      <a:gd name="T62" fmla="*/ 101 w 286"/>
                      <a:gd name="T63" fmla="*/ 59 h 251"/>
                      <a:gd name="T64" fmla="*/ 127 w 286"/>
                      <a:gd name="T65" fmla="*/ 46 h 251"/>
                      <a:gd name="T66" fmla="*/ 131 w 286"/>
                      <a:gd name="T67" fmla="*/ 42 h 251"/>
                      <a:gd name="T68" fmla="*/ 131 w 286"/>
                      <a:gd name="T69" fmla="*/ 34 h 251"/>
                      <a:gd name="T70" fmla="*/ 134 w 286"/>
                      <a:gd name="T71" fmla="*/ 30 h 251"/>
                      <a:gd name="T72" fmla="*/ 147 w 286"/>
                      <a:gd name="T73" fmla="*/ 30 h 251"/>
                      <a:gd name="T74" fmla="*/ 151 w 286"/>
                      <a:gd name="T75" fmla="*/ 34 h 251"/>
                      <a:gd name="T76" fmla="*/ 151 w 286"/>
                      <a:gd name="T77" fmla="*/ 41 h 251"/>
                      <a:gd name="T78" fmla="*/ 155 w 286"/>
                      <a:gd name="T79" fmla="*/ 45 h 251"/>
                      <a:gd name="T80" fmla="*/ 162 w 286"/>
                      <a:gd name="T81" fmla="*/ 47 h 251"/>
                      <a:gd name="T82" fmla="*/ 191 w 286"/>
                      <a:gd name="T83" fmla="*/ 67 h 251"/>
                      <a:gd name="T84" fmla="*/ 175 w 286"/>
                      <a:gd name="T85" fmla="*/ 79 h 251"/>
                      <a:gd name="T86" fmla="*/ 174 w 286"/>
                      <a:gd name="T87" fmla="*/ 78 h 251"/>
                      <a:gd name="T88" fmla="*/ 173 w 286"/>
                      <a:gd name="T89" fmla="*/ 77 h 251"/>
                      <a:gd name="T90" fmla="*/ 172 w 286"/>
                      <a:gd name="T91" fmla="*/ 75 h 251"/>
                      <a:gd name="T92" fmla="*/ 156 w 286"/>
                      <a:gd name="T93" fmla="*/ 66 h 251"/>
                      <a:gd name="T94" fmla="*/ 155 w 286"/>
                      <a:gd name="T95" fmla="*/ 65 h 251"/>
                      <a:gd name="T96" fmla="*/ 151 w 286"/>
                      <a:gd name="T97" fmla="*/ 68 h 251"/>
                      <a:gd name="T98" fmla="*/ 151 w 286"/>
                      <a:gd name="T99" fmla="*/ 112 h 251"/>
                      <a:gd name="T100" fmla="*/ 154 w 286"/>
                      <a:gd name="T101" fmla="*/ 117 h 251"/>
                      <a:gd name="T102" fmla="*/ 196 w 286"/>
                      <a:gd name="T103" fmla="*/ 147 h 251"/>
                      <a:gd name="T104" fmla="*/ 185 w 286"/>
                      <a:gd name="T105" fmla="*/ 189 h 2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86" h="251">
                        <a:moveTo>
                          <a:pt x="192" y="0"/>
                        </a:moveTo>
                        <a:cubicBezTo>
                          <a:pt x="146" y="0"/>
                          <a:pt x="146" y="0"/>
                          <a:pt x="146" y="0"/>
                        </a:cubicBezTo>
                        <a:cubicBezTo>
                          <a:pt x="140" y="0"/>
                          <a:pt x="140" y="0"/>
                          <a:pt x="140" y="0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79" y="32"/>
                          <a:pt x="0" y="71"/>
                          <a:pt x="1" y="162"/>
                        </a:cubicBezTo>
                        <a:cubicBezTo>
                          <a:pt x="1" y="239"/>
                          <a:pt x="58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228" y="251"/>
                          <a:pt x="285" y="239"/>
                          <a:pt x="285" y="162"/>
                        </a:cubicBezTo>
                        <a:cubicBezTo>
                          <a:pt x="286" y="71"/>
                          <a:pt x="206" y="32"/>
                          <a:pt x="192" y="0"/>
                        </a:cubicBezTo>
                        <a:close/>
                        <a:moveTo>
                          <a:pt x="185" y="189"/>
                        </a:moveTo>
                        <a:cubicBezTo>
                          <a:pt x="177" y="196"/>
                          <a:pt x="155" y="200"/>
                          <a:pt x="155" y="200"/>
                        </a:cubicBezTo>
                        <a:cubicBezTo>
                          <a:pt x="153" y="200"/>
                          <a:pt x="151" y="202"/>
                          <a:pt x="151" y="204"/>
                        </a:cubicBezTo>
                        <a:cubicBezTo>
                          <a:pt x="151" y="211"/>
                          <a:pt x="151" y="211"/>
                          <a:pt x="151" y="211"/>
                        </a:cubicBezTo>
                        <a:cubicBezTo>
                          <a:pt x="151" y="213"/>
                          <a:pt x="149" y="215"/>
                          <a:pt x="147" y="215"/>
                        </a:cubicBezTo>
                        <a:cubicBezTo>
                          <a:pt x="134" y="215"/>
                          <a:pt x="134" y="215"/>
                          <a:pt x="134" y="215"/>
                        </a:cubicBezTo>
                        <a:cubicBezTo>
                          <a:pt x="132" y="215"/>
                          <a:pt x="131" y="213"/>
                          <a:pt x="131" y="211"/>
                        </a:cubicBezTo>
                        <a:cubicBezTo>
                          <a:pt x="131" y="203"/>
                          <a:pt x="131" y="203"/>
                          <a:pt x="131" y="203"/>
                        </a:cubicBezTo>
                        <a:cubicBezTo>
                          <a:pt x="131" y="201"/>
                          <a:pt x="129" y="199"/>
                          <a:pt x="127" y="198"/>
                        </a:cubicBezTo>
                        <a:cubicBezTo>
                          <a:pt x="127" y="198"/>
                          <a:pt x="96" y="189"/>
                          <a:pt x="89" y="178"/>
                        </a:cubicBezTo>
                        <a:cubicBezTo>
                          <a:pt x="84" y="170"/>
                          <a:pt x="99" y="156"/>
                          <a:pt x="105" y="165"/>
                        </a:cubicBezTo>
                        <a:cubicBezTo>
                          <a:pt x="105" y="166"/>
                          <a:pt x="106" y="166"/>
                          <a:pt x="106" y="167"/>
                        </a:cubicBezTo>
                        <a:cubicBezTo>
                          <a:pt x="106" y="167"/>
                          <a:pt x="105" y="166"/>
                          <a:pt x="107" y="167"/>
                        </a:cubicBezTo>
                        <a:cubicBezTo>
                          <a:pt x="107" y="168"/>
                          <a:pt x="108" y="169"/>
                          <a:pt x="108" y="169"/>
                        </a:cubicBezTo>
                        <a:cubicBezTo>
                          <a:pt x="112" y="172"/>
                          <a:pt x="119" y="176"/>
                          <a:pt x="124" y="178"/>
                        </a:cubicBezTo>
                        <a:cubicBezTo>
                          <a:pt x="126" y="179"/>
                          <a:pt x="127" y="179"/>
                          <a:pt x="127" y="179"/>
                        </a:cubicBezTo>
                        <a:cubicBezTo>
                          <a:pt x="129" y="180"/>
                          <a:pt x="131" y="178"/>
                          <a:pt x="131" y="176"/>
                        </a:cubicBezTo>
                        <a:cubicBezTo>
                          <a:pt x="131" y="132"/>
                          <a:pt x="131" y="132"/>
                          <a:pt x="131" y="132"/>
                        </a:cubicBezTo>
                        <a:cubicBezTo>
                          <a:pt x="131" y="130"/>
                          <a:pt x="129" y="128"/>
                          <a:pt x="127" y="127"/>
                        </a:cubicBezTo>
                        <a:cubicBezTo>
                          <a:pt x="127" y="127"/>
                          <a:pt x="110" y="119"/>
                          <a:pt x="107" y="118"/>
                        </a:cubicBezTo>
                        <a:cubicBezTo>
                          <a:pt x="101" y="114"/>
                          <a:pt x="96" y="108"/>
                          <a:pt x="93" y="102"/>
                        </a:cubicBezTo>
                        <a:cubicBezTo>
                          <a:pt x="86" y="88"/>
                          <a:pt x="89" y="71"/>
                          <a:pt x="101" y="59"/>
                        </a:cubicBezTo>
                        <a:cubicBezTo>
                          <a:pt x="109" y="52"/>
                          <a:pt x="127" y="46"/>
                          <a:pt x="127" y="46"/>
                        </a:cubicBezTo>
                        <a:cubicBezTo>
                          <a:pt x="129" y="46"/>
                          <a:pt x="131" y="44"/>
                          <a:pt x="131" y="42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2"/>
                          <a:pt x="132" y="30"/>
                          <a:pt x="134" y="30"/>
                        </a:cubicBezTo>
                        <a:cubicBezTo>
                          <a:pt x="147" y="30"/>
                          <a:pt x="147" y="30"/>
                          <a:pt x="147" y="30"/>
                        </a:cubicBezTo>
                        <a:cubicBezTo>
                          <a:pt x="149" y="30"/>
                          <a:pt x="151" y="32"/>
                          <a:pt x="151" y="34"/>
                        </a:cubicBezTo>
                        <a:cubicBezTo>
                          <a:pt x="151" y="41"/>
                          <a:pt x="151" y="41"/>
                          <a:pt x="151" y="41"/>
                        </a:cubicBezTo>
                        <a:cubicBezTo>
                          <a:pt x="151" y="43"/>
                          <a:pt x="153" y="45"/>
                          <a:pt x="155" y="45"/>
                        </a:cubicBezTo>
                        <a:cubicBezTo>
                          <a:pt x="155" y="45"/>
                          <a:pt x="158" y="46"/>
                          <a:pt x="162" y="47"/>
                        </a:cubicBezTo>
                        <a:cubicBezTo>
                          <a:pt x="172" y="50"/>
                          <a:pt x="186" y="58"/>
                          <a:pt x="191" y="67"/>
                        </a:cubicBezTo>
                        <a:cubicBezTo>
                          <a:pt x="196" y="75"/>
                          <a:pt x="181" y="88"/>
                          <a:pt x="175" y="79"/>
                        </a:cubicBezTo>
                        <a:cubicBezTo>
                          <a:pt x="175" y="79"/>
                          <a:pt x="174" y="78"/>
                          <a:pt x="174" y="78"/>
                        </a:cubicBezTo>
                        <a:cubicBezTo>
                          <a:pt x="174" y="77"/>
                          <a:pt x="175" y="79"/>
                          <a:pt x="173" y="77"/>
                        </a:cubicBezTo>
                        <a:cubicBezTo>
                          <a:pt x="173" y="76"/>
                          <a:pt x="172" y="76"/>
                          <a:pt x="172" y="75"/>
                        </a:cubicBezTo>
                        <a:cubicBezTo>
                          <a:pt x="168" y="72"/>
                          <a:pt x="161" y="67"/>
                          <a:pt x="156" y="66"/>
                        </a:cubicBezTo>
                        <a:cubicBezTo>
                          <a:pt x="155" y="65"/>
                          <a:pt x="155" y="65"/>
                          <a:pt x="155" y="65"/>
                        </a:cubicBezTo>
                        <a:cubicBezTo>
                          <a:pt x="153" y="64"/>
                          <a:pt x="151" y="66"/>
                          <a:pt x="151" y="68"/>
                        </a:cubicBezTo>
                        <a:cubicBezTo>
                          <a:pt x="151" y="112"/>
                          <a:pt x="151" y="112"/>
                          <a:pt x="151" y="112"/>
                        </a:cubicBezTo>
                        <a:cubicBezTo>
                          <a:pt x="151" y="114"/>
                          <a:pt x="153" y="116"/>
                          <a:pt x="154" y="117"/>
                        </a:cubicBezTo>
                        <a:cubicBezTo>
                          <a:pt x="154" y="117"/>
                          <a:pt x="191" y="132"/>
                          <a:pt x="196" y="147"/>
                        </a:cubicBezTo>
                        <a:cubicBezTo>
                          <a:pt x="201" y="162"/>
                          <a:pt x="196" y="179"/>
                          <a:pt x="185" y="18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</p:grpSp>
          <p:grpSp>
            <p:nvGrpSpPr>
              <p:cNvPr id="37918" name="组合 71"/>
              <p:cNvGrpSpPr/>
              <p:nvPr/>
            </p:nvGrpSpPr>
            <p:grpSpPr bwMode="auto">
              <a:xfrm>
                <a:off x="8460432" y="-956652"/>
                <a:ext cx="421484" cy="293470"/>
                <a:chOff x="5589079" y="2596133"/>
                <a:chExt cx="360598" cy="251077"/>
              </a:xfrm>
            </p:grpSpPr>
            <p:sp>
              <p:nvSpPr>
                <p:cNvPr id="37919" name="矩形 72"/>
                <p:cNvSpPr>
                  <a:spLocks noChangeArrowheads="1"/>
                </p:cNvSpPr>
                <p:nvPr/>
              </p:nvSpPr>
              <p:spPr bwMode="auto">
                <a:xfrm>
                  <a:off x="5589079" y="2596133"/>
                  <a:ext cx="360598" cy="251077"/>
                </a:xfrm>
                <a:prstGeom prst="rect">
                  <a:avLst/>
                </a:prstGeom>
                <a:solidFill>
                  <a:srgbClr val="00BD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920" name="Freeform 623"/>
                <p:cNvSpPr>
                  <a:spLocks noEditPoints="1"/>
                </p:cNvSpPr>
                <p:nvPr/>
              </p:nvSpPr>
              <p:spPr bwMode="auto">
                <a:xfrm>
                  <a:off x="5705429" y="2668270"/>
                  <a:ext cx="135649" cy="136017"/>
                </a:xfrm>
                <a:custGeom>
                  <a:avLst/>
                  <a:gdLst>
                    <a:gd name="T0" fmla="*/ 108879192 w 26"/>
                    <a:gd name="T1" fmla="*/ 492622185 h 26"/>
                    <a:gd name="T2" fmla="*/ 217758383 w 26"/>
                    <a:gd name="T3" fmla="*/ 602089713 h 26"/>
                    <a:gd name="T4" fmla="*/ 272200588 w 26"/>
                    <a:gd name="T5" fmla="*/ 547353334 h 26"/>
                    <a:gd name="T6" fmla="*/ 326637575 w 26"/>
                    <a:gd name="T7" fmla="*/ 492622185 h 26"/>
                    <a:gd name="T8" fmla="*/ 381079779 w 26"/>
                    <a:gd name="T9" fmla="*/ 629460519 h 26"/>
                    <a:gd name="T10" fmla="*/ 489958971 w 26"/>
                    <a:gd name="T11" fmla="*/ 492622185 h 26"/>
                    <a:gd name="T12" fmla="*/ 381079779 w 26"/>
                    <a:gd name="T13" fmla="*/ 629460519 h 26"/>
                    <a:gd name="T14" fmla="*/ 544395958 w 26"/>
                    <a:gd name="T15" fmla="*/ 492622185 h 26"/>
                    <a:gd name="T16" fmla="*/ 517177464 w 26"/>
                    <a:gd name="T17" fmla="*/ 602089713 h 26"/>
                    <a:gd name="T18" fmla="*/ 81660698 w 26"/>
                    <a:gd name="T19" fmla="*/ 355783852 h 26"/>
                    <a:gd name="T20" fmla="*/ 163321396 w 26"/>
                    <a:gd name="T21" fmla="*/ 273676667 h 26"/>
                    <a:gd name="T22" fmla="*/ 163321396 w 26"/>
                    <a:gd name="T23" fmla="*/ 410515000 h 26"/>
                    <a:gd name="T24" fmla="*/ 217758383 w 26"/>
                    <a:gd name="T25" fmla="*/ 410515000 h 26"/>
                    <a:gd name="T26" fmla="*/ 217758383 w 26"/>
                    <a:gd name="T27" fmla="*/ 273676667 h 26"/>
                    <a:gd name="T28" fmla="*/ 326637575 w 26"/>
                    <a:gd name="T29" fmla="*/ 410515000 h 26"/>
                    <a:gd name="T30" fmla="*/ 381079779 w 26"/>
                    <a:gd name="T31" fmla="*/ 410515000 h 26"/>
                    <a:gd name="T32" fmla="*/ 489958971 w 26"/>
                    <a:gd name="T33" fmla="*/ 273676667 h 26"/>
                    <a:gd name="T34" fmla="*/ 489958971 w 26"/>
                    <a:gd name="T35" fmla="*/ 410515000 h 26"/>
                    <a:gd name="T36" fmla="*/ 571619669 w 26"/>
                    <a:gd name="T37" fmla="*/ 410515000 h 26"/>
                    <a:gd name="T38" fmla="*/ 571619669 w 26"/>
                    <a:gd name="T39" fmla="*/ 273676667 h 26"/>
                    <a:gd name="T40" fmla="*/ 626056656 w 26"/>
                    <a:gd name="T41" fmla="*/ 355783852 h 26"/>
                    <a:gd name="T42" fmla="*/ 571619669 w 26"/>
                    <a:gd name="T43" fmla="*/ 410515000 h 26"/>
                    <a:gd name="T44" fmla="*/ 217758383 w 26"/>
                    <a:gd name="T45" fmla="*/ 109472759 h 26"/>
                    <a:gd name="T46" fmla="*/ 108879192 w 26"/>
                    <a:gd name="T47" fmla="*/ 218940287 h 26"/>
                    <a:gd name="T48" fmla="*/ 517177464 w 26"/>
                    <a:gd name="T49" fmla="*/ 109472759 h 26"/>
                    <a:gd name="T50" fmla="*/ 544395958 w 26"/>
                    <a:gd name="T51" fmla="*/ 218940287 h 26"/>
                    <a:gd name="T52" fmla="*/ 272200588 w 26"/>
                    <a:gd name="T53" fmla="*/ 136838333 h 26"/>
                    <a:gd name="T54" fmla="*/ 326637575 w 26"/>
                    <a:gd name="T55" fmla="*/ 218940287 h 26"/>
                    <a:gd name="T56" fmla="*/ 381079779 w 26"/>
                    <a:gd name="T57" fmla="*/ 218940287 h 26"/>
                    <a:gd name="T58" fmla="*/ 462740477 w 26"/>
                    <a:gd name="T59" fmla="*/ 136838333 h 26"/>
                    <a:gd name="T60" fmla="*/ 381079779 w 26"/>
                    <a:gd name="T61" fmla="*/ 218940287 h 26"/>
                    <a:gd name="T62" fmla="*/ 0 w 26"/>
                    <a:gd name="T63" fmla="*/ 355783852 h 26"/>
                    <a:gd name="T64" fmla="*/ 707717354 w 26"/>
                    <a:gd name="T65" fmla="*/ 355783852 h 2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26" h="26">
                      <a:moveTo>
                        <a:pt x="8" y="22"/>
                      </a:moveTo>
                      <a:cubicBezTo>
                        <a:pt x="6" y="21"/>
                        <a:pt x="5" y="19"/>
                        <a:pt x="4" y="18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9"/>
                        <a:pt x="7" y="20"/>
                        <a:pt x="8" y="22"/>
                      </a:cubicBezTo>
                      <a:moveTo>
                        <a:pt x="12" y="23"/>
                      </a:moveTo>
                      <a:cubicBezTo>
                        <a:pt x="11" y="22"/>
                        <a:pt x="10" y="22"/>
                        <a:pt x="10" y="20"/>
                      </a:cubicBezTo>
                      <a:cubicBezTo>
                        <a:pt x="9" y="20"/>
                        <a:pt x="9" y="19"/>
                        <a:pt x="9" y="18"/>
                      </a:cubicBez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moveTo>
                        <a:pt x="14" y="23"/>
                      </a:move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8" y="18"/>
                        <a:pt x="18" y="18"/>
                        <a:pt x="18" y="18"/>
                      </a:cubicBezTo>
                      <a:cubicBezTo>
                        <a:pt x="17" y="19"/>
                        <a:pt x="17" y="20"/>
                        <a:pt x="17" y="20"/>
                      </a:cubicBezTo>
                      <a:cubicBezTo>
                        <a:pt x="16" y="22"/>
                        <a:pt x="15" y="22"/>
                        <a:pt x="14" y="23"/>
                      </a:cubicBezTo>
                      <a:moveTo>
                        <a:pt x="19" y="22"/>
                      </a:moveTo>
                      <a:cubicBezTo>
                        <a:pt x="19" y="20"/>
                        <a:pt x="20" y="19"/>
                        <a:pt x="20" y="18"/>
                      </a:cubicBezTo>
                      <a:cubicBezTo>
                        <a:pt x="22" y="18"/>
                        <a:pt x="22" y="18"/>
                        <a:pt x="22" y="18"/>
                      </a:cubicBezTo>
                      <a:cubicBezTo>
                        <a:pt x="21" y="19"/>
                        <a:pt x="20" y="21"/>
                        <a:pt x="19" y="22"/>
                      </a:cubicBezTo>
                      <a:moveTo>
                        <a:pt x="3" y="15"/>
                      </a:moveTo>
                      <a:cubicBezTo>
                        <a:pt x="3" y="14"/>
                        <a:pt x="3" y="14"/>
                        <a:pt x="3" y="13"/>
                      </a:cubicBezTo>
                      <a:cubicBezTo>
                        <a:pt x="3" y="12"/>
                        <a:pt x="3" y="11"/>
                        <a:pt x="3" y="10"/>
                      </a:cubicBezTo>
                      <a:cubicBezTo>
                        <a:pt x="6" y="10"/>
                        <a:pt x="6" y="10"/>
                        <a:pt x="6" y="10"/>
                      </a:cubicBezTo>
                      <a:cubicBezTo>
                        <a:pt x="6" y="11"/>
                        <a:pt x="6" y="12"/>
                        <a:pt x="6" y="13"/>
                      </a:cubicBezTo>
                      <a:cubicBezTo>
                        <a:pt x="6" y="14"/>
                        <a:pt x="6" y="14"/>
                        <a:pt x="6" y="15"/>
                      </a:cubicBezTo>
                      <a:cubicBezTo>
                        <a:pt x="3" y="15"/>
                        <a:pt x="3" y="15"/>
                        <a:pt x="3" y="15"/>
                      </a:cubicBezTo>
                      <a:moveTo>
                        <a:pt x="8" y="15"/>
                      </a:moveTo>
                      <a:cubicBezTo>
                        <a:pt x="8" y="14"/>
                        <a:pt x="8" y="14"/>
                        <a:pt x="8" y="13"/>
                      </a:cubicBezTo>
                      <a:cubicBezTo>
                        <a:pt x="8" y="12"/>
                        <a:pt x="8" y="11"/>
                        <a:pt x="8" y="10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8" y="15"/>
                        <a:pt x="8" y="15"/>
                        <a:pt x="8" y="15"/>
                      </a:cubicBezTo>
                      <a:moveTo>
                        <a:pt x="14" y="15"/>
                      </a:moveTo>
                      <a:cubicBezTo>
                        <a:pt x="14" y="10"/>
                        <a:pt x="14" y="10"/>
                        <a:pt x="14" y="10"/>
                      </a:cubicBezTo>
                      <a:cubicBezTo>
                        <a:pt x="18" y="10"/>
                        <a:pt x="18" y="10"/>
                        <a:pt x="18" y="10"/>
                      </a:cubicBezTo>
                      <a:cubicBezTo>
                        <a:pt x="18" y="11"/>
                        <a:pt x="18" y="12"/>
                        <a:pt x="18" y="13"/>
                      </a:cubicBezTo>
                      <a:cubicBezTo>
                        <a:pt x="18" y="14"/>
                        <a:pt x="18" y="14"/>
                        <a:pt x="18" y="15"/>
                      </a:cubicBezTo>
                      <a:cubicBezTo>
                        <a:pt x="14" y="15"/>
                        <a:pt x="14" y="15"/>
                        <a:pt x="14" y="15"/>
                      </a:cubicBezTo>
                      <a:moveTo>
                        <a:pt x="21" y="15"/>
                      </a:moveTo>
                      <a:cubicBezTo>
                        <a:pt x="21" y="14"/>
                        <a:pt x="21" y="14"/>
                        <a:pt x="21" y="13"/>
                      </a:cubicBezTo>
                      <a:cubicBezTo>
                        <a:pt x="21" y="12"/>
                        <a:pt x="21" y="11"/>
                        <a:pt x="21" y="10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3" y="11"/>
                        <a:pt x="23" y="12"/>
                        <a:pt x="23" y="13"/>
                      </a:cubicBezTo>
                      <a:cubicBezTo>
                        <a:pt x="23" y="14"/>
                        <a:pt x="23" y="14"/>
                        <a:pt x="23" y="15"/>
                      </a:cubicBezTo>
                      <a:cubicBezTo>
                        <a:pt x="21" y="15"/>
                        <a:pt x="21" y="15"/>
                        <a:pt x="21" y="15"/>
                      </a:cubicBezTo>
                      <a:moveTo>
                        <a:pt x="4" y="8"/>
                      </a:moveTo>
                      <a:cubicBezTo>
                        <a:pt x="5" y="6"/>
                        <a:pt x="6" y="5"/>
                        <a:pt x="8" y="4"/>
                      </a:cubicBezTo>
                      <a:cubicBezTo>
                        <a:pt x="7" y="5"/>
                        <a:pt x="6" y="7"/>
                        <a:pt x="6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moveTo>
                        <a:pt x="20" y="8"/>
                      </a:moveTo>
                      <a:cubicBezTo>
                        <a:pt x="20" y="7"/>
                        <a:pt x="19" y="5"/>
                        <a:pt x="19" y="4"/>
                      </a:cubicBezTo>
                      <a:cubicBezTo>
                        <a:pt x="20" y="5"/>
                        <a:pt x="21" y="6"/>
                        <a:pt x="22" y="8"/>
                      </a:cubicBezTo>
                      <a:cubicBezTo>
                        <a:pt x="20" y="8"/>
                        <a:pt x="20" y="8"/>
                        <a:pt x="20" y="8"/>
                      </a:cubicBezTo>
                      <a:moveTo>
                        <a:pt x="9" y="8"/>
                      </a:moveTo>
                      <a:cubicBezTo>
                        <a:pt x="9" y="7"/>
                        <a:pt x="9" y="6"/>
                        <a:pt x="10" y="5"/>
                      </a:cubicBezTo>
                      <a:cubicBezTo>
                        <a:pt x="10" y="4"/>
                        <a:pt x="11" y="3"/>
                        <a:pt x="12" y="3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9" y="8"/>
                        <a:pt x="9" y="8"/>
                        <a:pt x="9" y="8"/>
                      </a:cubicBezTo>
                      <a:moveTo>
                        <a:pt x="14" y="8"/>
                      </a:moveTo>
                      <a:cubicBezTo>
                        <a:pt x="14" y="3"/>
                        <a:pt x="14" y="3"/>
                        <a:pt x="14" y="3"/>
                      </a:cubicBezTo>
                      <a:cubicBezTo>
                        <a:pt x="15" y="3"/>
                        <a:pt x="16" y="4"/>
                        <a:pt x="17" y="5"/>
                      </a:cubicBezTo>
                      <a:cubicBezTo>
                        <a:pt x="17" y="6"/>
                        <a:pt x="17" y="7"/>
                        <a:pt x="18" y="8"/>
                      </a:cubicBezTo>
                      <a:cubicBezTo>
                        <a:pt x="14" y="8"/>
                        <a:pt x="14" y="8"/>
                        <a:pt x="14" y="8"/>
                      </a:cubicBezTo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20"/>
                        <a:pt x="6" y="26"/>
                        <a:pt x="13" y="26"/>
                      </a:cubicBezTo>
                      <a:cubicBezTo>
                        <a:pt x="20" y="26"/>
                        <a:pt x="26" y="20"/>
                        <a:pt x="26" y="13"/>
                      </a:cubicBezTo>
                      <a:cubicBezTo>
                        <a:pt x="26" y="6"/>
                        <a:pt x="20" y="0"/>
                        <a:pt x="13" y="0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/>
                </a:p>
              </p:txBody>
            </p:sp>
          </p:grpSp>
        </p:grpSp>
        <p:cxnSp>
          <p:nvCxnSpPr>
            <p:cNvPr id="91" name="直接连接符 90"/>
            <p:cNvCxnSpPr/>
            <p:nvPr/>
          </p:nvCxnSpPr>
          <p:spPr>
            <a:xfrm>
              <a:off x="2686302" y="1576384"/>
              <a:ext cx="3849877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892" name="组合 104"/>
          <p:cNvGrpSpPr/>
          <p:nvPr/>
        </p:nvGrpSpPr>
        <p:grpSpPr bwMode="auto">
          <a:xfrm>
            <a:off x="938213" y="2681288"/>
            <a:ext cx="1701800" cy="1690687"/>
            <a:chOff x="937446" y="2681220"/>
            <a:chExt cx="1702045" cy="1690730"/>
          </a:xfrm>
        </p:grpSpPr>
        <p:sp>
          <p:nvSpPr>
            <p:cNvPr id="58" name="Rectangle 14"/>
            <p:cNvSpPr>
              <a:spLocks noChangeArrowheads="1"/>
            </p:cNvSpPr>
            <p:nvPr/>
          </p:nvSpPr>
          <p:spPr bwMode="auto">
            <a:xfrm>
              <a:off x="937446" y="2681220"/>
              <a:ext cx="1702045" cy="169073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999367" y="2739958"/>
              <a:ext cx="1616308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谢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  <p:grpSp>
        <p:nvGrpSpPr>
          <p:cNvPr id="37893" name="组合 105"/>
          <p:cNvGrpSpPr/>
          <p:nvPr/>
        </p:nvGrpSpPr>
        <p:grpSpPr bwMode="auto">
          <a:xfrm>
            <a:off x="2798763" y="2681288"/>
            <a:ext cx="1701800" cy="1690687"/>
            <a:chOff x="2798208" y="2681220"/>
            <a:chExt cx="1702045" cy="1690730"/>
          </a:xfrm>
        </p:grpSpPr>
        <p:grpSp>
          <p:nvGrpSpPr>
            <p:cNvPr id="37902" name="组合 93"/>
            <p:cNvGrpSpPr/>
            <p:nvPr/>
          </p:nvGrpSpPr>
          <p:grpSpPr bwMode="auto">
            <a:xfrm>
              <a:off x="2798208" y="2681220"/>
              <a:ext cx="1702045" cy="1690730"/>
              <a:chOff x="2819776" y="2969252"/>
              <a:chExt cx="1702045" cy="1690730"/>
            </a:xfrm>
          </p:grpSpPr>
          <p:sp>
            <p:nvSpPr>
              <p:cNvPr id="37904" name="Rectangle 14"/>
              <p:cNvSpPr>
                <a:spLocks noChangeArrowheads="1"/>
              </p:cNvSpPr>
              <p:nvPr/>
            </p:nvSpPr>
            <p:spPr bwMode="auto">
              <a:xfrm>
                <a:off x="2819776" y="2969252"/>
                <a:ext cx="1702045" cy="1690730"/>
              </a:xfrm>
              <a:prstGeom prst="rect">
                <a:avLst/>
              </a:pr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905" name="Freeform 28"/>
              <p:cNvSpPr/>
              <p:nvPr/>
            </p:nvSpPr>
            <p:spPr bwMode="auto">
              <a:xfrm>
                <a:off x="3013740" y="3154724"/>
                <a:ext cx="1314115" cy="1338360"/>
              </a:xfrm>
              <a:custGeom>
                <a:avLst/>
                <a:gdLst>
                  <a:gd name="T0" fmla="*/ 0 w 115"/>
                  <a:gd name="T1" fmla="*/ 2147483646 h 117"/>
                  <a:gd name="T2" fmla="*/ 2147483646 w 115"/>
                  <a:gd name="T3" fmla="*/ 2093606843 h 117"/>
                  <a:gd name="T4" fmla="*/ 2147483646 w 115"/>
                  <a:gd name="T5" fmla="*/ 0 h 117"/>
                  <a:gd name="T6" fmla="*/ 2147483646 w 115"/>
                  <a:gd name="T7" fmla="*/ 2147483646 h 117"/>
                  <a:gd name="T8" fmla="*/ 2147483646 w 115"/>
                  <a:gd name="T9" fmla="*/ 2147483646 h 117"/>
                  <a:gd name="T10" fmla="*/ 2147483646 w 115"/>
                  <a:gd name="T11" fmla="*/ 2147483646 h 117"/>
                  <a:gd name="T12" fmla="*/ 2147483646 w 115"/>
                  <a:gd name="T13" fmla="*/ 2147483646 h 117"/>
                  <a:gd name="T14" fmla="*/ 2089248590 w 115"/>
                  <a:gd name="T15" fmla="*/ 2147483646 h 117"/>
                  <a:gd name="T16" fmla="*/ 0 w 115"/>
                  <a:gd name="T17" fmla="*/ 2147483646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5" h="117">
                    <a:moveTo>
                      <a:pt x="0" y="58"/>
                    </a:moveTo>
                    <a:cubicBezTo>
                      <a:pt x="0" y="43"/>
                      <a:pt x="6" y="28"/>
                      <a:pt x="17" y="16"/>
                    </a:cubicBezTo>
                    <a:cubicBezTo>
                      <a:pt x="28" y="6"/>
                      <a:pt x="42" y="0"/>
                      <a:pt x="57" y="0"/>
                    </a:cubicBezTo>
                    <a:cubicBezTo>
                      <a:pt x="73" y="0"/>
                      <a:pt x="88" y="6"/>
                      <a:pt x="99" y="18"/>
                    </a:cubicBezTo>
                    <a:cubicBezTo>
                      <a:pt x="110" y="29"/>
                      <a:pt x="115" y="43"/>
                      <a:pt x="115" y="58"/>
                    </a:cubicBezTo>
                    <a:cubicBezTo>
                      <a:pt x="115" y="74"/>
                      <a:pt x="109" y="89"/>
                      <a:pt x="98" y="100"/>
                    </a:cubicBezTo>
                    <a:cubicBezTo>
                      <a:pt x="87" y="111"/>
                      <a:pt x="72" y="117"/>
                      <a:pt x="57" y="117"/>
                    </a:cubicBezTo>
                    <a:cubicBezTo>
                      <a:pt x="42" y="117"/>
                      <a:pt x="27" y="110"/>
                      <a:pt x="16" y="99"/>
                    </a:cubicBezTo>
                    <a:cubicBezTo>
                      <a:pt x="6" y="88"/>
                      <a:pt x="0" y="74"/>
                      <a:pt x="0" y="58"/>
                    </a:cubicBezTo>
                    <a:close/>
                  </a:path>
                </a:pathLst>
              </a:custGeom>
              <a:solidFill>
                <a:srgbClr val="4395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02" name="TextBox 101"/>
            <p:cNvSpPr txBox="1"/>
            <p:nvPr/>
          </p:nvSpPr>
          <p:spPr>
            <a:xfrm>
              <a:off x="2852191" y="2739958"/>
              <a:ext cx="1614719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谢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  <p:grpSp>
        <p:nvGrpSpPr>
          <p:cNvPr id="37894" name="组合 106"/>
          <p:cNvGrpSpPr/>
          <p:nvPr/>
        </p:nvGrpSpPr>
        <p:grpSpPr bwMode="auto">
          <a:xfrm>
            <a:off x="4676775" y="2681288"/>
            <a:ext cx="1701800" cy="1690687"/>
            <a:chOff x="4676257" y="2681220"/>
            <a:chExt cx="1702045" cy="1690730"/>
          </a:xfrm>
        </p:grpSpPr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4676257" y="2681220"/>
              <a:ext cx="1702045" cy="1690730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4715951" y="2739958"/>
              <a:ext cx="1614719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观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  <p:grpSp>
        <p:nvGrpSpPr>
          <p:cNvPr id="37895" name="组合 107"/>
          <p:cNvGrpSpPr/>
          <p:nvPr/>
        </p:nvGrpSpPr>
        <p:grpSpPr bwMode="auto">
          <a:xfrm>
            <a:off x="6475413" y="2681288"/>
            <a:ext cx="1701800" cy="1690687"/>
            <a:chOff x="6475688" y="2681220"/>
            <a:chExt cx="1702045" cy="1690730"/>
          </a:xfrm>
        </p:grpSpPr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6475688" y="2681220"/>
              <a:ext cx="1702045" cy="169073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6555074" y="2739958"/>
              <a:ext cx="1616308" cy="1570078"/>
            </a:xfrm>
            <a:prstGeom prst="rect">
              <a:avLst/>
            </a:prstGeom>
            <a:noFill/>
            <a:effectLst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9600" spc="400" dirty="0">
                  <a:solidFill>
                    <a:prstClr val="white"/>
                  </a:solidFill>
                  <a:latin typeface="百度综艺简体" panose="02010601030101010101" pitchFamily="2" charset="-122"/>
                  <a:ea typeface="百度综艺简体" panose="02010601030101010101" pitchFamily="2" charset="-122"/>
                </a:rPr>
                <a:t>看</a:t>
              </a:r>
              <a:endParaRPr lang="zh-CN" altLang="en-US" sz="9600" spc="400" dirty="0">
                <a:solidFill>
                  <a:prstClr val="white"/>
                </a:solidFill>
                <a:latin typeface="百度综艺简体" panose="02010601030101010101" pitchFamily="2" charset="-122"/>
                <a:ea typeface="百度综艺简体" panose="02010601030101010101" pitchFamily="2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4"/>
          <p:cNvSpPr>
            <a:spLocks noChangeArrowheads="1"/>
          </p:cNvSpPr>
          <p:nvPr/>
        </p:nvSpPr>
        <p:spPr bwMode="auto">
          <a:xfrm>
            <a:off x="3406775" y="2144713"/>
            <a:ext cx="2330450" cy="1128712"/>
          </a:xfrm>
          <a:prstGeom prst="rect">
            <a:avLst/>
          </a:prstGeom>
          <a:solidFill>
            <a:srgbClr val="00BD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pic>
        <p:nvPicPr>
          <p:cNvPr id="9219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81" r="20390" b="35818"/>
          <a:stretch>
            <a:fillRect/>
          </a:stretch>
        </p:blipFill>
        <p:spPr bwMode="auto">
          <a:xfrm>
            <a:off x="987425" y="3325813"/>
            <a:ext cx="235585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987425" y="3325813"/>
            <a:ext cx="2355850" cy="11303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pic>
        <p:nvPicPr>
          <p:cNvPr id="9221" name="Picture 5" descr="D:\小星星星星星星星\Z环保类\shutterstock_9706673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40" b="14651"/>
          <a:stretch>
            <a:fillRect/>
          </a:stretch>
        </p:blipFill>
        <p:spPr bwMode="auto">
          <a:xfrm>
            <a:off x="3414713" y="2144713"/>
            <a:ext cx="2322512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38" b="15318"/>
          <a:stretch>
            <a:fillRect/>
          </a:stretch>
        </p:blipFill>
        <p:spPr bwMode="auto">
          <a:xfrm>
            <a:off x="5795963" y="962025"/>
            <a:ext cx="2335212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5800725" y="962025"/>
            <a:ext cx="2330450" cy="1127125"/>
          </a:xfrm>
          <a:prstGeom prst="rect">
            <a:avLst/>
          </a:prstGeom>
          <a:solidFill>
            <a:srgbClr val="2B7EA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24" name="Rectangle 14"/>
          <p:cNvSpPr>
            <a:spLocks noChangeArrowheads="1"/>
          </p:cNvSpPr>
          <p:nvPr/>
        </p:nvSpPr>
        <p:spPr bwMode="auto">
          <a:xfrm>
            <a:off x="3414713" y="962025"/>
            <a:ext cx="2328862" cy="1127125"/>
          </a:xfrm>
          <a:prstGeom prst="rect">
            <a:avLst/>
          </a:prstGeom>
          <a:solidFill>
            <a:srgbClr val="477B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9225" name="Rectangle 14"/>
          <p:cNvSpPr>
            <a:spLocks noChangeArrowheads="1"/>
          </p:cNvSpPr>
          <p:nvPr/>
        </p:nvSpPr>
        <p:spPr bwMode="auto">
          <a:xfrm>
            <a:off x="5800725" y="2144713"/>
            <a:ext cx="2330450" cy="1128712"/>
          </a:xfrm>
          <a:prstGeom prst="rect">
            <a:avLst/>
          </a:prstGeom>
          <a:solidFill>
            <a:srgbClr val="7A5E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9226" name="Rectangle 14"/>
          <p:cNvSpPr>
            <a:spLocks noChangeArrowheads="1"/>
          </p:cNvSpPr>
          <p:nvPr/>
        </p:nvSpPr>
        <p:spPr bwMode="auto">
          <a:xfrm>
            <a:off x="3406775" y="3328988"/>
            <a:ext cx="2330450" cy="1127125"/>
          </a:xfrm>
          <a:prstGeom prst="rect">
            <a:avLst/>
          </a:pr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grpSp>
        <p:nvGrpSpPr>
          <p:cNvPr id="9227" name="组合 2"/>
          <p:cNvGrpSpPr/>
          <p:nvPr/>
        </p:nvGrpSpPr>
        <p:grpSpPr bwMode="auto">
          <a:xfrm>
            <a:off x="996950" y="962025"/>
            <a:ext cx="1168400" cy="1127125"/>
            <a:chOff x="949033" y="961586"/>
            <a:chExt cx="1135685" cy="1128135"/>
          </a:xfrm>
        </p:grpSpPr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949033" y="961586"/>
              <a:ext cx="1135685" cy="112813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47" name="Freeform 69"/>
            <p:cNvSpPr>
              <a:spLocks noEditPoints="1"/>
            </p:cNvSpPr>
            <p:nvPr/>
          </p:nvSpPr>
          <p:spPr bwMode="auto">
            <a:xfrm>
              <a:off x="1239598" y="1291247"/>
              <a:ext cx="579953" cy="501115"/>
            </a:xfrm>
            <a:custGeom>
              <a:avLst/>
              <a:gdLst>
                <a:gd name="T0" fmla="*/ 2147483646 w 265"/>
                <a:gd name="T1" fmla="*/ 2147483646 h 252"/>
                <a:gd name="T2" fmla="*/ 2147483646 w 265"/>
                <a:gd name="T3" fmla="*/ 2147483646 h 252"/>
                <a:gd name="T4" fmla="*/ 2147483646 w 265"/>
                <a:gd name="T5" fmla="*/ 2147483646 h 252"/>
                <a:gd name="T6" fmla="*/ 2147483646 w 265"/>
                <a:gd name="T7" fmla="*/ 2147483646 h 252"/>
                <a:gd name="T8" fmla="*/ 2147483646 w 265"/>
                <a:gd name="T9" fmla="*/ 2147483646 h 252"/>
                <a:gd name="T10" fmla="*/ 2147483646 w 265"/>
                <a:gd name="T11" fmla="*/ 2147483646 h 252"/>
                <a:gd name="T12" fmla="*/ 2147483646 w 265"/>
                <a:gd name="T13" fmla="*/ 2147483646 h 252"/>
                <a:gd name="T14" fmla="*/ 2147483646 w 265"/>
                <a:gd name="T15" fmla="*/ 2147483646 h 252"/>
                <a:gd name="T16" fmla="*/ 2147483646 w 265"/>
                <a:gd name="T17" fmla="*/ 2147483646 h 252"/>
                <a:gd name="T18" fmla="*/ 2147483646 w 265"/>
                <a:gd name="T19" fmla="*/ 2147483646 h 252"/>
                <a:gd name="T20" fmla="*/ 2147483646 w 265"/>
                <a:gd name="T21" fmla="*/ 2147483646 h 252"/>
                <a:gd name="T22" fmla="*/ 2147483646 w 265"/>
                <a:gd name="T23" fmla="*/ 2147483646 h 252"/>
                <a:gd name="T24" fmla="*/ 2147483646 w 265"/>
                <a:gd name="T25" fmla="*/ 2147483646 h 252"/>
                <a:gd name="T26" fmla="*/ 2147483646 w 265"/>
                <a:gd name="T27" fmla="*/ 2147483646 h 252"/>
                <a:gd name="T28" fmla="*/ 2147483646 w 265"/>
                <a:gd name="T29" fmla="*/ 2147483646 h 252"/>
                <a:gd name="T30" fmla="*/ 2147483646 w 265"/>
                <a:gd name="T31" fmla="*/ 2147483646 h 252"/>
                <a:gd name="T32" fmla="*/ 2147483646 w 265"/>
                <a:gd name="T33" fmla="*/ 2147483646 h 252"/>
                <a:gd name="T34" fmla="*/ 2147483646 w 265"/>
                <a:gd name="T35" fmla="*/ 2147483646 h 252"/>
                <a:gd name="T36" fmla="*/ 2147483646 w 265"/>
                <a:gd name="T37" fmla="*/ 2147483646 h 252"/>
                <a:gd name="T38" fmla="*/ 2147483646 w 265"/>
                <a:gd name="T39" fmla="*/ 2147483646 h 252"/>
                <a:gd name="T40" fmla="*/ 2147483646 w 265"/>
                <a:gd name="T41" fmla="*/ 2147483646 h 252"/>
                <a:gd name="T42" fmla="*/ 2147483646 w 265"/>
                <a:gd name="T43" fmla="*/ 2147483646 h 252"/>
                <a:gd name="T44" fmla="*/ 2147483646 w 265"/>
                <a:gd name="T45" fmla="*/ 2147483646 h 252"/>
                <a:gd name="T46" fmla="*/ 2147483646 w 265"/>
                <a:gd name="T47" fmla="*/ 2147483646 h 252"/>
                <a:gd name="T48" fmla="*/ 2147483646 w 265"/>
                <a:gd name="T49" fmla="*/ 2147483646 h 252"/>
                <a:gd name="T50" fmla="*/ 2147483646 w 265"/>
                <a:gd name="T51" fmla="*/ 2147483646 h 252"/>
                <a:gd name="T52" fmla="*/ 2147483646 w 265"/>
                <a:gd name="T53" fmla="*/ 2147483646 h 252"/>
                <a:gd name="T54" fmla="*/ 2147483646 w 265"/>
                <a:gd name="T55" fmla="*/ 2147483646 h 252"/>
                <a:gd name="T56" fmla="*/ 2147483646 w 265"/>
                <a:gd name="T57" fmla="*/ 2147483646 h 252"/>
                <a:gd name="T58" fmla="*/ 2147483646 w 265"/>
                <a:gd name="T59" fmla="*/ 2147483646 h 252"/>
                <a:gd name="T60" fmla="*/ 2147483646 w 265"/>
                <a:gd name="T61" fmla="*/ 2147483646 h 252"/>
                <a:gd name="T62" fmla="*/ 2147483646 w 265"/>
                <a:gd name="T63" fmla="*/ 2147483646 h 252"/>
                <a:gd name="T64" fmla="*/ 2147483646 w 265"/>
                <a:gd name="T65" fmla="*/ 2147483646 h 252"/>
                <a:gd name="T66" fmla="*/ 2147483646 w 265"/>
                <a:gd name="T67" fmla="*/ 2147483646 h 252"/>
                <a:gd name="T68" fmla="*/ 2147483646 w 265"/>
                <a:gd name="T69" fmla="*/ 2147483646 h 252"/>
                <a:gd name="T70" fmla="*/ 2147483646 w 265"/>
                <a:gd name="T71" fmla="*/ 2147483646 h 252"/>
                <a:gd name="T72" fmla="*/ 2147483646 w 265"/>
                <a:gd name="T73" fmla="*/ 2147483646 h 252"/>
                <a:gd name="T74" fmla="*/ 2147483646 w 265"/>
                <a:gd name="T75" fmla="*/ 2147483646 h 252"/>
                <a:gd name="T76" fmla="*/ 2147483646 w 265"/>
                <a:gd name="T77" fmla="*/ 2147483646 h 252"/>
                <a:gd name="T78" fmla="*/ 2147483646 w 265"/>
                <a:gd name="T79" fmla="*/ 2147483646 h 252"/>
                <a:gd name="T80" fmla="*/ 2147483646 w 265"/>
                <a:gd name="T81" fmla="*/ 2147483646 h 252"/>
                <a:gd name="T82" fmla="*/ 2147483646 w 265"/>
                <a:gd name="T83" fmla="*/ 2147483646 h 252"/>
                <a:gd name="T84" fmla="*/ 2147483646 w 265"/>
                <a:gd name="T85" fmla="*/ 2147483646 h 252"/>
                <a:gd name="T86" fmla="*/ 2147483646 w 265"/>
                <a:gd name="T87" fmla="*/ 2147483646 h 252"/>
                <a:gd name="T88" fmla="*/ 2147483646 w 265"/>
                <a:gd name="T89" fmla="*/ 2147483646 h 252"/>
                <a:gd name="T90" fmla="*/ 2147483646 w 265"/>
                <a:gd name="T91" fmla="*/ 2147483646 h 252"/>
                <a:gd name="T92" fmla="*/ 2147483646 w 265"/>
                <a:gd name="T93" fmla="*/ 2147483646 h 252"/>
                <a:gd name="T94" fmla="*/ 2147483646 w 265"/>
                <a:gd name="T95" fmla="*/ 2147483646 h 252"/>
                <a:gd name="T96" fmla="*/ 2147483646 w 265"/>
                <a:gd name="T97" fmla="*/ 2147483646 h 252"/>
                <a:gd name="T98" fmla="*/ 2147483646 w 265"/>
                <a:gd name="T99" fmla="*/ 2147483646 h 252"/>
                <a:gd name="T100" fmla="*/ 2147483646 w 265"/>
                <a:gd name="T101" fmla="*/ 2147483646 h 252"/>
                <a:gd name="T102" fmla="*/ 2147483646 w 265"/>
                <a:gd name="T103" fmla="*/ 2147483646 h 252"/>
                <a:gd name="T104" fmla="*/ 2147483646 w 265"/>
                <a:gd name="T105" fmla="*/ 2147483646 h 252"/>
                <a:gd name="T106" fmla="*/ 2147483646 w 265"/>
                <a:gd name="T107" fmla="*/ 2147483646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5" h="252">
                  <a:moveTo>
                    <a:pt x="234" y="107"/>
                  </a:moveTo>
                  <a:cubicBezTo>
                    <a:pt x="235" y="101"/>
                    <a:pt x="236" y="94"/>
                    <a:pt x="236" y="87"/>
                  </a:cubicBezTo>
                  <a:cubicBezTo>
                    <a:pt x="247" y="86"/>
                    <a:pt x="259" y="81"/>
                    <a:pt x="261" y="98"/>
                  </a:cubicBezTo>
                  <a:cubicBezTo>
                    <a:pt x="265" y="122"/>
                    <a:pt x="261" y="126"/>
                    <a:pt x="229" y="129"/>
                  </a:cubicBezTo>
                  <a:cubicBezTo>
                    <a:pt x="229" y="152"/>
                    <a:pt x="230" y="175"/>
                    <a:pt x="229" y="198"/>
                  </a:cubicBezTo>
                  <a:cubicBezTo>
                    <a:pt x="228" y="206"/>
                    <a:pt x="222" y="214"/>
                    <a:pt x="219" y="222"/>
                  </a:cubicBezTo>
                  <a:cubicBezTo>
                    <a:pt x="217" y="225"/>
                    <a:pt x="213" y="227"/>
                    <a:pt x="214" y="229"/>
                  </a:cubicBezTo>
                  <a:cubicBezTo>
                    <a:pt x="214" y="252"/>
                    <a:pt x="198" y="249"/>
                    <a:pt x="186" y="246"/>
                  </a:cubicBezTo>
                  <a:cubicBezTo>
                    <a:pt x="179" y="245"/>
                    <a:pt x="173" y="235"/>
                    <a:pt x="166" y="229"/>
                  </a:cubicBezTo>
                  <a:cubicBezTo>
                    <a:pt x="167" y="228"/>
                    <a:pt x="168" y="226"/>
                    <a:pt x="170" y="224"/>
                  </a:cubicBezTo>
                  <a:cubicBezTo>
                    <a:pt x="145" y="224"/>
                    <a:pt x="121" y="224"/>
                    <a:pt x="96" y="224"/>
                  </a:cubicBezTo>
                  <a:cubicBezTo>
                    <a:pt x="89" y="246"/>
                    <a:pt x="82" y="251"/>
                    <a:pt x="62" y="247"/>
                  </a:cubicBezTo>
                  <a:cubicBezTo>
                    <a:pt x="59" y="246"/>
                    <a:pt x="56" y="246"/>
                    <a:pt x="55" y="244"/>
                  </a:cubicBezTo>
                  <a:cubicBezTo>
                    <a:pt x="48" y="229"/>
                    <a:pt x="38" y="214"/>
                    <a:pt x="36" y="198"/>
                  </a:cubicBezTo>
                  <a:cubicBezTo>
                    <a:pt x="33" y="176"/>
                    <a:pt x="35" y="153"/>
                    <a:pt x="35" y="131"/>
                  </a:cubicBezTo>
                  <a:cubicBezTo>
                    <a:pt x="3" y="123"/>
                    <a:pt x="0" y="120"/>
                    <a:pt x="3" y="98"/>
                  </a:cubicBezTo>
                  <a:cubicBezTo>
                    <a:pt x="5" y="86"/>
                    <a:pt x="7" y="85"/>
                    <a:pt x="28" y="87"/>
                  </a:cubicBezTo>
                  <a:cubicBezTo>
                    <a:pt x="29" y="94"/>
                    <a:pt x="30" y="101"/>
                    <a:pt x="31" y="107"/>
                  </a:cubicBezTo>
                  <a:cubicBezTo>
                    <a:pt x="32" y="107"/>
                    <a:pt x="34" y="107"/>
                    <a:pt x="35" y="107"/>
                  </a:cubicBezTo>
                  <a:cubicBezTo>
                    <a:pt x="35" y="88"/>
                    <a:pt x="36" y="68"/>
                    <a:pt x="35" y="49"/>
                  </a:cubicBezTo>
                  <a:cubicBezTo>
                    <a:pt x="34" y="35"/>
                    <a:pt x="41" y="27"/>
                    <a:pt x="53" y="22"/>
                  </a:cubicBezTo>
                  <a:cubicBezTo>
                    <a:pt x="106" y="1"/>
                    <a:pt x="158" y="0"/>
                    <a:pt x="211" y="20"/>
                  </a:cubicBezTo>
                  <a:cubicBezTo>
                    <a:pt x="225" y="25"/>
                    <a:pt x="230" y="32"/>
                    <a:pt x="229" y="46"/>
                  </a:cubicBezTo>
                  <a:cubicBezTo>
                    <a:pt x="229" y="67"/>
                    <a:pt x="229" y="87"/>
                    <a:pt x="229" y="107"/>
                  </a:cubicBezTo>
                  <a:cubicBezTo>
                    <a:pt x="231" y="107"/>
                    <a:pt x="233" y="107"/>
                    <a:pt x="234" y="107"/>
                  </a:cubicBezTo>
                  <a:close/>
                  <a:moveTo>
                    <a:pt x="176" y="127"/>
                  </a:moveTo>
                  <a:cubicBezTo>
                    <a:pt x="215" y="125"/>
                    <a:pt x="211" y="129"/>
                    <a:pt x="211" y="90"/>
                  </a:cubicBezTo>
                  <a:cubicBezTo>
                    <a:pt x="211" y="87"/>
                    <a:pt x="211" y="84"/>
                    <a:pt x="211" y="80"/>
                  </a:cubicBezTo>
                  <a:cubicBezTo>
                    <a:pt x="212" y="70"/>
                    <a:pt x="209" y="62"/>
                    <a:pt x="197" y="64"/>
                  </a:cubicBezTo>
                  <a:cubicBezTo>
                    <a:pt x="179" y="67"/>
                    <a:pt x="154" y="52"/>
                    <a:pt x="143" y="73"/>
                  </a:cubicBezTo>
                  <a:cubicBezTo>
                    <a:pt x="136" y="85"/>
                    <a:pt x="140" y="106"/>
                    <a:pt x="145" y="121"/>
                  </a:cubicBezTo>
                  <a:cubicBezTo>
                    <a:pt x="146" y="126"/>
                    <a:pt x="165" y="125"/>
                    <a:pt x="176" y="127"/>
                  </a:cubicBezTo>
                  <a:close/>
                  <a:moveTo>
                    <a:pt x="86" y="126"/>
                  </a:moveTo>
                  <a:cubicBezTo>
                    <a:pt x="91" y="126"/>
                    <a:pt x="97" y="125"/>
                    <a:pt x="102" y="126"/>
                  </a:cubicBezTo>
                  <a:cubicBezTo>
                    <a:pt x="119" y="128"/>
                    <a:pt x="125" y="121"/>
                    <a:pt x="123" y="104"/>
                  </a:cubicBezTo>
                  <a:cubicBezTo>
                    <a:pt x="123" y="96"/>
                    <a:pt x="123" y="87"/>
                    <a:pt x="123" y="78"/>
                  </a:cubicBezTo>
                  <a:cubicBezTo>
                    <a:pt x="123" y="58"/>
                    <a:pt x="107" y="62"/>
                    <a:pt x="98" y="64"/>
                  </a:cubicBezTo>
                  <a:cubicBezTo>
                    <a:pt x="83" y="68"/>
                    <a:pt x="59" y="49"/>
                    <a:pt x="54" y="78"/>
                  </a:cubicBezTo>
                  <a:cubicBezTo>
                    <a:pt x="52" y="88"/>
                    <a:pt x="53" y="99"/>
                    <a:pt x="53" y="110"/>
                  </a:cubicBezTo>
                  <a:cubicBezTo>
                    <a:pt x="53" y="121"/>
                    <a:pt x="57" y="126"/>
                    <a:pt x="68" y="126"/>
                  </a:cubicBezTo>
                  <a:cubicBezTo>
                    <a:pt x="74" y="125"/>
                    <a:pt x="80" y="126"/>
                    <a:pt x="86" y="126"/>
                  </a:cubicBezTo>
                  <a:close/>
                  <a:moveTo>
                    <a:pt x="93" y="31"/>
                  </a:moveTo>
                  <a:cubicBezTo>
                    <a:pt x="111" y="41"/>
                    <a:pt x="159" y="40"/>
                    <a:pt x="170" y="30"/>
                  </a:cubicBezTo>
                  <a:cubicBezTo>
                    <a:pt x="156" y="21"/>
                    <a:pt x="109" y="20"/>
                    <a:pt x="93" y="31"/>
                  </a:cubicBezTo>
                  <a:close/>
                  <a:moveTo>
                    <a:pt x="218" y="178"/>
                  </a:moveTo>
                  <a:cubicBezTo>
                    <a:pt x="206" y="170"/>
                    <a:pt x="199" y="161"/>
                    <a:pt x="192" y="161"/>
                  </a:cubicBezTo>
                  <a:cubicBezTo>
                    <a:pt x="186" y="161"/>
                    <a:pt x="180" y="172"/>
                    <a:pt x="174" y="178"/>
                  </a:cubicBezTo>
                  <a:cubicBezTo>
                    <a:pt x="180" y="184"/>
                    <a:pt x="186" y="194"/>
                    <a:pt x="193" y="196"/>
                  </a:cubicBezTo>
                  <a:cubicBezTo>
                    <a:pt x="199" y="197"/>
                    <a:pt x="206" y="187"/>
                    <a:pt x="218" y="178"/>
                  </a:cubicBezTo>
                  <a:close/>
                  <a:moveTo>
                    <a:pt x="98" y="177"/>
                  </a:moveTo>
                  <a:cubicBezTo>
                    <a:pt x="86" y="169"/>
                    <a:pt x="78" y="161"/>
                    <a:pt x="71" y="161"/>
                  </a:cubicBezTo>
                  <a:cubicBezTo>
                    <a:pt x="65" y="162"/>
                    <a:pt x="59" y="173"/>
                    <a:pt x="54" y="179"/>
                  </a:cubicBezTo>
                  <a:cubicBezTo>
                    <a:pt x="60" y="185"/>
                    <a:pt x="66" y="195"/>
                    <a:pt x="74" y="196"/>
                  </a:cubicBezTo>
                  <a:cubicBezTo>
                    <a:pt x="80" y="196"/>
                    <a:pt x="87" y="186"/>
                    <a:pt x="98" y="1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228" name="组合 3"/>
          <p:cNvGrpSpPr/>
          <p:nvPr/>
        </p:nvGrpSpPr>
        <p:grpSpPr bwMode="auto">
          <a:xfrm>
            <a:off x="2222500" y="962025"/>
            <a:ext cx="1135063" cy="1127125"/>
            <a:chOff x="2159900" y="961586"/>
            <a:chExt cx="1135685" cy="1128135"/>
          </a:xfrm>
        </p:grpSpPr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2159900" y="961586"/>
              <a:ext cx="1135685" cy="1128135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45" name="Freeform 80"/>
            <p:cNvSpPr/>
            <p:nvPr/>
          </p:nvSpPr>
          <p:spPr bwMode="auto">
            <a:xfrm>
              <a:off x="2477698" y="1291247"/>
              <a:ext cx="562772" cy="480013"/>
            </a:xfrm>
            <a:custGeom>
              <a:avLst/>
              <a:gdLst>
                <a:gd name="T0" fmla="*/ 1004144095 w 248"/>
                <a:gd name="T1" fmla="*/ 1076693833 h 214"/>
                <a:gd name="T2" fmla="*/ 746671366 w 248"/>
                <a:gd name="T3" fmla="*/ 1076693833 h 214"/>
                <a:gd name="T4" fmla="*/ 746671366 w 248"/>
                <a:gd name="T5" fmla="*/ 729534524 h 214"/>
                <a:gd name="T6" fmla="*/ 504647637 w 248"/>
                <a:gd name="T7" fmla="*/ 729534524 h 214"/>
                <a:gd name="T8" fmla="*/ 504647637 w 248"/>
                <a:gd name="T9" fmla="*/ 1076693833 h 214"/>
                <a:gd name="T10" fmla="*/ 252323819 w 248"/>
                <a:gd name="T11" fmla="*/ 1076693833 h 214"/>
                <a:gd name="T12" fmla="*/ 252323819 w 248"/>
                <a:gd name="T13" fmla="*/ 644004731 h 214"/>
                <a:gd name="T14" fmla="*/ 169932182 w 248"/>
                <a:gd name="T15" fmla="*/ 709409867 h 214"/>
                <a:gd name="T16" fmla="*/ 36046908 w 248"/>
                <a:gd name="T17" fmla="*/ 689285210 h 214"/>
                <a:gd name="T18" fmla="*/ 20597909 w 248"/>
                <a:gd name="T19" fmla="*/ 563503859 h 214"/>
                <a:gd name="T20" fmla="*/ 545843455 w 248"/>
                <a:gd name="T21" fmla="*/ 50313886 h 214"/>
                <a:gd name="T22" fmla="*/ 736373547 w 248"/>
                <a:gd name="T23" fmla="*/ 75469707 h 214"/>
                <a:gd name="T24" fmla="*/ 1199823096 w 248"/>
                <a:gd name="T25" fmla="*/ 528283466 h 214"/>
                <a:gd name="T26" fmla="*/ 1215272095 w 248"/>
                <a:gd name="T27" fmla="*/ 694316374 h 214"/>
                <a:gd name="T28" fmla="*/ 1050488823 w 248"/>
                <a:gd name="T29" fmla="*/ 684254045 h 214"/>
                <a:gd name="T30" fmla="*/ 1004144095 w 248"/>
                <a:gd name="T31" fmla="*/ 644004731 h 214"/>
                <a:gd name="T32" fmla="*/ 1004144095 w 248"/>
                <a:gd name="T33" fmla="*/ 1076693833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8" h="214">
                  <a:moveTo>
                    <a:pt x="195" y="214"/>
                  </a:moveTo>
                  <a:cubicBezTo>
                    <a:pt x="176" y="214"/>
                    <a:pt x="161" y="214"/>
                    <a:pt x="145" y="214"/>
                  </a:cubicBezTo>
                  <a:cubicBezTo>
                    <a:pt x="145" y="191"/>
                    <a:pt x="145" y="169"/>
                    <a:pt x="145" y="145"/>
                  </a:cubicBezTo>
                  <a:cubicBezTo>
                    <a:pt x="129" y="145"/>
                    <a:pt x="115" y="145"/>
                    <a:pt x="98" y="145"/>
                  </a:cubicBezTo>
                  <a:cubicBezTo>
                    <a:pt x="98" y="167"/>
                    <a:pt x="98" y="190"/>
                    <a:pt x="98" y="214"/>
                  </a:cubicBezTo>
                  <a:cubicBezTo>
                    <a:pt x="81" y="214"/>
                    <a:pt x="66" y="214"/>
                    <a:pt x="49" y="214"/>
                  </a:cubicBezTo>
                  <a:cubicBezTo>
                    <a:pt x="49" y="187"/>
                    <a:pt x="49" y="160"/>
                    <a:pt x="49" y="128"/>
                  </a:cubicBezTo>
                  <a:cubicBezTo>
                    <a:pt x="41" y="135"/>
                    <a:pt x="37" y="141"/>
                    <a:pt x="33" y="141"/>
                  </a:cubicBezTo>
                  <a:cubicBezTo>
                    <a:pt x="24" y="142"/>
                    <a:pt x="12" y="143"/>
                    <a:pt x="7" y="137"/>
                  </a:cubicBezTo>
                  <a:cubicBezTo>
                    <a:pt x="2" y="132"/>
                    <a:pt x="0" y="117"/>
                    <a:pt x="4" y="112"/>
                  </a:cubicBezTo>
                  <a:cubicBezTo>
                    <a:pt x="37" y="77"/>
                    <a:pt x="71" y="43"/>
                    <a:pt x="106" y="10"/>
                  </a:cubicBezTo>
                  <a:cubicBezTo>
                    <a:pt x="117" y="0"/>
                    <a:pt x="132" y="3"/>
                    <a:pt x="143" y="15"/>
                  </a:cubicBezTo>
                  <a:cubicBezTo>
                    <a:pt x="173" y="45"/>
                    <a:pt x="203" y="75"/>
                    <a:pt x="233" y="105"/>
                  </a:cubicBezTo>
                  <a:cubicBezTo>
                    <a:pt x="244" y="115"/>
                    <a:pt x="248" y="126"/>
                    <a:pt x="236" y="138"/>
                  </a:cubicBezTo>
                  <a:cubicBezTo>
                    <a:pt x="225" y="150"/>
                    <a:pt x="214" y="148"/>
                    <a:pt x="204" y="136"/>
                  </a:cubicBezTo>
                  <a:cubicBezTo>
                    <a:pt x="202" y="135"/>
                    <a:pt x="200" y="133"/>
                    <a:pt x="195" y="128"/>
                  </a:cubicBezTo>
                  <a:cubicBezTo>
                    <a:pt x="195" y="159"/>
                    <a:pt x="195" y="186"/>
                    <a:pt x="195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229" name="组合 4"/>
          <p:cNvGrpSpPr/>
          <p:nvPr/>
        </p:nvGrpSpPr>
        <p:grpSpPr bwMode="auto">
          <a:xfrm>
            <a:off x="996950" y="2144713"/>
            <a:ext cx="1168400" cy="1128712"/>
            <a:chOff x="949033" y="2144532"/>
            <a:chExt cx="1135683" cy="1128135"/>
          </a:xfrm>
        </p:grpSpPr>
        <p:sp>
          <p:nvSpPr>
            <p:cNvPr id="9239" name="Rectangle 14"/>
            <p:cNvSpPr>
              <a:spLocks noChangeArrowheads="1"/>
            </p:cNvSpPr>
            <p:nvPr/>
          </p:nvSpPr>
          <p:spPr bwMode="auto">
            <a:xfrm>
              <a:off x="949033" y="2144532"/>
              <a:ext cx="1135683" cy="1128135"/>
            </a:xfrm>
            <a:prstGeom prst="rect">
              <a:avLst/>
            </a:prstGeom>
            <a:solidFill>
              <a:srgbClr val="00B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9240" name="组合 1"/>
            <p:cNvGrpSpPr/>
            <p:nvPr/>
          </p:nvGrpSpPr>
          <p:grpSpPr bwMode="auto">
            <a:xfrm>
              <a:off x="1302800" y="2483833"/>
              <a:ext cx="453547" cy="449530"/>
              <a:chOff x="3176006" y="3601259"/>
              <a:chExt cx="453547" cy="449530"/>
            </a:xfrm>
          </p:grpSpPr>
          <p:sp>
            <p:nvSpPr>
              <p:cNvPr id="9241" name="Freeform 279"/>
              <p:cNvSpPr>
                <a:spLocks noEditPoints="1"/>
              </p:cNvSpPr>
              <p:nvPr/>
            </p:nvSpPr>
            <p:spPr bwMode="auto">
              <a:xfrm>
                <a:off x="3176006" y="3747359"/>
                <a:ext cx="312694" cy="303430"/>
              </a:xfrm>
              <a:custGeom>
                <a:avLst/>
                <a:gdLst>
                  <a:gd name="T0" fmla="*/ 2080373141 w 47"/>
                  <a:gd name="T1" fmla="*/ 1087783357 h 46"/>
                  <a:gd name="T2" fmla="*/ 1991847474 w 47"/>
                  <a:gd name="T3" fmla="*/ 870224047 h 46"/>
                  <a:gd name="T4" fmla="*/ 1814796139 w 47"/>
                  <a:gd name="T5" fmla="*/ 783199004 h 46"/>
                  <a:gd name="T6" fmla="*/ 1726263819 w 47"/>
                  <a:gd name="T7" fmla="*/ 522137067 h 46"/>
                  <a:gd name="T8" fmla="*/ 1814796139 w 47"/>
                  <a:gd name="T9" fmla="*/ 348086980 h 46"/>
                  <a:gd name="T10" fmla="*/ 1637738152 w 47"/>
                  <a:gd name="T11" fmla="*/ 217559310 h 46"/>
                  <a:gd name="T12" fmla="*/ 1416423983 w 47"/>
                  <a:gd name="T13" fmla="*/ 348086980 h 46"/>
                  <a:gd name="T14" fmla="*/ 1195109815 w 47"/>
                  <a:gd name="T15" fmla="*/ 174043490 h 46"/>
                  <a:gd name="T16" fmla="*/ 1106584148 w 47"/>
                  <a:gd name="T17" fmla="*/ 0 h 46"/>
                  <a:gd name="T18" fmla="*/ 885263326 w 47"/>
                  <a:gd name="T19" fmla="*/ 43509223 h 46"/>
                  <a:gd name="T20" fmla="*/ 841000493 w 47"/>
                  <a:gd name="T21" fmla="*/ 261068533 h 46"/>
                  <a:gd name="T22" fmla="*/ 531160657 w 47"/>
                  <a:gd name="T23" fmla="*/ 304577757 h 46"/>
                  <a:gd name="T24" fmla="*/ 354109322 w 47"/>
                  <a:gd name="T25" fmla="*/ 217559310 h 46"/>
                  <a:gd name="T26" fmla="*/ 265577002 w 47"/>
                  <a:gd name="T27" fmla="*/ 435112024 h 46"/>
                  <a:gd name="T28" fmla="*/ 354109322 w 47"/>
                  <a:gd name="T29" fmla="*/ 609155514 h 46"/>
                  <a:gd name="T30" fmla="*/ 221314168 w 47"/>
                  <a:gd name="T31" fmla="*/ 870224047 h 46"/>
                  <a:gd name="T32" fmla="*/ 0 w 47"/>
                  <a:gd name="T33" fmla="*/ 913733271 h 46"/>
                  <a:gd name="T34" fmla="*/ 44262834 w 47"/>
                  <a:gd name="T35" fmla="*/ 1131292581 h 46"/>
                  <a:gd name="T36" fmla="*/ 265577002 w 47"/>
                  <a:gd name="T37" fmla="*/ 1174801804 h 46"/>
                  <a:gd name="T38" fmla="*/ 354109322 w 47"/>
                  <a:gd name="T39" fmla="*/ 1479379561 h 46"/>
                  <a:gd name="T40" fmla="*/ 265577002 w 47"/>
                  <a:gd name="T41" fmla="*/ 1653429648 h 46"/>
                  <a:gd name="T42" fmla="*/ 442634990 w 47"/>
                  <a:gd name="T43" fmla="*/ 1783957318 h 46"/>
                  <a:gd name="T44" fmla="*/ 663949158 w 47"/>
                  <a:gd name="T45" fmla="*/ 1653429648 h 46"/>
                  <a:gd name="T46" fmla="*/ 885263326 w 47"/>
                  <a:gd name="T47" fmla="*/ 1827473138 h 46"/>
                  <a:gd name="T48" fmla="*/ 973788994 w 47"/>
                  <a:gd name="T49" fmla="*/ 2001516628 h 46"/>
                  <a:gd name="T50" fmla="*/ 1195109815 w 47"/>
                  <a:gd name="T51" fmla="*/ 1958007405 h 46"/>
                  <a:gd name="T52" fmla="*/ 1239372649 w 47"/>
                  <a:gd name="T53" fmla="*/ 1740448095 h 46"/>
                  <a:gd name="T54" fmla="*/ 1504949651 w 47"/>
                  <a:gd name="T55" fmla="*/ 1653429648 h 46"/>
                  <a:gd name="T56" fmla="*/ 1726263819 w 47"/>
                  <a:gd name="T57" fmla="*/ 1783957318 h 46"/>
                  <a:gd name="T58" fmla="*/ 1814796139 w 47"/>
                  <a:gd name="T59" fmla="*/ 1566404605 h 46"/>
                  <a:gd name="T60" fmla="*/ 1726263819 w 47"/>
                  <a:gd name="T61" fmla="*/ 1392361114 h 46"/>
                  <a:gd name="T62" fmla="*/ 1859058973 w 47"/>
                  <a:gd name="T63" fmla="*/ 1131292581 h 46"/>
                  <a:gd name="T64" fmla="*/ 1018051827 w 47"/>
                  <a:gd name="T65" fmla="*/ 1479379561 h 46"/>
                  <a:gd name="T66" fmla="*/ 575423491 w 47"/>
                  <a:gd name="T67" fmla="*/ 1000758314 h 46"/>
                  <a:gd name="T68" fmla="*/ 1504949651 w 47"/>
                  <a:gd name="T69" fmla="*/ 1000758314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" h="46">
                    <a:moveTo>
                      <a:pt x="45" y="26"/>
                    </a:moveTo>
                    <a:cubicBezTo>
                      <a:pt x="46" y="26"/>
                      <a:pt x="47" y="25"/>
                      <a:pt x="47" y="2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20"/>
                      <a:pt x="46" y="20"/>
                      <a:pt x="45" y="20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8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3"/>
                      <a:pt x="38" y="12"/>
                      <a:pt x="39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9"/>
                      <a:pt x="42" y="8"/>
                      <a:pt x="41" y="8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7" y="5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3" y="8"/>
                      <a:pt x="32" y="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20" y="1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5"/>
                      <a:pt x="20" y="6"/>
                      <a:pt x="19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8"/>
                      <a:pt x="12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9" y="13"/>
                      <a:pt x="8" y="14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6" y="27"/>
                      <a:pt x="6" y="2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7"/>
                      <a:pt x="5" y="38"/>
                      <a:pt x="6" y="38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9" y="41"/>
                      <a:pt x="10" y="41"/>
                      <a:pt x="10" y="4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8"/>
                      <a:pt x="14" y="38"/>
                      <a:pt x="15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1"/>
                      <a:pt x="20" y="42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0" y="46"/>
                      <a:pt x="21" y="46"/>
                      <a:pt x="22" y="46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6" y="46"/>
                      <a:pt x="27" y="46"/>
                      <a:pt x="27" y="45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1"/>
                      <a:pt x="27" y="40"/>
                      <a:pt x="28" y="40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3" y="38"/>
                      <a:pt x="34" y="38"/>
                      <a:pt x="34" y="38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2"/>
                      <a:pt x="39" y="32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1" y="27"/>
                      <a:pt x="42" y="26"/>
                      <a:pt x="42" y="26"/>
                    </a:cubicBezTo>
                    <a:cubicBezTo>
                      <a:pt x="45" y="26"/>
                      <a:pt x="45" y="26"/>
                      <a:pt x="45" y="26"/>
                    </a:cubicBezTo>
                    <a:close/>
                    <a:moveTo>
                      <a:pt x="2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18" y="34"/>
                      <a:pt x="13" y="29"/>
                      <a:pt x="13" y="23"/>
                    </a:cubicBezTo>
                    <a:cubicBezTo>
                      <a:pt x="13" y="17"/>
                      <a:pt x="18" y="12"/>
                      <a:pt x="23" y="12"/>
                    </a:cubicBezTo>
                    <a:cubicBezTo>
                      <a:pt x="29" y="12"/>
                      <a:pt x="34" y="17"/>
                      <a:pt x="34" y="23"/>
                    </a:cubicBezTo>
                    <a:cubicBezTo>
                      <a:pt x="34" y="29"/>
                      <a:pt x="29" y="34"/>
                      <a:pt x="2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42" name="Freeform 280"/>
              <p:cNvSpPr>
                <a:spLocks noEditPoints="1"/>
              </p:cNvSpPr>
              <p:nvPr/>
            </p:nvSpPr>
            <p:spPr bwMode="auto">
              <a:xfrm>
                <a:off x="3387283" y="3601259"/>
                <a:ext cx="174655" cy="177003"/>
              </a:xfrm>
              <a:custGeom>
                <a:avLst/>
                <a:gdLst>
                  <a:gd name="T0" fmla="*/ 1173244963 w 26"/>
                  <a:gd name="T1" fmla="*/ 644651482 h 27"/>
                  <a:gd name="T2" fmla="*/ 1128123515 w 26"/>
                  <a:gd name="T3" fmla="*/ 515721185 h 27"/>
                  <a:gd name="T4" fmla="*/ 1037873903 w 26"/>
                  <a:gd name="T5" fmla="*/ 472742235 h 27"/>
                  <a:gd name="T6" fmla="*/ 992745738 w 26"/>
                  <a:gd name="T7" fmla="*/ 300839543 h 27"/>
                  <a:gd name="T8" fmla="*/ 1037873903 w 26"/>
                  <a:gd name="T9" fmla="*/ 214881642 h 27"/>
                  <a:gd name="T10" fmla="*/ 902496125 w 26"/>
                  <a:gd name="T11" fmla="*/ 171909247 h 27"/>
                  <a:gd name="T12" fmla="*/ 812246513 w 26"/>
                  <a:gd name="T13" fmla="*/ 214881642 h 27"/>
                  <a:gd name="T14" fmla="*/ 676875453 w 26"/>
                  <a:gd name="T15" fmla="*/ 128930296 h 27"/>
                  <a:gd name="T16" fmla="*/ 631747288 w 26"/>
                  <a:gd name="T17" fmla="*/ 0 h 27"/>
                  <a:gd name="T18" fmla="*/ 496376228 w 26"/>
                  <a:gd name="T19" fmla="*/ 42978951 h 27"/>
                  <a:gd name="T20" fmla="*/ 451248063 w 26"/>
                  <a:gd name="T21" fmla="*/ 171909247 h 27"/>
                  <a:gd name="T22" fmla="*/ 315877003 w 26"/>
                  <a:gd name="T23" fmla="*/ 214881642 h 27"/>
                  <a:gd name="T24" fmla="*/ 180499225 w 26"/>
                  <a:gd name="T25" fmla="*/ 171909247 h 27"/>
                  <a:gd name="T26" fmla="*/ 135377778 w 26"/>
                  <a:gd name="T27" fmla="*/ 257860593 h 27"/>
                  <a:gd name="T28" fmla="*/ 180499225 w 26"/>
                  <a:gd name="T29" fmla="*/ 386790889 h 27"/>
                  <a:gd name="T30" fmla="*/ 90249613 w 26"/>
                  <a:gd name="T31" fmla="*/ 515721185 h 27"/>
                  <a:gd name="T32" fmla="*/ 0 w 26"/>
                  <a:gd name="T33" fmla="*/ 558700136 h 27"/>
                  <a:gd name="T34" fmla="*/ 45128165 w 26"/>
                  <a:gd name="T35" fmla="*/ 644651482 h 27"/>
                  <a:gd name="T36" fmla="*/ 135377778 w 26"/>
                  <a:gd name="T37" fmla="*/ 687630432 h 27"/>
                  <a:gd name="T38" fmla="*/ 180499225 w 26"/>
                  <a:gd name="T39" fmla="*/ 859533124 h 27"/>
                  <a:gd name="T40" fmla="*/ 135377778 w 26"/>
                  <a:gd name="T41" fmla="*/ 945491025 h 27"/>
                  <a:gd name="T42" fmla="*/ 270748838 w 26"/>
                  <a:gd name="T43" fmla="*/ 1031442371 h 27"/>
                  <a:gd name="T44" fmla="*/ 360998450 w 26"/>
                  <a:gd name="T45" fmla="*/ 945491025 h 27"/>
                  <a:gd name="T46" fmla="*/ 496376228 w 26"/>
                  <a:gd name="T47" fmla="*/ 1031442371 h 27"/>
                  <a:gd name="T48" fmla="*/ 541497675 w 26"/>
                  <a:gd name="T49" fmla="*/ 1160372667 h 27"/>
                  <a:gd name="T50" fmla="*/ 676875453 w 26"/>
                  <a:gd name="T51" fmla="*/ 1117393716 h 27"/>
                  <a:gd name="T52" fmla="*/ 676875453 w 26"/>
                  <a:gd name="T53" fmla="*/ 988463420 h 27"/>
                  <a:gd name="T54" fmla="*/ 857374678 w 26"/>
                  <a:gd name="T55" fmla="*/ 945491025 h 27"/>
                  <a:gd name="T56" fmla="*/ 992745738 w 26"/>
                  <a:gd name="T57" fmla="*/ 1031442371 h 27"/>
                  <a:gd name="T58" fmla="*/ 1037873903 w 26"/>
                  <a:gd name="T59" fmla="*/ 902512074 h 27"/>
                  <a:gd name="T60" fmla="*/ 992745738 w 26"/>
                  <a:gd name="T61" fmla="*/ 816560729 h 27"/>
                  <a:gd name="T62" fmla="*/ 1082995350 w 26"/>
                  <a:gd name="T63" fmla="*/ 644651482 h 27"/>
                  <a:gd name="T64" fmla="*/ 586625840 w 26"/>
                  <a:gd name="T65" fmla="*/ 859533124 h 27"/>
                  <a:gd name="T66" fmla="*/ 315877003 w 26"/>
                  <a:gd name="T67" fmla="*/ 601672531 h 27"/>
                  <a:gd name="T68" fmla="*/ 857374678 w 26"/>
                  <a:gd name="T69" fmla="*/ 601672531 h 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27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1"/>
                      <a:pt x="23" y="11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2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1" y="3"/>
                      <a:pt x="21" y="3"/>
                      <a:pt x="20" y="4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19"/>
                      <a:pt x="5" y="19"/>
                      <a:pt x="4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8" y="22"/>
                      <a:pt x="8" y="22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6"/>
                      <a:pt x="12" y="27"/>
                      <a:pt x="12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5" y="26"/>
                      <a:pt x="15" y="26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2"/>
                      <a:pt x="19" y="22"/>
                      <a:pt x="19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2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5"/>
                      <a:pt x="24" y="15"/>
                    </a:cubicBezTo>
                    <a:cubicBezTo>
                      <a:pt x="25" y="15"/>
                      <a:pt x="25" y="15"/>
                      <a:pt x="25" y="15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0" y="20"/>
                      <a:pt x="7" y="17"/>
                      <a:pt x="7" y="14"/>
                    </a:cubicBezTo>
                    <a:cubicBezTo>
                      <a:pt x="7" y="10"/>
                      <a:pt x="10" y="8"/>
                      <a:pt x="13" y="8"/>
                    </a:cubicBezTo>
                    <a:cubicBezTo>
                      <a:pt x="16" y="8"/>
                      <a:pt x="19" y="10"/>
                      <a:pt x="19" y="14"/>
                    </a:cubicBezTo>
                    <a:cubicBezTo>
                      <a:pt x="19" y="17"/>
                      <a:pt x="16" y="20"/>
                      <a:pt x="1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243" name="Freeform 281"/>
              <p:cNvSpPr>
                <a:spLocks noEditPoints="1"/>
              </p:cNvSpPr>
              <p:nvPr/>
            </p:nvSpPr>
            <p:spPr bwMode="auto">
              <a:xfrm>
                <a:off x="3483063" y="3873786"/>
                <a:ext cx="146490" cy="143289"/>
              </a:xfrm>
              <a:custGeom>
                <a:avLst/>
                <a:gdLst>
                  <a:gd name="T0" fmla="*/ 975423641 w 22"/>
                  <a:gd name="T1" fmla="*/ 509053712 h 22"/>
                  <a:gd name="T2" fmla="*/ 931083781 w 22"/>
                  <a:gd name="T3" fmla="*/ 381787027 h 22"/>
                  <a:gd name="T4" fmla="*/ 842410721 w 22"/>
                  <a:gd name="T5" fmla="*/ 381787027 h 22"/>
                  <a:gd name="T6" fmla="*/ 798070861 w 22"/>
                  <a:gd name="T7" fmla="*/ 254526856 h 22"/>
                  <a:gd name="T8" fmla="*/ 842410721 w 22"/>
                  <a:gd name="T9" fmla="*/ 169686742 h 22"/>
                  <a:gd name="T10" fmla="*/ 753737660 w 22"/>
                  <a:gd name="T11" fmla="*/ 127260171 h 22"/>
                  <a:gd name="T12" fmla="*/ 665064600 w 22"/>
                  <a:gd name="T13" fmla="*/ 169686742 h 22"/>
                  <a:gd name="T14" fmla="*/ 576384881 w 22"/>
                  <a:gd name="T15" fmla="*/ 84840114 h 22"/>
                  <a:gd name="T16" fmla="*/ 532051680 w 22"/>
                  <a:gd name="T17" fmla="*/ 0 h 22"/>
                  <a:gd name="T18" fmla="*/ 443371961 w 22"/>
                  <a:gd name="T19" fmla="*/ 42420057 h 22"/>
                  <a:gd name="T20" fmla="*/ 399038760 w 22"/>
                  <a:gd name="T21" fmla="*/ 127260171 h 22"/>
                  <a:gd name="T22" fmla="*/ 266025840 w 22"/>
                  <a:gd name="T23" fmla="*/ 169686742 h 22"/>
                  <a:gd name="T24" fmla="*/ 177352780 w 22"/>
                  <a:gd name="T25" fmla="*/ 127260171 h 22"/>
                  <a:gd name="T26" fmla="*/ 133012920 w 22"/>
                  <a:gd name="T27" fmla="*/ 212106799 h 22"/>
                  <a:gd name="T28" fmla="*/ 177352780 w 22"/>
                  <a:gd name="T29" fmla="*/ 296946913 h 22"/>
                  <a:gd name="T30" fmla="*/ 88673060 w 22"/>
                  <a:gd name="T31" fmla="*/ 381787027 h 22"/>
                  <a:gd name="T32" fmla="*/ 0 w 22"/>
                  <a:gd name="T33" fmla="*/ 424207085 h 22"/>
                  <a:gd name="T34" fmla="*/ 44339860 w 22"/>
                  <a:gd name="T35" fmla="*/ 509053712 h 22"/>
                  <a:gd name="T36" fmla="*/ 133012920 w 22"/>
                  <a:gd name="T37" fmla="*/ 551473769 h 22"/>
                  <a:gd name="T38" fmla="*/ 177352780 w 22"/>
                  <a:gd name="T39" fmla="*/ 678733940 h 22"/>
                  <a:gd name="T40" fmla="*/ 133012920 w 22"/>
                  <a:gd name="T41" fmla="*/ 763574055 h 22"/>
                  <a:gd name="T42" fmla="*/ 221685980 w 22"/>
                  <a:gd name="T43" fmla="*/ 806000625 h 22"/>
                  <a:gd name="T44" fmla="*/ 310359041 w 22"/>
                  <a:gd name="T45" fmla="*/ 763574055 h 22"/>
                  <a:gd name="T46" fmla="*/ 443371961 w 22"/>
                  <a:gd name="T47" fmla="*/ 848420682 h 22"/>
                  <a:gd name="T48" fmla="*/ 443371961 w 22"/>
                  <a:gd name="T49" fmla="*/ 933260796 h 22"/>
                  <a:gd name="T50" fmla="*/ 576384881 w 22"/>
                  <a:gd name="T51" fmla="*/ 890840739 h 22"/>
                  <a:gd name="T52" fmla="*/ 576384881 w 22"/>
                  <a:gd name="T53" fmla="*/ 806000625 h 22"/>
                  <a:gd name="T54" fmla="*/ 709397801 w 22"/>
                  <a:gd name="T55" fmla="*/ 763574055 h 22"/>
                  <a:gd name="T56" fmla="*/ 798070861 w 22"/>
                  <a:gd name="T57" fmla="*/ 806000625 h 22"/>
                  <a:gd name="T58" fmla="*/ 842410721 w 22"/>
                  <a:gd name="T59" fmla="*/ 721153998 h 22"/>
                  <a:gd name="T60" fmla="*/ 798070861 w 22"/>
                  <a:gd name="T61" fmla="*/ 636313883 h 22"/>
                  <a:gd name="T62" fmla="*/ 886750580 w 22"/>
                  <a:gd name="T63" fmla="*/ 509053712 h 22"/>
                  <a:gd name="T64" fmla="*/ 487711820 w 22"/>
                  <a:gd name="T65" fmla="*/ 678733940 h 22"/>
                  <a:gd name="T66" fmla="*/ 266025840 w 22"/>
                  <a:gd name="T67" fmla="*/ 466633655 h 22"/>
                  <a:gd name="T68" fmla="*/ 709397801 w 22"/>
                  <a:gd name="T69" fmla="*/ 466633655 h 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" h="22">
                    <a:moveTo>
                      <a:pt x="21" y="12"/>
                    </a:move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2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3"/>
                      <a:pt x="9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0" y="10"/>
                      <a:pt x="0" y="1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7" y="18"/>
                      <a:pt x="7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10" y="19"/>
                      <a:pt x="10" y="2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2"/>
                      <a:pt x="10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0" y="18"/>
                      <a:pt x="20" y="17"/>
                      <a:pt x="19" y="1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2"/>
                      <a:pt x="20" y="12"/>
                    </a:cubicBezTo>
                    <a:cubicBezTo>
                      <a:pt x="21" y="12"/>
                      <a:pt x="21" y="12"/>
                      <a:pt x="21" y="12"/>
                    </a:cubicBezTo>
                    <a:close/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8" y="16"/>
                      <a:pt x="6" y="14"/>
                      <a:pt x="6" y="11"/>
                    </a:cubicBezTo>
                    <a:cubicBezTo>
                      <a:pt x="6" y="8"/>
                      <a:pt x="8" y="6"/>
                      <a:pt x="11" y="6"/>
                    </a:cubicBezTo>
                    <a:cubicBezTo>
                      <a:pt x="14" y="6"/>
                      <a:pt x="16" y="8"/>
                      <a:pt x="16" y="11"/>
                    </a:cubicBezTo>
                    <a:cubicBezTo>
                      <a:pt x="16" y="14"/>
                      <a:pt x="14" y="16"/>
                      <a:pt x="1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9230" name="组合 6"/>
          <p:cNvGrpSpPr/>
          <p:nvPr/>
        </p:nvGrpSpPr>
        <p:grpSpPr bwMode="auto">
          <a:xfrm>
            <a:off x="7000875" y="3328988"/>
            <a:ext cx="1146175" cy="1127125"/>
            <a:chOff x="7039311" y="3328523"/>
            <a:chExt cx="1145427" cy="1128135"/>
          </a:xfrm>
        </p:grpSpPr>
        <p:sp>
          <p:nvSpPr>
            <p:cNvPr id="9237" name="Rectangle 14"/>
            <p:cNvSpPr>
              <a:spLocks noChangeArrowheads="1"/>
            </p:cNvSpPr>
            <p:nvPr/>
          </p:nvSpPr>
          <p:spPr bwMode="auto">
            <a:xfrm>
              <a:off x="7039311" y="3328523"/>
              <a:ext cx="1145427" cy="1128135"/>
            </a:xfrm>
            <a:prstGeom prst="rect">
              <a:avLst/>
            </a:prstGeom>
            <a:solidFill>
              <a:srgbClr val="FF9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9238" name="Freeform 29"/>
            <p:cNvSpPr>
              <a:spLocks noEditPoints="1"/>
            </p:cNvSpPr>
            <p:nvPr/>
          </p:nvSpPr>
          <p:spPr bwMode="auto">
            <a:xfrm>
              <a:off x="7372366" y="3668656"/>
              <a:ext cx="421088" cy="410196"/>
            </a:xfrm>
            <a:custGeom>
              <a:avLst/>
              <a:gdLst>
                <a:gd name="T0" fmla="*/ 2147483646 w 33"/>
                <a:gd name="T1" fmla="*/ 2147483646 h 32"/>
                <a:gd name="T2" fmla="*/ 2147483646 w 33"/>
                <a:gd name="T3" fmla="*/ 0 h 32"/>
                <a:gd name="T4" fmla="*/ 2147483646 w 33"/>
                <a:gd name="T5" fmla="*/ 0 h 32"/>
                <a:gd name="T6" fmla="*/ 2147483646 w 33"/>
                <a:gd name="T7" fmla="*/ 0 h 32"/>
                <a:gd name="T8" fmla="*/ 2147483646 w 33"/>
                <a:gd name="T9" fmla="*/ 2147483646 h 32"/>
                <a:gd name="T10" fmla="*/ 2147483646 w 33"/>
                <a:gd name="T11" fmla="*/ 2147483646 h 32"/>
                <a:gd name="T12" fmla="*/ 2147483646 w 33"/>
                <a:gd name="T13" fmla="*/ 2147483646 h 32"/>
                <a:gd name="T14" fmla="*/ 2147483646 w 33"/>
                <a:gd name="T15" fmla="*/ 2147483646 h 32"/>
                <a:gd name="T16" fmla="*/ 2147483646 w 33"/>
                <a:gd name="T17" fmla="*/ 2147483646 h 32"/>
                <a:gd name="T18" fmla="*/ 0 w 33"/>
                <a:gd name="T19" fmla="*/ 2147483646 h 32"/>
                <a:gd name="T20" fmla="*/ 2147483646 w 33"/>
                <a:gd name="T21" fmla="*/ 2147483646 h 32"/>
                <a:gd name="T22" fmla="*/ 2147483646 w 33"/>
                <a:gd name="T23" fmla="*/ 2147483646 h 32"/>
                <a:gd name="T24" fmla="*/ 2147483646 w 33"/>
                <a:gd name="T25" fmla="*/ 2147483646 h 32"/>
                <a:gd name="T26" fmla="*/ 2147483646 w 33"/>
                <a:gd name="T27" fmla="*/ 2147483646 h 32"/>
                <a:gd name="T28" fmla="*/ 2147483646 w 33"/>
                <a:gd name="T29" fmla="*/ 2147483646 h 32"/>
                <a:gd name="T30" fmla="*/ 2147483646 w 33"/>
                <a:gd name="T31" fmla="*/ 2147483646 h 32"/>
                <a:gd name="T32" fmla="*/ 2147483646 w 33"/>
                <a:gd name="T33" fmla="*/ 2147483646 h 32"/>
                <a:gd name="T34" fmla="*/ 2147483646 w 33"/>
                <a:gd name="T35" fmla="*/ 2147483646 h 32"/>
                <a:gd name="T36" fmla="*/ 2147483646 w 33"/>
                <a:gd name="T37" fmla="*/ 2147483646 h 32"/>
                <a:gd name="T38" fmla="*/ 2147483646 w 33"/>
                <a:gd name="T39" fmla="*/ 2147483646 h 32"/>
                <a:gd name="T40" fmla="*/ 2147483646 w 33"/>
                <a:gd name="T41" fmla="*/ 2147483646 h 32"/>
                <a:gd name="T42" fmla="*/ 2147483646 w 33"/>
                <a:gd name="T43" fmla="*/ 2147483646 h 32"/>
                <a:gd name="T44" fmla="*/ 2147483646 w 33"/>
                <a:gd name="T45" fmla="*/ 2147483646 h 32"/>
                <a:gd name="T46" fmla="*/ 2147483646 w 33"/>
                <a:gd name="T47" fmla="*/ 2147483646 h 32"/>
                <a:gd name="T48" fmla="*/ 2147483646 w 33"/>
                <a:gd name="T49" fmla="*/ 2147483646 h 32"/>
                <a:gd name="T50" fmla="*/ 2147483646 w 33"/>
                <a:gd name="T51" fmla="*/ 2147483646 h 32"/>
                <a:gd name="T52" fmla="*/ 2147483646 w 33"/>
                <a:gd name="T53" fmla="*/ 2147483646 h 32"/>
                <a:gd name="T54" fmla="*/ 2147483646 w 33"/>
                <a:gd name="T55" fmla="*/ 2147483646 h 32"/>
                <a:gd name="T56" fmla="*/ 2147483646 w 33"/>
                <a:gd name="T57" fmla="*/ 2147483646 h 32"/>
                <a:gd name="T58" fmla="*/ 2147483646 w 33"/>
                <a:gd name="T59" fmla="*/ 2147483646 h 32"/>
                <a:gd name="T60" fmla="*/ 2147483646 w 33"/>
                <a:gd name="T61" fmla="*/ 2147483646 h 32"/>
                <a:gd name="T62" fmla="*/ 2147483646 w 33"/>
                <a:gd name="T63" fmla="*/ 2147483646 h 32"/>
                <a:gd name="T64" fmla="*/ 2147483646 w 33"/>
                <a:gd name="T65" fmla="*/ 2147483646 h 32"/>
                <a:gd name="T66" fmla="*/ 2147483646 w 33"/>
                <a:gd name="T67" fmla="*/ 2147483646 h 32"/>
                <a:gd name="T68" fmla="*/ 2147483646 w 33"/>
                <a:gd name="T69" fmla="*/ 2147483646 h 32"/>
                <a:gd name="T70" fmla="*/ 2147483646 w 33"/>
                <a:gd name="T71" fmla="*/ 2147483646 h 32"/>
                <a:gd name="T72" fmla="*/ 2147483646 w 33"/>
                <a:gd name="T73" fmla="*/ 2147483646 h 32"/>
                <a:gd name="T74" fmla="*/ 2147483646 w 33"/>
                <a:gd name="T75" fmla="*/ 2147483646 h 3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3" h="32">
                  <a:moveTo>
                    <a:pt x="2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2" y="16"/>
                    <a:pt x="33" y="17"/>
                    <a:pt x="33" y="1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32" y="32"/>
                    <a:pt x="3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1" y="16"/>
                    <a:pt x="2" y="16"/>
                  </a:cubicBezTo>
                  <a:close/>
                  <a:moveTo>
                    <a:pt x="10" y="16"/>
                  </a:moveTo>
                  <a:cubicBezTo>
                    <a:pt x="23" y="16"/>
                    <a:pt x="23" y="16"/>
                    <a:pt x="23" y="16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6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7"/>
                    <a:pt x="12" y="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5"/>
                    <a:pt x="12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0" y="3"/>
                    <a:pt x="10" y="4"/>
                  </a:cubicBezTo>
                  <a:cubicBezTo>
                    <a:pt x="10" y="16"/>
                    <a:pt x="10" y="16"/>
                    <a:pt x="10" y="16"/>
                  </a:cubicBezTo>
                  <a:close/>
                  <a:moveTo>
                    <a:pt x="12" y="10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10"/>
                  </a:cubicBezTo>
                  <a:close/>
                  <a:moveTo>
                    <a:pt x="21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2" y="15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1" y="13"/>
                    <a:pt x="21" y="13"/>
                  </a:cubicBezTo>
                  <a:close/>
                  <a:moveTo>
                    <a:pt x="19" y="6"/>
                  </a:moveTo>
                  <a:cubicBezTo>
                    <a:pt x="24" y="6"/>
                    <a:pt x="24" y="6"/>
                    <a:pt x="24" y="6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6"/>
                    <a:pt x="19" y="6"/>
                    <a:pt x="19" y="6"/>
                  </a:cubicBezTo>
                  <a:cubicBezTo>
                    <a:pt x="19" y="6"/>
                    <a:pt x="19" y="6"/>
                    <a:pt x="19" y="6"/>
                  </a:cubicBezTo>
                  <a:close/>
                  <a:moveTo>
                    <a:pt x="8" y="22"/>
                  </a:moveTo>
                  <a:cubicBezTo>
                    <a:pt x="7" y="24"/>
                    <a:pt x="6" y="25"/>
                    <a:pt x="6" y="26"/>
                  </a:cubicBezTo>
                  <a:cubicBezTo>
                    <a:pt x="6" y="26"/>
                    <a:pt x="7" y="27"/>
                    <a:pt x="7" y="27"/>
                  </a:cubicBezTo>
                  <a:cubicBezTo>
                    <a:pt x="7" y="27"/>
                    <a:pt x="8" y="27"/>
                    <a:pt x="8" y="27"/>
                  </a:cubicBezTo>
                  <a:cubicBezTo>
                    <a:pt x="10" y="27"/>
                    <a:pt x="11" y="27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4"/>
                    <a:pt x="13" y="23"/>
                    <a:pt x="17" y="23"/>
                  </a:cubicBezTo>
                  <a:cubicBezTo>
                    <a:pt x="20" y="23"/>
                    <a:pt x="21" y="24"/>
                    <a:pt x="22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27"/>
                    <a:pt x="23" y="27"/>
                    <a:pt x="25" y="27"/>
                  </a:cubicBezTo>
                  <a:cubicBezTo>
                    <a:pt x="26" y="27"/>
                    <a:pt x="27" y="27"/>
                    <a:pt x="27" y="26"/>
                  </a:cubicBezTo>
                  <a:cubicBezTo>
                    <a:pt x="27" y="25"/>
                    <a:pt x="26" y="24"/>
                    <a:pt x="25" y="22"/>
                  </a:cubicBezTo>
                  <a:cubicBezTo>
                    <a:pt x="23" y="21"/>
                    <a:pt x="20" y="21"/>
                    <a:pt x="17" y="21"/>
                  </a:cubicBezTo>
                  <a:cubicBezTo>
                    <a:pt x="15" y="21"/>
                    <a:pt x="13" y="21"/>
                    <a:pt x="12" y="21"/>
                  </a:cubicBezTo>
                  <a:cubicBezTo>
                    <a:pt x="11" y="21"/>
                    <a:pt x="9" y="22"/>
                    <a:pt x="8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231" name="组合 5"/>
          <p:cNvGrpSpPr/>
          <p:nvPr/>
        </p:nvGrpSpPr>
        <p:grpSpPr bwMode="auto">
          <a:xfrm>
            <a:off x="2222500" y="2144713"/>
            <a:ext cx="1160463" cy="1128712"/>
            <a:chOff x="2172600" y="2144532"/>
            <a:chExt cx="1161085" cy="1128135"/>
          </a:xfrm>
        </p:grpSpPr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2172600" y="2144532"/>
              <a:ext cx="1135671" cy="112813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366379" y="2395229"/>
              <a:ext cx="967306" cy="7076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spc="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简介</a:t>
              </a:r>
              <a:endParaRPr lang="zh-CN" altLang="en-US" sz="2000" b="1" spc="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232" name="组合 7"/>
          <p:cNvGrpSpPr/>
          <p:nvPr/>
        </p:nvGrpSpPr>
        <p:grpSpPr bwMode="auto">
          <a:xfrm>
            <a:off x="5800725" y="3328988"/>
            <a:ext cx="1136650" cy="1127125"/>
            <a:chOff x="5855184" y="3328523"/>
            <a:chExt cx="1135685" cy="1128135"/>
          </a:xfrm>
        </p:grpSpPr>
        <p:sp>
          <p:nvSpPr>
            <p:cNvPr id="9233" name="Rectangle 14"/>
            <p:cNvSpPr>
              <a:spLocks noChangeArrowheads="1"/>
            </p:cNvSpPr>
            <p:nvPr/>
          </p:nvSpPr>
          <p:spPr bwMode="auto">
            <a:xfrm>
              <a:off x="5855184" y="3328523"/>
              <a:ext cx="1135685" cy="11281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9234" name="Freeform 165"/>
            <p:cNvSpPr>
              <a:spLocks noEditPoints="1"/>
            </p:cNvSpPr>
            <p:nvPr/>
          </p:nvSpPr>
          <p:spPr bwMode="auto">
            <a:xfrm>
              <a:off x="6132627" y="3630423"/>
              <a:ext cx="504597" cy="505284"/>
            </a:xfrm>
            <a:custGeom>
              <a:avLst/>
              <a:gdLst>
                <a:gd name="T0" fmla="*/ 2147483646 w 66"/>
                <a:gd name="T1" fmla="*/ 2147483646 h 66"/>
                <a:gd name="T2" fmla="*/ 2147483646 w 66"/>
                <a:gd name="T3" fmla="*/ 2147483646 h 66"/>
                <a:gd name="T4" fmla="*/ 2147483646 w 66"/>
                <a:gd name="T5" fmla="*/ 2147483646 h 66"/>
                <a:gd name="T6" fmla="*/ 2147483646 w 66"/>
                <a:gd name="T7" fmla="*/ 2147483646 h 66"/>
                <a:gd name="T8" fmla="*/ 2147483646 w 66"/>
                <a:gd name="T9" fmla="*/ 2147483646 h 66"/>
                <a:gd name="T10" fmla="*/ 2147483646 w 66"/>
                <a:gd name="T11" fmla="*/ 2147483646 h 66"/>
                <a:gd name="T12" fmla="*/ 2147483646 w 66"/>
                <a:gd name="T13" fmla="*/ 2147483646 h 66"/>
                <a:gd name="T14" fmla="*/ 2147483646 w 66"/>
                <a:gd name="T15" fmla="*/ 2147483646 h 66"/>
                <a:gd name="T16" fmla="*/ 2147483646 w 66"/>
                <a:gd name="T17" fmla="*/ 2147483646 h 66"/>
                <a:gd name="T18" fmla="*/ 2147483646 w 66"/>
                <a:gd name="T19" fmla="*/ 2147483646 h 66"/>
                <a:gd name="T20" fmla="*/ 2147483646 w 66"/>
                <a:gd name="T21" fmla="*/ 2147483646 h 66"/>
                <a:gd name="T22" fmla="*/ 2147483646 w 66"/>
                <a:gd name="T23" fmla="*/ 2147483646 h 66"/>
                <a:gd name="T24" fmla="*/ 2147483646 w 66"/>
                <a:gd name="T25" fmla="*/ 2147483646 h 66"/>
                <a:gd name="T26" fmla="*/ 2147483646 w 66"/>
                <a:gd name="T27" fmla="*/ 2147483646 h 66"/>
                <a:gd name="T28" fmla="*/ 2147483646 w 66"/>
                <a:gd name="T29" fmla="*/ 2147483646 h 66"/>
                <a:gd name="T30" fmla="*/ 2147483646 w 66"/>
                <a:gd name="T31" fmla="*/ 2147483646 h 66"/>
                <a:gd name="T32" fmla="*/ 2147483646 w 66"/>
                <a:gd name="T33" fmla="*/ 2147483646 h 66"/>
                <a:gd name="T34" fmla="*/ 2147483646 w 66"/>
                <a:gd name="T35" fmla="*/ 2147483646 h 66"/>
                <a:gd name="T36" fmla="*/ 2147483646 w 66"/>
                <a:gd name="T37" fmla="*/ 2147483646 h 66"/>
                <a:gd name="T38" fmla="*/ 2147483646 w 66"/>
                <a:gd name="T39" fmla="*/ 2147483646 h 66"/>
                <a:gd name="T40" fmla="*/ 2147483646 w 66"/>
                <a:gd name="T41" fmla="*/ 2147483646 h 66"/>
                <a:gd name="T42" fmla="*/ 2147483646 w 66"/>
                <a:gd name="T43" fmla="*/ 2147483646 h 66"/>
                <a:gd name="T44" fmla="*/ 2147483646 w 66"/>
                <a:gd name="T45" fmla="*/ 2147483646 h 66"/>
                <a:gd name="T46" fmla="*/ 2147483646 w 66"/>
                <a:gd name="T47" fmla="*/ 2147483646 h 66"/>
                <a:gd name="T48" fmla="*/ 2147483646 w 66"/>
                <a:gd name="T49" fmla="*/ 2147483646 h 66"/>
                <a:gd name="T50" fmla="*/ 2147483646 w 66"/>
                <a:gd name="T51" fmla="*/ 2147483646 h 66"/>
                <a:gd name="T52" fmla="*/ 2147483646 w 66"/>
                <a:gd name="T53" fmla="*/ 2147483646 h 66"/>
                <a:gd name="T54" fmla="*/ 2147483646 w 66"/>
                <a:gd name="T55" fmla="*/ 2147483646 h 66"/>
                <a:gd name="T56" fmla="*/ 2147483646 w 66"/>
                <a:gd name="T57" fmla="*/ 2147483646 h 66"/>
                <a:gd name="T58" fmla="*/ 2147483646 w 66"/>
                <a:gd name="T59" fmla="*/ 2147483646 h 66"/>
                <a:gd name="T60" fmla="*/ 2147483646 w 66"/>
                <a:gd name="T61" fmla="*/ 2147483646 h 66"/>
                <a:gd name="T62" fmla="*/ 2147483646 w 66"/>
                <a:gd name="T63" fmla="*/ 2147483646 h 66"/>
                <a:gd name="T64" fmla="*/ 2147483646 w 66"/>
                <a:gd name="T65" fmla="*/ 2147483646 h 66"/>
                <a:gd name="T66" fmla="*/ 2147483646 w 66"/>
                <a:gd name="T67" fmla="*/ 2147483646 h 66"/>
                <a:gd name="T68" fmla="*/ 2147483646 w 66"/>
                <a:gd name="T69" fmla="*/ 2147483646 h 66"/>
                <a:gd name="T70" fmla="*/ 2147483646 w 66"/>
                <a:gd name="T71" fmla="*/ 2147483646 h 66"/>
                <a:gd name="T72" fmla="*/ 2147483646 w 66"/>
                <a:gd name="T73" fmla="*/ 2147483646 h 66"/>
                <a:gd name="T74" fmla="*/ 2147483646 w 66"/>
                <a:gd name="T75" fmla="*/ 2147483646 h 66"/>
                <a:gd name="T76" fmla="*/ 2147483646 w 66"/>
                <a:gd name="T77" fmla="*/ 2147483646 h 66"/>
                <a:gd name="T78" fmla="*/ 2147483646 w 66"/>
                <a:gd name="T79" fmla="*/ 2147483646 h 66"/>
                <a:gd name="T80" fmla="*/ 2147483646 w 66"/>
                <a:gd name="T81" fmla="*/ 2147483646 h 66"/>
                <a:gd name="T82" fmla="*/ 2147483646 w 66"/>
                <a:gd name="T83" fmla="*/ 2147483646 h 66"/>
                <a:gd name="T84" fmla="*/ 2147483646 w 66"/>
                <a:gd name="T85" fmla="*/ 2147483646 h 66"/>
                <a:gd name="T86" fmla="*/ 2147483646 w 66"/>
                <a:gd name="T87" fmla="*/ 2147483646 h 66"/>
                <a:gd name="T88" fmla="*/ 2147483646 w 66"/>
                <a:gd name="T89" fmla="*/ 2147483646 h 6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66" h="66">
                  <a:moveTo>
                    <a:pt x="46" y="19"/>
                  </a:moveTo>
                  <a:cubicBezTo>
                    <a:pt x="48" y="20"/>
                    <a:pt x="51" y="21"/>
                    <a:pt x="53" y="23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9" y="28"/>
                    <a:pt x="61" y="30"/>
                    <a:pt x="62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5" y="33"/>
                    <a:pt x="66" y="34"/>
                    <a:pt x="66" y="3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6"/>
                    <a:pt x="65" y="47"/>
                    <a:pt x="64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58" y="51"/>
                    <a:pt x="55" y="55"/>
                    <a:pt x="50" y="57"/>
                  </a:cubicBezTo>
                  <a:cubicBezTo>
                    <a:pt x="49" y="59"/>
                    <a:pt x="48" y="62"/>
                    <a:pt x="48" y="66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0" y="63"/>
                    <a:pt x="38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9" y="61"/>
                    <a:pt x="27" y="63"/>
                    <a:pt x="26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2"/>
                    <a:pt x="18" y="59"/>
                    <a:pt x="17" y="57"/>
                  </a:cubicBezTo>
                  <a:cubicBezTo>
                    <a:pt x="11" y="54"/>
                    <a:pt x="6" y="49"/>
                    <a:pt x="5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6" y="29"/>
                    <a:pt x="12" y="22"/>
                    <a:pt x="21" y="19"/>
                  </a:cubicBezTo>
                  <a:cubicBezTo>
                    <a:pt x="24" y="23"/>
                    <a:pt x="28" y="26"/>
                    <a:pt x="33" y="26"/>
                  </a:cubicBezTo>
                  <a:cubicBezTo>
                    <a:pt x="39" y="26"/>
                    <a:pt x="43" y="23"/>
                    <a:pt x="46" y="19"/>
                  </a:cubicBezTo>
                  <a:close/>
                  <a:moveTo>
                    <a:pt x="33" y="0"/>
                  </a:moveTo>
                  <a:cubicBezTo>
                    <a:pt x="27" y="0"/>
                    <a:pt x="22" y="5"/>
                    <a:pt x="22" y="11"/>
                  </a:cubicBezTo>
                  <a:cubicBezTo>
                    <a:pt x="22" y="17"/>
                    <a:pt x="27" y="22"/>
                    <a:pt x="33" y="22"/>
                  </a:cubicBezTo>
                  <a:cubicBezTo>
                    <a:pt x="40" y="22"/>
                    <a:pt x="45" y="17"/>
                    <a:pt x="45" y="11"/>
                  </a:cubicBezTo>
                  <a:cubicBezTo>
                    <a:pt x="45" y="5"/>
                    <a:pt x="40" y="0"/>
                    <a:pt x="33" y="0"/>
                  </a:cubicBezTo>
                  <a:close/>
                  <a:moveTo>
                    <a:pt x="30" y="17"/>
                  </a:moveTo>
                  <a:cubicBezTo>
                    <a:pt x="37" y="17"/>
                    <a:pt x="37" y="17"/>
                    <a:pt x="37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5"/>
                    <a:pt x="30" y="15"/>
                    <a:pt x="30" y="15"/>
                  </a:cubicBezTo>
                  <a:lnTo>
                    <a:pt x="30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8800" y="987425"/>
            <a:ext cx="5145088" cy="345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43" name="组合 1"/>
          <p:cNvGrpSpPr/>
          <p:nvPr/>
        </p:nvGrpSpPr>
        <p:grpSpPr bwMode="auto">
          <a:xfrm>
            <a:off x="900113" y="987425"/>
            <a:ext cx="2124075" cy="1719263"/>
            <a:chOff x="900113" y="987424"/>
            <a:chExt cx="2124652" cy="171966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900113" y="987424"/>
              <a:ext cx="2124652" cy="1719669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181176" y="1646393"/>
              <a:ext cx="1556173" cy="40014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spc="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介绍</a:t>
              </a:r>
              <a:endParaRPr lang="zh-CN" altLang="en-US" sz="2000" b="1" spc="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44" name="组合 2"/>
          <p:cNvGrpSpPr/>
          <p:nvPr/>
        </p:nvGrpSpPr>
        <p:grpSpPr bwMode="auto">
          <a:xfrm>
            <a:off x="900113" y="2767013"/>
            <a:ext cx="2124075" cy="1676400"/>
            <a:chOff x="900112" y="2767092"/>
            <a:chExt cx="2124653" cy="1676322"/>
          </a:xfrm>
        </p:grpSpPr>
        <p:sp>
          <p:nvSpPr>
            <p:cNvPr id="9" name="Rectangle 14"/>
            <p:cNvSpPr>
              <a:spLocks noChangeArrowheads="1"/>
            </p:cNvSpPr>
            <p:nvPr/>
          </p:nvSpPr>
          <p:spPr bwMode="auto">
            <a:xfrm>
              <a:off x="900112" y="2767092"/>
              <a:ext cx="2124653" cy="1676322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0246" name="组合 15"/>
            <p:cNvGrpSpPr/>
            <p:nvPr/>
          </p:nvGrpSpPr>
          <p:grpSpPr bwMode="auto">
            <a:xfrm>
              <a:off x="1404037" y="3197776"/>
              <a:ext cx="878183" cy="955386"/>
              <a:chOff x="1605585" y="3150572"/>
              <a:chExt cx="396099" cy="430921"/>
            </a:xfrm>
          </p:grpSpPr>
          <p:sp>
            <p:nvSpPr>
              <p:cNvPr id="10247" name="Freeform 86"/>
              <p:cNvSpPr/>
              <p:nvPr/>
            </p:nvSpPr>
            <p:spPr bwMode="auto">
              <a:xfrm>
                <a:off x="1605585" y="3308226"/>
                <a:ext cx="396099" cy="273267"/>
              </a:xfrm>
              <a:custGeom>
                <a:avLst/>
                <a:gdLst>
                  <a:gd name="T0" fmla="*/ 491139345 w 203"/>
                  <a:gd name="T1" fmla="*/ 283383202 h 154"/>
                  <a:gd name="T2" fmla="*/ 491139345 w 203"/>
                  <a:gd name="T3" fmla="*/ 399887216 h 154"/>
                  <a:gd name="T4" fmla="*/ 395958512 w 203"/>
                  <a:gd name="T5" fmla="*/ 484901645 h 154"/>
                  <a:gd name="T6" fmla="*/ 300775727 w 203"/>
                  <a:gd name="T7" fmla="*/ 399887216 h 154"/>
                  <a:gd name="T8" fmla="*/ 300775727 w 203"/>
                  <a:gd name="T9" fmla="*/ 314871014 h 154"/>
                  <a:gd name="T10" fmla="*/ 270317080 w 203"/>
                  <a:gd name="T11" fmla="*/ 261342622 h 154"/>
                  <a:gd name="T12" fmla="*/ 247474070 w 203"/>
                  <a:gd name="T13" fmla="*/ 267640184 h 154"/>
                  <a:gd name="T14" fmla="*/ 247474070 w 203"/>
                  <a:gd name="T15" fmla="*/ 374696967 h 154"/>
                  <a:gd name="T16" fmla="*/ 171327452 w 203"/>
                  <a:gd name="T17" fmla="*/ 434522921 h 154"/>
                  <a:gd name="T18" fmla="*/ 87567147 w 203"/>
                  <a:gd name="T19" fmla="*/ 371547299 h 154"/>
                  <a:gd name="T20" fmla="*/ 38072333 w 203"/>
                  <a:gd name="T21" fmla="*/ 207814230 h 154"/>
                  <a:gd name="T22" fmla="*/ 3806843 w 203"/>
                  <a:gd name="T23" fmla="*/ 47230829 h 154"/>
                  <a:gd name="T24" fmla="*/ 49494814 w 203"/>
                  <a:gd name="T25" fmla="*/ 15743018 h 154"/>
                  <a:gd name="T26" fmla="*/ 156098128 w 203"/>
                  <a:gd name="T27" fmla="*/ 0 h 154"/>
                  <a:gd name="T28" fmla="*/ 171327452 w 203"/>
                  <a:gd name="T29" fmla="*/ 119651908 h 154"/>
                  <a:gd name="T30" fmla="*/ 205592942 w 203"/>
                  <a:gd name="T31" fmla="*/ 226706917 h 154"/>
                  <a:gd name="T32" fmla="*/ 186556775 w 203"/>
                  <a:gd name="T33" fmla="*/ 88164097 h 154"/>
                  <a:gd name="T34" fmla="*/ 247474070 w 203"/>
                  <a:gd name="T35" fmla="*/ 15743018 h 154"/>
                  <a:gd name="T36" fmla="*/ 548249797 w 203"/>
                  <a:gd name="T37" fmla="*/ 15743018 h 154"/>
                  <a:gd name="T38" fmla="*/ 609165140 w 203"/>
                  <a:gd name="T39" fmla="*/ 78718641 h 154"/>
                  <a:gd name="T40" fmla="*/ 601551454 w 203"/>
                  <a:gd name="T41" fmla="*/ 229856585 h 154"/>
                  <a:gd name="T42" fmla="*/ 639623787 w 203"/>
                  <a:gd name="T43" fmla="*/ 6297562 h 154"/>
                  <a:gd name="T44" fmla="*/ 757649582 w 203"/>
                  <a:gd name="T45" fmla="*/ 116502240 h 154"/>
                  <a:gd name="T46" fmla="*/ 689118601 w 203"/>
                  <a:gd name="T47" fmla="*/ 255045060 h 154"/>
                  <a:gd name="T48" fmla="*/ 673889278 w 203"/>
                  <a:gd name="T49" fmla="*/ 352656387 h 154"/>
                  <a:gd name="T50" fmla="*/ 593935816 w 203"/>
                  <a:gd name="T51" fmla="*/ 434522921 h 154"/>
                  <a:gd name="T52" fmla="*/ 513984306 w 203"/>
                  <a:gd name="T53" fmla="*/ 349506719 h 154"/>
                  <a:gd name="T54" fmla="*/ 513984306 w 203"/>
                  <a:gd name="T55" fmla="*/ 283383202 h 154"/>
                  <a:gd name="T56" fmla="*/ 491139345 w 203"/>
                  <a:gd name="T57" fmla="*/ 283383202 h 1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203" h="154">
                    <a:moveTo>
                      <a:pt x="129" y="90"/>
                    </a:moveTo>
                    <a:cubicBezTo>
                      <a:pt x="129" y="102"/>
                      <a:pt x="128" y="115"/>
                      <a:pt x="129" y="127"/>
                    </a:cubicBezTo>
                    <a:cubicBezTo>
                      <a:pt x="131" y="151"/>
                      <a:pt x="120" y="154"/>
                      <a:pt x="104" y="154"/>
                    </a:cubicBezTo>
                    <a:cubicBezTo>
                      <a:pt x="87" y="153"/>
                      <a:pt x="77" y="150"/>
                      <a:pt x="79" y="127"/>
                    </a:cubicBezTo>
                    <a:cubicBezTo>
                      <a:pt x="80" y="118"/>
                      <a:pt x="80" y="109"/>
                      <a:pt x="79" y="100"/>
                    </a:cubicBezTo>
                    <a:cubicBezTo>
                      <a:pt x="78" y="94"/>
                      <a:pt x="74" y="89"/>
                      <a:pt x="71" y="83"/>
                    </a:cubicBezTo>
                    <a:cubicBezTo>
                      <a:pt x="69" y="84"/>
                      <a:pt x="67" y="85"/>
                      <a:pt x="65" y="85"/>
                    </a:cubicBezTo>
                    <a:cubicBezTo>
                      <a:pt x="65" y="96"/>
                      <a:pt x="65" y="108"/>
                      <a:pt x="65" y="119"/>
                    </a:cubicBezTo>
                    <a:cubicBezTo>
                      <a:pt x="66" y="133"/>
                      <a:pt x="56" y="137"/>
                      <a:pt x="45" y="138"/>
                    </a:cubicBezTo>
                    <a:cubicBezTo>
                      <a:pt x="33" y="138"/>
                      <a:pt x="23" y="134"/>
                      <a:pt x="23" y="118"/>
                    </a:cubicBezTo>
                    <a:cubicBezTo>
                      <a:pt x="24" y="100"/>
                      <a:pt x="24" y="83"/>
                      <a:pt x="10" y="66"/>
                    </a:cubicBezTo>
                    <a:cubicBezTo>
                      <a:pt x="0" y="54"/>
                      <a:pt x="2" y="32"/>
                      <a:pt x="1" y="15"/>
                    </a:cubicBezTo>
                    <a:cubicBezTo>
                      <a:pt x="0" y="12"/>
                      <a:pt x="8" y="7"/>
                      <a:pt x="13" y="5"/>
                    </a:cubicBezTo>
                    <a:cubicBezTo>
                      <a:pt x="21" y="2"/>
                      <a:pt x="30" y="2"/>
                      <a:pt x="41" y="0"/>
                    </a:cubicBezTo>
                    <a:cubicBezTo>
                      <a:pt x="42" y="14"/>
                      <a:pt x="44" y="26"/>
                      <a:pt x="45" y="38"/>
                    </a:cubicBezTo>
                    <a:cubicBezTo>
                      <a:pt x="47" y="50"/>
                      <a:pt x="49" y="61"/>
                      <a:pt x="54" y="72"/>
                    </a:cubicBezTo>
                    <a:cubicBezTo>
                      <a:pt x="53" y="58"/>
                      <a:pt x="51" y="43"/>
                      <a:pt x="49" y="28"/>
                    </a:cubicBezTo>
                    <a:cubicBezTo>
                      <a:pt x="46" y="14"/>
                      <a:pt x="48" y="5"/>
                      <a:pt x="65" y="5"/>
                    </a:cubicBezTo>
                    <a:cubicBezTo>
                      <a:pt x="92" y="5"/>
                      <a:pt x="118" y="4"/>
                      <a:pt x="144" y="5"/>
                    </a:cubicBezTo>
                    <a:cubicBezTo>
                      <a:pt x="158" y="5"/>
                      <a:pt x="163" y="12"/>
                      <a:pt x="160" y="25"/>
                    </a:cubicBezTo>
                    <a:cubicBezTo>
                      <a:pt x="157" y="41"/>
                      <a:pt x="156" y="57"/>
                      <a:pt x="158" y="73"/>
                    </a:cubicBezTo>
                    <a:cubicBezTo>
                      <a:pt x="161" y="49"/>
                      <a:pt x="164" y="26"/>
                      <a:pt x="168" y="2"/>
                    </a:cubicBezTo>
                    <a:cubicBezTo>
                      <a:pt x="203" y="7"/>
                      <a:pt x="202" y="7"/>
                      <a:pt x="199" y="37"/>
                    </a:cubicBezTo>
                    <a:cubicBezTo>
                      <a:pt x="196" y="54"/>
                      <a:pt x="196" y="69"/>
                      <a:pt x="181" y="81"/>
                    </a:cubicBezTo>
                    <a:cubicBezTo>
                      <a:pt x="175" y="86"/>
                      <a:pt x="177" y="101"/>
                      <a:pt x="177" y="112"/>
                    </a:cubicBezTo>
                    <a:cubicBezTo>
                      <a:pt x="178" y="128"/>
                      <a:pt x="173" y="138"/>
                      <a:pt x="156" y="138"/>
                    </a:cubicBezTo>
                    <a:cubicBezTo>
                      <a:pt x="138" y="138"/>
                      <a:pt x="134" y="127"/>
                      <a:pt x="135" y="111"/>
                    </a:cubicBezTo>
                    <a:cubicBezTo>
                      <a:pt x="136" y="104"/>
                      <a:pt x="135" y="97"/>
                      <a:pt x="135" y="90"/>
                    </a:cubicBezTo>
                    <a:cubicBezTo>
                      <a:pt x="133" y="90"/>
                      <a:pt x="131" y="90"/>
                      <a:pt x="129" y="9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48" name="Freeform 87"/>
              <p:cNvSpPr/>
              <p:nvPr/>
            </p:nvSpPr>
            <p:spPr bwMode="auto">
              <a:xfrm>
                <a:off x="1728544" y="3150572"/>
                <a:ext cx="162568" cy="148644"/>
              </a:xfrm>
              <a:custGeom>
                <a:avLst/>
                <a:gdLst>
                  <a:gd name="T0" fmla="*/ 314576915 w 83"/>
                  <a:gd name="T1" fmla="*/ 137780601 h 84"/>
                  <a:gd name="T2" fmla="*/ 153452440 w 83"/>
                  <a:gd name="T3" fmla="*/ 259904034 h 84"/>
                  <a:gd name="T4" fmla="*/ 0 w 83"/>
                  <a:gd name="T5" fmla="*/ 128385946 h 84"/>
                  <a:gd name="T6" fmla="*/ 168798468 w 83"/>
                  <a:gd name="T7" fmla="*/ 6262513 h 84"/>
                  <a:gd name="T8" fmla="*/ 314576915 w 83"/>
                  <a:gd name="T9" fmla="*/ 137780601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3" h="84">
                    <a:moveTo>
                      <a:pt x="82" y="44"/>
                    </a:moveTo>
                    <a:cubicBezTo>
                      <a:pt x="81" y="66"/>
                      <a:pt x="63" y="84"/>
                      <a:pt x="40" y="83"/>
                    </a:cubicBezTo>
                    <a:cubicBezTo>
                      <a:pt x="17" y="83"/>
                      <a:pt x="0" y="64"/>
                      <a:pt x="0" y="41"/>
                    </a:cubicBezTo>
                    <a:cubicBezTo>
                      <a:pt x="1" y="18"/>
                      <a:pt x="21" y="0"/>
                      <a:pt x="44" y="2"/>
                    </a:cubicBezTo>
                    <a:cubicBezTo>
                      <a:pt x="66" y="3"/>
                      <a:pt x="83" y="21"/>
                      <a:pt x="82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49" name="Freeform 88"/>
              <p:cNvSpPr/>
              <p:nvPr/>
            </p:nvSpPr>
            <p:spPr bwMode="auto">
              <a:xfrm>
                <a:off x="1886928" y="3175474"/>
                <a:ext cx="103152" cy="129125"/>
              </a:xfrm>
              <a:custGeom>
                <a:avLst/>
                <a:gdLst>
                  <a:gd name="T0" fmla="*/ 0 w 53"/>
                  <a:gd name="T1" fmla="*/ 200241036 h 73"/>
                  <a:gd name="T2" fmla="*/ 30303333 w 53"/>
                  <a:gd name="T3" fmla="*/ 15643582 h 73"/>
                  <a:gd name="T4" fmla="*/ 170457707 w 53"/>
                  <a:gd name="T5" fmla="*/ 65705168 h 73"/>
                  <a:gd name="T6" fmla="*/ 143941804 w 53"/>
                  <a:gd name="T7" fmla="*/ 190855594 h 73"/>
                  <a:gd name="T8" fmla="*/ 0 w 53"/>
                  <a:gd name="T9" fmla="*/ 200241036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3" h="73">
                    <a:moveTo>
                      <a:pt x="0" y="64"/>
                    </a:moveTo>
                    <a:cubicBezTo>
                      <a:pt x="3" y="42"/>
                      <a:pt x="5" y="25"/>
                      <a:pt x="8" y="5"/>
                    </a:cubicBezTo>
                    <a:cubicBezTo>
                      <a:pt x="23" y="0"/>
                      <a:pt x="37" y="5"/>
                      <a:pt x="45" y="21"/>
                    </a:cubicBezTo>
                    <a:cubicBezTo>
                      <a:pt x="53" y="35"/>
                      <a:pt x="51" y="50"/>
                      <a:pt x="38" y="61"/>
                    </a:cubicBezTo>
                    <a:cubicBezTo>
                      <a:pt x="25" y="72"/>
                      <a:pt x="11" y="73"/>
                      <a:pt x="0" y="6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250" name="Freeform 89"/>
              <p:cNvSpPr/>
              <p:nvPr/>
            </p:nvSpPr>
            <p:spPr bwMode="auto">
              <a:xfrm>
                <a:off x="1629692" y="3176872"/>
                <a:ext cx="103152" cy="129873"/>
              </a:xfrm>
              <a:custGeom>
                <a:avLst/>
                <a:gdLst>
                  <a:gd name="T0" fmla="*/ 170457707 w 53"/>
                  <a:gd name="T1" fmla="*/ 15824936 h 73"/>
                  <a:gd name="T2" fmla="*/ 200761040 w 53"/>
                  <a:gd name="T3" fmla="*/ 199403090 h 73"/>
                  <a:gd name="T4" fmla="*/ 60606666 w 53"/>
                  <a:gd name="T5" fmla="*/ 193073116 h 73"/>
                  <a:gd name="T6" fmla="*/ 26515903 w 53"/>
                  <a:gd name="T7" fmla="*/ 69633277 h 73"/>
                  <a:gd name="T8" fmla="*/ 170457707 w 53"/>
                  <a:gd name="T9" fmla="*/ 15824936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3" h="73">
                    <a:moveTo>
                      <a:pt x="45" y="5"/>
                    </a:moveTo>
                    <a:cubicBezTo>
                      <a:pt x="47" y="24"/>
                      <a:pt x="50" y="41"/>
                      <a:pt x="53" y="63"/>
                    </a:cubicBezTo>
                    <a:cubicBezTo>
                      <a:pt x="43" y="73"/>
                      <a:pt x="29" y="71"/>
                      <a:pt x="16" y="61"/>
                    </a:cubicBezTo>
                    <a:cubicBezTo>
                      <a:pt x="2" y="51"/>
                      <a:pt x="0" y="37"/>
                      <a:pt x="7" y="22"/>
                    </a:cubicBezTo>
                    <a:cubicBezTo>
                      <a:pt x="14" y="6"/>
                      <a:pt x="28" y="0"/>
                      <a:pt x="45" y="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6" name="组合 5"/>
          <p:cNvGrpSpPr/>
          <p:nvPr/>
        </p:nvGrpSpPr>
        <p:grpSpPr bwMode="auto">
          <a:xfrm>
            <a:off x="1006475" y="1263650"/>
            <a:ext cx="4017963" cy="2963863"/>
            <a:chOff x="1006184" y="1263835"/>
            <a:chExt cx="4017700" cy="2964293"/>
          </a:xfrm>
        </p:grpSpPr>
        <p:grpSp>
          <p:nvGrpSpPr>
            <p:cNvPr id="11288" name="组合 3"/>
            <p:cNvGrpSpPr/>
            <p:nvPr/>
          </p:nvGrpSpPr>
          <p:grpSpPr bwMode="auto">
            <a:xfrm>
              <a:off x="1006184" y="3284301"/>
              <a:ext cx="942334" cy="943827"/>
              <a:chOff x="636374" y="3481021"/>
              <a:chExt cx="1001898" cy="1001899"/>
            </a:xfrm>
          </p:grpSpPr>
          <p:sp>
            <p:nvSpPr>
              <p:cNvPr id="11310" name="Freeform 8"/>
              <p:cNvSpPr/>
              <p:nvPr/>
            </p:nvSpPr>
            <p:spPr bwMode="auto">
              <a:xfrm>
                <a:off x="636374" y="3481021"/>
                <a:ext cx="1001898" cy="1001899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00BD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311" name="Freeform 276"/>
              <p:cNvSpPr>
                <a:spLocks noEditPoints="1"/>
              </p:cNvSpPr>
              <p:nvPr/>
            </p:nvSpPr>
            <p:spPr bwMode="auto">
              <a:xfrm>
                <a:off x="863364" y="3755834"/>
                <a:ext cx="438228" cy="452272"/>
              </a:xfrm>
              <a:custGeom>
                <a:avLst/>
                <a:gdLst>
                  <a:gd name="T0" fmla="*/ 2147483646 w 156"/>
                  <a:gd name="T1" fmla="*/ 2147483646 h 161"/>
                  <a:gd name="T2" fmla="*/ 2147483646 w 156"/>
                  <a:gd name="T3" fmla="*/ 2147483646 h 161"/>
                  <a:gd name="T4" fmla="*/ 2147483646 w 156"/>
                  <a:gd name="T5" fmla="*/ 2147483646 h 161"/>
                  <a:gd name="T6" fmla="*/ 2147483646 w 156"/>
                  <a:gd name="T7" fmla="*/ 2147483646 h 161"/>
                  <a:gd name="T8" fmla="*/ 0 w 156"/>
                  <a:gd name="T9" fmla="*/ 2147483646 h 161"/>
                  <a:gd name="T10" fmla="*/ 0 w 156"/>
                  <a:gd name="T11" fmla="*/ 2147483646 h 161"/>
                  <a:gd name="T12" fmla="*/ 2147483646 w 156"/>
                  <a:gd name="T13" fmla="*/ 2147483646 h 161"/>
                  <a:gd name="T14" fmla="*/ 2147483646 w 156"/>
                  <a:gd name="T15" fmla="*/ 2147483646 h 161"/>
                  <a:gd name="T16" fmla="*/ 2147483646 w 156"/>
                  <a:gd name="T17" fmla="*/ 0 h 161"/>
                  <a:gd name="T18" fmla="*/ 2147483646 w 156"/>
                  <a:gd name="T19" fmla="*/ 2147483646 h 161"/>
                  <a:gd name="T20" fmla="*/ 2147483646 w 156"/>
                  <a:gd name="T21" fmla="*/ 2147483646 h 161"/>
                  <a:gd name="T22" fmla="*/ 0 w 156"/>
                  <a:gd name="T23" fmla="*/ 2147483646 h 161"/>
                  <a:gd name="T24" fmla="*/ 2147483646 w 156"/>
                  <a:gd name="T25" fmla="*/ 2147483646 h 161"/>
                  <a:gd name="T26" fmla="*/ 2147483646 w 156"/>
                  <a:gd name="T27" fmla="*/ 2147483646 h 161"/>
                  <a:gd name="T28" fmla="*/ 2147483646 w 156"/>
                  <a:gd name="T29" fmla="*/ 2147483646 h 161"/>
                  <a:gd name="T30" fmla="*/ 2147483646 w 156"/>
                  <a:gd name="T31" fmla="*/ 2147483646 h 161"/>
                  <a:gd name="T32" fmla="*/ 2147483646 w 156"/>
                  <a:gd name="T33" fmla="*/ 2147483646 h 161"/>
                  <a:gd name="T34" fmla="*/ 2147483646 w 156"/>
                  <a:gd name="T35" fmla="*/ 2147483646 h 161"/>
                  <a:gd name="T36" fmla="*/ 2147483646 w 156"/>
                  <a:gd name="T37" fmla="*/ 2147483646 h 161"/>
                  <a:gd name="T38" fmla="*/ 2147483646 w 156"/>
                  <a:gd name="T39" fmla="*/ 2147483646 h 161"/>
                  <a:gd name="T40" fmla="*/ 2147483646 w 156"/>
                  <a:gd name="T41" fmla="*/ 2147483646 h 161"/>
                  <a:gd name="T42" fmla="*/ 2147483646 w 156"/>
                  <a:gd name="T43" fmla="*/ 2147483646 h 161"/>
                  <a:gd name="T44" fmla="*/ 2147483646 w 156"/>
                  <a:gd name="T45" fmla="*/ 2147483646 h 161"/>
                  <a:gd name="T46" fmla="*/ 2147483646 w 156"/>
                  <a:gd name="T47" fmla="*/ 2147483646 h 161"/>
                  <a:gd name="T48" fmla="*/ 2147483646 w 156"/>
                  <a:gd name="T49" fmla="*/ 2147483646 h 161"/>
                  <a:gd name="T50" fmla="*/ 2147483646 w 156"/>
                  <a:gd name="T51" fmla="*/ 2147483646 h 161"/>
                  <a:gd name="T52" fmla="*/ 2147483646 w 156"/>
                  <a:gd name="T53" fmla="*/ 2147483646 h 161"/>
                  <a:gd name="T54" fmla="*/ 2147483646 w 156"/>
                  <a:gd name="T55" fmla="*/ 2147483646 h 161"/>
                  <a:gd name="T56" fmla="*/ 2147483646 w 156"/>
                  <a:gd name="T57" fmla="*/ 2147483646 h 161"/>
                  <a:gd name="T58" fmla="*/ 2147483646 w 156"/>
                  <a:gd name="T59" fmla="*/ 2147483646 h 161"/>
                  <a:gd name="T60" fmla="*/ 2147483646 w 156"/>
                  <a:gd name="T61" fmla="*/ 2147483646 h 161"/>
                  <a:gd name="T62" fmla="*/ 2147483646 w 156"/>
                  <a:gd name="T63" fmla="*/ 2147483646 h 161"/>
                  <a:gd name="T64" fmla="*/ 2147483646 w 156"/>
                  <a:gd name="T65" fmla="*/ 2147483646 h 161"/>
                  <a:gd name="T66" fmla="*/ 2147483646 w 156"/>
                  <a:gd name="T67" fmla="*/ 2147483646 h 161"/>
                  <a:gd name="T68" fmla="*/ 2147483646 w 156"/>
                  <a:gd name="T69" fmla="*/ 2147483646 h 161"/>
                  <a:gd name="T70" fmla="*/ 2147483646 w 156"/>
                  <a:gd name="T71" fmla="*/ 2147483646 h 161"/>
                  <a:gd name="T72" fmla="*/ 2147483646 w 156"/>
                  <a:gd name="T73" fmla="*/ 2147483646 h 16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6" h="161">
                    <a:moveTo>
                      <a:pt x="120" y="64"/>
                    </a:moveTo>
                    <a:lnTo>
                      <a:pt x="120" y="137"/>
                    </a:lnTo>
                    <a:lnTo>
                      <a:pt x="127" y="137"/>
                    </a:lnTo>
                    <a:lnTo>
                      <a:pt x="127" y="55"/>
                    </a:lnTo>
                    <a:lnTo>
                      <a:pt x="120" y="64"/>
                    </a:lnTo>
                    <a:close/>
                    <a:moveTo>
                      <a:pt x="0" y="144"/>
                    </a:moveTo>
                    <a:lnTo>
                      <a:pt x="156" y="144"/>
                    </a:lnTo>
                    <a:lnTo>
                      <a:pt x="156" y="161"/>
                    </a:lnTo>
                    <a:lnTo>
                      <a:pt x="0" y="161"/>
                    </a:lnTo>
                    <a:lnTo>
                      <a:pt x="0" y="144"/>
                    </a:lnTo>
                    <a:close/>
                    <a:moveTo>
                      <a:pt x="0" y="100"/>
                    </a:moveTo>
                    <a:lnTo>
                      <a:pt x="49" y="50"/>
                    </a:lnTo>
                    <a:lnTo>
                      <a:pt x="71" y="71"/>
                    </a:lnTo>
                    <a:lnTo>
                      <a:pt x="130" y="12"/>
                    </a:lnTo>
                    <a:lnTo>
                      <a:pt x="118" y="0"/>
                    </a:lnTo>
                    <a:lnTo>
                      <a:pt x="156" y="0"/>
                    </a:lnTo>
                    <a:lnTo>
                      <a:pt x="156" y="38"/>
                    </a:lnTo>
                    <a:lnTo>
                      <a:pt x="144" y="26"/>
                    </a:lnTo>
                    <a:lnTo>
                      <a:pt x="71" y="100"/>
                    </a:lnTo>
                    <a:lnTo>
                      <a:pt x="49" y="78"/>
                    </a:lnTo>
                    <a:lnTo>
                      <a:pt x="0" y="128"/>
                    </a:lnTo>
                    <a:lnTo>
                      <a:pt x="0" y="100"/>
                    </a:lnTo>
                    <a:close/>
                    <a:moveTo>
                      <a:pt x="134" y="48"/>
                    </a:moveTo>
                    <a:lnTo>
                      <a:pt x="134" y="137"/>
                    </a:lnTo>
                    <a:lnTo>
                      <a:pt x="144" y="137"/>
                    </a:lnTo>
                    <a:lnTo>
                      <a:pt x="144" y="38"/>
                    </a:lnTo>
                    <a:lnTo>
                      <a:pt x="134" y="48"/>
                    </a:lnTo>
                    <a:close/>
                    <a:moveTo>
                      <a:pt x="14" y="128"/>
                    </a:moveTo>
                    <a:lnTo>
                      <a:pt x="14" y="137"/>
                    </a:lnTo>
                    <a:lnTo>
                      <a:pt x="21" y="137"/>
                    </a:lnTo>
                    <a:lnTo>
                      <a:pt x="21" y="118"/>
                    </a:lnTo>
                    <a:lnTo>
                      <a:pt x="14" y="128"/>
                    </a:lnTo>
                    <a:close/>
                    <a:moveTo>
                      <a:pt x="28" y="111"/>
                    </a:moveTo>
                    <a:lnTo>
                      <a:pt x="28" y="137"/>
                    </a:lnTo>
                    <a:lnTo>
                      <a:pt x="38" y="137"/>
                    </a:lnTo>
                    <a:lnTo>
                      <a:pt x="38" y="104"/>
                    </a:lnTo>
                    <a:lnTo>
                      <a:pt x="28" y="111"/>
                    </a:lnTo>
                    <a:close/>
                    <a:moveTo>
                      <a:pt x="42" y="97"/>
                    </a:moveTo>
                    <a:lnTo>
                      <a:pt x="42" y="137"/>
                    </a:lnTo>
                    <a:lnTo>
                      <a:pt x="52" y="137"/>
                    </a:lnTo>
                    <a:lnTo>
                      <a:pt x="52" y="93"/>
                    </a:lnTo>
                    <a:lnTo>
                      <a:pt x="49" y="90"/>
                    </a:lnTo>
                    <a:lnTo>
                      <a:pt x="42" y="97"/>
                    </a:lnTo>
                    <a:close/>
                    <a:moveTo>
                      <a:pt x="59" y="100"/>
                    </a:moveTo>
                    <a:lnTo>
                      <a:pt x="59" y="137"/>
                    </a:lnTo>
                    <a:lnTo>
                      <a:pt x="68" y="137"/>
                    </a:lnTo>
                    <a:lnTo>
                      <a:pt x="68" y="109"/>
                    </a:lnTo>
                    <a:lnTo>
                      <a:pt x="61" y="102"/>
                    </a:lnTo>
                    <a:lnTo>
                      <a:pt x="59" y="100"/>
                    </a:lnTo>
                    <a:close/>
                    <a:moveTo>
                      <a:pt x="73" y="109"/>
                    </a:moveTo>
                    <a:lnTo>
                      <a:pt x="73" y="137"/>
                    </a:lnTo>
                    <a:lnTo>
                      <a:pt x="82" y="137"/>
                    </a:lnTo>
                    <a:lnTo>
                      <a:pt x="82" y="100"/>
                    </a:lnTo>
                    <a:lnTo>
                      <a:pt x="80" y="102"/>
                    </a:lnTo>
                    <a:lnTo>
                      <a:pt x="73" y="109"/>
                    </a:lnTo>
                    <a:close/>
                    <a:moveTo>
                      <a:pt x="90" y="95"/>
                    </a:moveTo>
                    <a:lnTo>
                      <a:pt x="90" y="137"/>
                    </a:lnTo>
                    <a:lnTo>
                      <a:pt x="99" y="137"/>
                    </a:lnTo>
                    <a:lnTo>
                      <a:pt x="99" y="85"/>
                    </a:lnTo>
                    <a:lnTo>
                      <a:pt x="90" y="95"/>
                    </a:lnTo>
                    <a:close/>
                    <a:moveTo>
                      <a:pt x="104" y="78"/>
                    </a:moveTo>
                    <a:lnTo>
                      <a:pt x="104" y="137"/>
                    </a:lnTo>
                    <a:lnTo>
                      <a:pt x="113" y="137"/>
                    </a:lnTo>
                    <a:lnTo>
                      <a:pt x="113" y="69"/>
                    </a:lnTo>
                    <a:lnTo>
                      <a:pt x="104" y="7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1289" name="组合 6"/>
            <p:cNvGrpSpPr/>
            <p:nvPr/>
          </p:nvGrpSpPr>
          <p:grpSpPr bwMode="auto">
            <a:xfrm>
              <a:off x="2018132" y="3284301"/>
              <a:ext cx="943827" cy="943827"/>
              <a:chOff x="1826091" y="3488488"/>
              <a:chExt cx="1001898" cy="1001899"/>
            </a:xfrm>
          </p:grpSpPr>
          <p:sp>
            <p:nvSpPr>
              <p:cNvPr id="41" name="Freeform 9"/>
              <p:cNvSpPr/>
              <p:nvPr/>
            </p:nvSpPr>
            <p:spPr bwMode="auto">
              <a:xfrm>
                <a:off x="1825267" y="3489247"/>
                <a:ext cx="1002612" cy="1001140"/>
              </a:xfrm>
              <a:custGeom>
                <a:avLst/>
                <a:gdLst>
                  <a:gd name="T0" fmla="*/ 1815189154 w 553"/>
                  <a:gd name="T1" fmla="*/ 1815192778 h 553"/>
                  <a:gd name="T2" fmla="*/ 0 w 553"/>
                  <a:gd name="T3" fmla="*/ 1815192778 h 553"/>
                  <a:gd name="T4" fmla="*/ 0 w 553"/>
                  <a:gd name="T5" fmla="*/ 0 h 553"/>
                  <a:gd name="T6" fmla="*/ 1815189154 w 553"/>
                  <a:gd name="T7" fmla="*/ 0 h 553"/>
                  <a:gd name="T8" fmla="*/ 1815189154 w 553"/>
                  <a:gd name="T9" fmla="*/ 1815192778 h 553"/>
                  <a:gd name="T10" fmla="*/ 1815189154 w 553"/>
                  <a:gd name="T11" fmla="*/ 1815192778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09" name="Freeform 278"/>
              <p:cNvSpPr>
                <a:spLocks noEditPoints="1"/>
              </p:cNvSpPr>
              <p:nvPr/>
            </p:nvSpPr>
            <p:spPr bwMode="auto">
              <a:xfrm>
                <a:off x="2076976" y="3770324"/>
                <a:ext cx="435420" cy="438226"/>
              </a:xfrm>
              <a:custGeom>
                <a:avLst/>
                <a:gdLst>
                  <a:gd name="T0" fmla="*/ 2147483646 w 66"/>
                  <a:gd name="T1" fmla="*/ 2147483646 h 66"/>
                  <a:gd name="T2" fmla="*/ 0 w 66"/>
                  <a:gd name="T3" fmla="*/ 2147483646 h 66"/>
                  <a:gd name="T4" fmla="*/ 2147483646 w 66"/>
                  <a:gd name="T5" fmla="*/ 2147483646 h 66"/>
                  <a:gd name="T6" fmla="*/ 2147483646 w 66"/>
                  <a:gd name="T7" fmla="*/ 2147483646 h 66"/>
                  <a:gd name="T8" fmla="*/ 2147483646 w 66"/>
                  <a:gd name="T9" fmla="*/ 2147483646 h 66"/>
                  <a:gd name="T10" fmla="*/ 2147483646 w 66"/>
                  <a:gd name="T11" fmla="*/ 2147483646 h 66"/>
                  <a:gd name="T12" fmla="*/ 2147483646 w 66"/>
                  <a:gd name="T13" fmla="*/ 2147483646 h 66"/>
                  <a:gd name="T14" fmla="*/ 2147483646 w 66"/>
                  <a:gd name="T15" fmla="*/ 2147483646 h 66"/>
                  <a:gd name="T16" fmla="*/ 2147483646 w 66"/>
                  <a:gd name="T17" fmla="*/ 2147483646 h 66"/>
                  <a:gd name="T18" fmla="*/ 2147483646 w 66"/>
                  <a:gd name="T19" fmla="*/ 2147483646 h 66"/>
                  <a:gd name="T20" fmla="*/ 2147483646 w 66"/>
                  <a:gd name="T21" fmla="*/ 2147483646 h 66"/>
                  <a:gd name="T22" fmla="*/ 2147483646 w 66"/>
                  <a:gd name="T23" fmla="*/ 2147483646 h 66"/>
                  <a:gd name="T24" fmla="*/ 2147483646 w 66"/>
                  <a:gd name="T25" fmla="*/ 2147483646 h 66"/>
                  <a:gd name="T26" fmla="*/ 2147483646 w 66"/>
                  <a:gd name="T27" fmla="*/ 2147483646 h 66"/>
                  <a:gd name="T28" fmla="*/ 2147483646 w 66"/>
                  <a:gd name="T29" fmla="*/ 2147483646 h 66"/>
                  <a:gd name="T30" fmla="*/ 2147483646 w 66"/>
                  <a:gd name="T31" fmla="*/ 2147483646 h 66"/>
                  <a:gd name="T32" fmla="*/ 2147483646 w 66"/>
                  <a:gd name="T33" fmla="*/ 2147483646 h 66"/>
                  <a:gd name="T34" fmla="*/ 2147483646 w 66"/>
                  <a:gd name="T35" fmla="*/ 2147483646 h 66"/>
                  <a:gd name="T36" fmla="*/ 2147483646 w 66"/>
                  <a:gd name="T37" fmla="*/ 2147483646 h 66"/>
                  <a:gd name="T38" fmla="*/ 2147483646 w 66"/>
                  <a:gd name="T39" fmla="*/ 2147483646 h 66"/>
                  <a:gd name="T40" fmla="*/ 2147483646 w 66"/>
                  <a:gd name="T41" fmla="*/ 2147483646 h 66"/>
                  <a:gd name="T42" fmla="*/ 2147483646 w 66"/>
                  <a:gd name="T43" fmla="*/ 2147483646 h 66"/>
                  <a:gd name="T44" fmla="*/ 2147483646 w 66"/>
                  <a:gd name="T45" fmla="*/ 2147483646 h 66"/>
                  <a:gd name="T46" fmla="*/ 2147483646 w 66"/>
                  <a:gd name="T47" fmla="*/ 2147483646 h 66"/>
                  <a:gd name="T48" fmla="*/ 2147483646 w 66"/>
                  <a:gd name="T49" fmla="*/ 2147483646 h 66"/>
                  <a:gd name="T50" fmla="*/ 2147483646 w 66"/>
                  <a:gd name="T51" fmla="*/ 2147483646 h 66"/>
                  <a:gd name="T52" fmla="*/ 2147483646 w 66"/>
                  <a:gd name="T53" fmla="*/ 2147483646 h 66"/>
                  <a:gd name="T54" fmla="*/ 2147483646 w 66"/>
                  <a:gd name="T55" fmla="*/ 2147483646 h 66"/>
                  <a:gd name="T56" fmla="*/ 2147483646 w 66"/>
                  <a:gd name="T57" fmla="*/ 2147483646 h 66"/>
                  <a:gd name="T58" fmla="*/ 2147483646 w 66"/>
                  <a:gd name="T59" fmla="*/ 2147483646 h 66"/>
                  <a:gd name="T60" fmla="*/ 2147483646 w 66"/>
                  <a:gd name="T61" fmla="*/ 2147483646 h 66"/>
                  <a:gd name="T62" fmla="*/ 2147483646 w 66"/>
                  <a:gd name="T63" fmla="*/ 2147483646 h 66"/>
                  <a:gd name="T64" fmla="*/ 2147483646 w 66"/>
                  <a:gd name="T65" fmla="*/ 2147483646 h 6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cubicBezTo>
                      <a:pt x="51" y="0"/>
                      <a:pt x="66" y="15"/>
                      <a:pt x="66" y="33"/>
                    </a:cubicBezTo>
                    <a:cubicBezTo>
                      <a:pt x="66" y="51"/>
                      <a:pt x="51" y="66"/>
                      <a:pt x="33" y="66"/>
                    </a:cubicBezTo>
                    <a:cubicBezTo>
                      <a:pt x="15" y="66"/>
                      <a:pt x="0" y="51"/>
                      <a:pt x="0" y="33"/>
                    </a:cubicBezTo>
                    <a:cubicBezTo>
                      <a:pt x="0" y="15"/>
                      <a:pt x="15" y="0"/>
                      <a:pt x="33" y="0"/>
                    </a:cubicBezTo>
                    <a:close/>
                    <a:moveTo>
                      <a:pt x="33" y="5"/>
                    </a:moveTo>
                    <a:cubicBezTo>
                      <a:pt x="25" y="5"/>
                      <a:pt x="18" y="8"/>
                      <a:pt x="13" y="13"/>
                    </a:cubicBezTo>
                    <a:cubicBezTo>
                      <a:pt x="8" y="18"/>
                      <a:pt x="5" y="25"/>
                      <a:pt x="5" y="33"/>
                    </a:cubicBezTo>
                    <a:cubicBezTo>
                      <a:pt x="5" y="41"/>
                      <a:pt x="8" y="48"/>
                      <a:pt x="13" y="53"/>
                    </a:cubicBezTo>
                    <a:cubicBezTo>
                      <a:pt x="18" y="58"/>
                      <a:pt x="25" y="61"/>
                      <a:pt x="33" y="61"/>
                    </a:cubicBezTo>
                    <a:cubicBezTo>
                      <a:pt x="41" y="61"/>
                      <a:pt x="48" y="58"/>
                      <a:pt x="53" y="53"/>
                    </a:cubicBezTo>
                    <a:cubicBezTo>
                      <a:pt x="58" y="48"/>
                      <a:pt x="61" y="41"/>
                      <a:pt x="61" y="33"/>
                    </a:cubicBezTo>
                    <a:cubicBezTo>
                      <a:pt x="61" y="25"/>
                      <a:pt x="58" y="18"/>
                      <a:pt x="53" y="13"/>
                    </a:cubicBezTo>
                    <a:cubicBezTo>
                      <a:pt x="48" y="8"/>
                      <a:pt x="41" y="5"/>
                      <a:pt x="33" y="5"/>
                    </a:cubicBezTo>
                    <a:close/>
                    <a:moveTo>
                      <a:pt x="32" y="53"/>
                    </a:moveTo>
                    <a:cubicBezTo>
                      <a:pt x="34" y="53"/>
                      <a:pt x="34" y="53"/>
                      <a:pt x="34" y="53"/>
                    </a:cubicBezTo>
                    <a:cubicBezTo>
                      <a:pt x="34" y="49"/>
                      <a:pt x="34" y="49"/>
                      <a:pt x="34" y="49"/>
                    </a:cubicBezTo>
                    <a:cubicBezTo>
                      <a:pt x="37" y="49"/>
                      <a:pt x="39" y="48"/>
                      <a:pt x="41" y="46"/>
                    </a:cubicBezTo>
                    <a:cubicBezTo>
                      <a:pt x="43" y="44"/>
                      <a:pt x="44" y="42"/>
                      <a:pt x="44" y="39"/>
                    </a:cubicBezTo>
                    <a:cubicBezTo>
                      <a:pt x="44" y="38"/>
                      <a:pt x="44" y="37"/>
                      <a:pt x="43" y="35"/>
                    </a:cubicBezTo>
                    <a:cubicBezTo>
                      <a:pt x="43" y="34"/>
                      <a:pt x="42" y="33"/>
                      <a:pt x="41" y="33"/>
                    </a:cubicBezTo>
                    <a:cubicBezTo>
                      <a:pt x="41" y="32"/>
                      <a:pt x="40" y="31"/>
                      <a:pt x="38" y="31"/>
                    </a:cubicBezTo>
                    <a:cubicBezTo>
                      <a:pt x="38" y="30"/>
                      <a:pt x="36" y="30"/>
                      <a:pt x="34" y="29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6" y="18"/>
                      <a:pt x="37" y="18"/>
                      <a:pt x="37" y="19"/>
                    </a:cubicBezTo>
                    <a:cubicBezTo>
                      <a:pt x="38" y="20"/>
                      <a:pt x="39" y="21"/>
                      <a:pt x="39" y="23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20"/>
                      <a:pt x="42" y="18"/>
                      <a:pt x="40" y="16"/>
                    </a:cubicBezTo>
                    <a:cubicBezTo>
                      <a:pt x="39" y="15"/>
                      <a:pt x="37" y="14"/>
                      <a:pt x="34" y="1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29" y="15"/>
                      <a:pt x="27" y="15"/>
                      <a:pt x="26" y="16"/>
                    </a:cubicBezTo>
                    <a:cubicBezTo>
                      <a:pt x="24" y="18"/>
                      <a:pt x="23" y="21"/>
                      <a:pt x="23" y="23"/>
                    </a:cubicBezTo>
                    <a:cubicBezTo>
                      <a:pt x="23" y="25"/>
                      <a:pt x="23" y="27"/>
                      <a:pt x="24" y="28"/>
                    </a:cubicBezTo>
                    <a:cubicBezTo>
                      <a:pt x="25" y="29"/>
                      <a:pt x="26" y="30"/>
                      <a:pt x="27" y="31"/>
                    </a:cubicBezTo>
                    <a:cubicBezTo>
                      <a:pt x="29" y="32"/>
                      <a:pt x="30" y="33"/>
                      <a:pt x="32" y="33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0" y="46"/>
                      <a:pt x="29" y="45"/>
                      <a:pt x="28" y="43"/>
                    </a:cubicBezTo>
                    <a:cubicBezTo>
                      <a:pt x="27" y="42"/>
                      <a:pt x="26" y="41"/>
                      <a:pt x="26" y="38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1"/>
                      <a:pt x="23" y="43"/>
                      <a:pt x="24" y="45"/>
                    </a:cubicBezTo>
                    <a:cubicBezTo>
                      <a:pt x="25" y="46"/>
                      <a:pt x="26" y="47"/>
                      <a:pt x="27" y="48"/>
                    </a:cubicBezTo>
                    <a:cubicBezTo>
                      <a:pt x="28" y="48"/>
                      <a:pt x="30" y="49"/>
                      <a:pt x="32" y="49"/>
                    </a:cubicBezTo>
                    <a:cubicBezTo>
                      <a:pt x="32" y="53"/>
                      <a:pt x="32" y="53"/>
                      <a:pt x="32" y="53"/>
                    </a:cubicBezTo>
                    <a:close/>
                    <a:moveTo>
                      <a:pt x="32" y="18"/>
                    </a:moveTo>
                    <a:cubicBezTo>
                      <a:pt x="30" y="18"/>
                      <a:pt x="29" y="18"/>
                      <a:pt x="28" y="20"/>
                    </a:cubicBezTo>
                    <a:cubicBezTo>
                      <a:pt x="27" y="21"/>
                      <a:pt x="27" y="22"/>
                      <a:pt x="27" y="23"/>
                    </a:cubicBezTo>
                    <a:cubicBezTo>
                      <a:pt x="27" y="25"/>
                      <a:pt x="27" y="26"/>
                      <a:pt x="28" y="27"/>
                    </a:cubicBezTo>
                    <a:cubicBezTo>
                      <a:pt x="29" y="28"/>
                      <a:pt x="30" y="28"/>
                      <a:pt x="32" y="29"/>
                    </a:cubicBezTo>
                    <a:cubicBezTo>
                      <a:pt x="32" y="18"/>
                      <a:pt x="32" y="18"/>
                      <a:pt x="32" y="18"/>
                    </a:cubicBezTo>
                    <a:close/>
                    <a:moveTo>
                      <a:pt x="34" y="46"/>
                    </a:moveTo>
                    <a:cubicBezTo>
                      <a:pt x="36" y="46"/>
                      <a:pt x="37" y="45"/>
                      <a:pt x="38" y="44"/>
                    </a:cubicBezTo>
                    <a:cubicBezTo>
                      <a:pt x="39" y="42"/>
                      <a:pt x="40" y="41"/>
                      <a:pt x="40" y="39"/>
                    </a:cubicBezTo>
                    <a:cubicBezTo>
                      <a:pt x="40" y="38"/>
                      <a:pt x="39" y="37"/>
                      <a:pt x="39" y="36"/>
                    </a:cubicBezTo>
                    <a:cubicBezTo>
                      <a:pt x="38" y="35"/>
                      <a:pt x="36" y="34"/>
                      <a:pt x="34" y="34"/>
                    </a:cubicBezTo>
                    <a:cubicBezTo>
                      <a:pt x="34" y="46"/>
                      <a:pt x="34" y="46"/>
                      <a:pt x="34" y="46"/>
                    </a:cubicBezTo>
                    <a:close/>
                    <a:moveTo>
                      <a:pt x="50" y="15"/>
                    </a:moveTo>
                    <a:cubicBezTo>
                      <a:pt x="46" y="11"/>
                      <a:pt x="40" y="8"/>
                      <a:pt x="33" y="8"/>
                    </a:cubicBezTo>
                    <a:cubicBezTo>
                      <a:pt x="26" y="8"/>
                      <a:pt x="20" y="11"/>
                      <a:pt x="16" y="15"/>
                    </a:cubicBezTo>
                    <a:cubicBezTo>
                      <a:pt x="11" y="20"/>
                      <a:pt x="9" y="26"/>
                      <a:pt x="9" y="33"/>
                    </a:cubicBezTo>
                    <a:cubicBezTo>
                      <a:pt x="9" y="40"/>
                      <a:pt x="11" y="46"/>
                      <a:pt x="16" y="50"/>
                    </a:cubicBezTo>
                    <a:cubicBezTo>
                      <a:pt x="20" y="54"/>
                      <a:pt x="26" y="57"/>
                      <a:pt x="33" y="57"/>
                    </a:cubicBezTo>
                    <a:cubicBezTo>
                      <a:pt x="40" y="57"/>
                      <a:pt x="46" y="54"/>
                      <a:pt x="50" y="50"/>
                    </a:cubicBezTo>
                    <a:cubicBezTo>
                      <a:pt x="55" y="46"/>
                      <a:pt x="57" y="40"/>
                      <a:pt x="57" y="33"/>
                    </a:cubicBezTo>
                    <a:cubicBezTo>
                      <a:pt x="57" y="26"/>
                      <a:pt x="55" y="20"/>
                      <a:pt x="50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1290" name="组合 9"/>
            <p:cNvGrpSpPr/>
            <p:nvPr/>
          </p:nvGrpSpPr>
          <p:grpSpPr bwMode="auto">
            <a:xfrm>
              <a:off x="3014914" y="3284301"/>
              <a:ext cx="994145" cy="943827"/>
              <a:chOff x="2907231" y="3481548"/>
              <a:chExt cx="1056749" cy="1001899"/>
            </a:xfrm>
          </p:grpSpPr>
          <p:sp>
            <p:nvSpPr>
              <p:cNvPr id="11306" name="Freeform 10"/>
              <p:cNvSpPr/>
              <p:nvPr/>
            </p:nvSpPr>
            <p:spPr bwMode="auto">
              <a:xfrm>
                <a:off x="2907231" y="3481548"/>
                <a:ext cx="1056749" cy="1001899"/>
              </a:xfrm>
              <a:custGeom>
                <a:avLst/>
                <a:gdLst>
                  <a:gd name="T0" fmla="*/ 2147483646 w 552"/>
                  <a:gd name="T1" fmla="*/ 2147483646 h 553"/>
                  <a:gd name="T2" fmla="*/ 0 w 552"/>
                  <a:gd name="T3" fmla="*/ 2147483646 h 553"/>
                  <a:gd name="T4" fmla="*/ 0 w 552"/>
                  <a:gd name="T5" fmla="*/ 0 h 553"/>
                  <a:gd name="T6" fmla="*/ 2147483646 w 552"/>
                  <a:gd name="T7" fmla="*/ 0 h 553"/>
                  <a:gd name="T8" fmla="*/ 2147483646 w 552"/>
                  <a:gd name="T9" fmla="*/ 2147483646 h 553"/>
                  <a:gd name="T10" fmla="*/ 2147483646 w 552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2" h="553">
                    <a:moveTo>
                      <a:pt x="552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2" y="0"/>
                    </a:lnTo>
                    <a:lnTo>
                      <a:pt x="552" y="553"/>
                    </a:lnTo>
                    <a:close/>
                  </a:path>
                </a:pathLst>
              </a:custGeom>
              <a:solidFill>
                <a:srgbClr val="FF9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37" name="组合 36"/>
              <p:cNvGrpSpPr/>
              <p:nvPr/>
            </p:nvGrpSpPr>
            <p:grpSpPr>
              <a:xfrm>
                <a:off x="3191271" y="3758047"/>
                <a:ext cx="453530" cy="448902"/>
                <a:chOff x="1269099" y="-1474822"/>
                <a:chExt cx="701115" cy="693964"/>
              </a:xfrm>
              <a:solidFill>
                <a:schemeClr val="bg1"/>
              </a:solidFill>
            </p:grpSpPr>
            <p:sp>
              <p:nvSpPr>
                <p:cNvPr id="38" name="Freeform 279"/>
                <p:cNvSpPr>
                  <a:spLocks noEditPoints="1"/>
                </p:cNvSpPr>
                <p:nvPr/>
              </p:nvSpPr>
              <p:spPr bwMode="auto">
                <a:xfrm>
                  <a:off x="1269099" y="-1249280"/>
                  <a:ext cx="483379" cy="468422"/>
                </a:xfrm>
                <a:custGeom>
                  <a:avLst/>
                  <a:gdLst>
                    <a:gd name="T0" fmla="*/ 47 w 47"/>
                    <a:gd name="T1" fmla="*/ 25 h 46"/>
                    <a:gd name="T2" fmla="*/ 45 w 47"/>
                    <a:gd name="T3" fmla="*/ 20 h 46"/>
                    <a:gd name="T4" fmla="*/ 41 w 47"/>
                    <a:gd name="T5" fmla="*/ 18 h 46"/>
                    <a:gd name="T6" fmla="*/ 39 w 47"/>
                    <a:gd name="T7" fmla="*/ 12 h 46"/>
                    <a:gd name="T8" fmla="*/ 41 w 47"/>
                    <a:gd name="T9" fmla="*/ 8 h 46"/>
                    <a:gd name="T10" fmla="*/ 37 w 47"/>
                    <a:gd name="T11" fmla="*/ 5 h 46"/>
                    <a:gd name="T12" fmla="*/ 32 w 47"/>
                    <a:gd name="T13" fmla="*/ 8 h 46"/>
                    <a:gd name="T14" fmla="*/ 27 w 47"/>
                    <a:gd name="T15" fmla="*/ 4 h 46"/>
                    <a:gd name="T16" fmla="*/ 25 w 47"/>
                    <a:gd name="T17" fmla="*/ 0 h 46"/>
                    <a:gd name="T18" fmla="*/ 20 w 47"/>
                    <a:gd name="T19" fmla="*/ 1 h 46"/>
                    <a:gd name="T20" fmla="*/ 19 w 47"/>
                    <a:gd name="T21" fmla="*/ 6 h 46"/>
                    <a:gd name="T22" fmla="*/ 12 w 47"/>
                    <a:gd name="T23" fmla="*/ 7 h 46"/>
                    <a:gd name="T24" fmla="*/ 8 w 47"/>
                    <a:gd name="T25" fmla="*/ 5 h 46"/>
                    <a:gd name="T26" fmla="*/ 6 w 47"/>
                    <a:gd name="T27" fmla="*/ 10 h 46"/>
                    <a:gd name="T28" fmla="*/ 8 w 47"/>
                    <a:gd name="T29" fmla="*/ 14 h 46"/>
                    <a:gd name="T30" fmla="*/ 5 w 47"/>
                    <a:gd name="T31" fmla="*/ 20 h 46"/>
                    <a:gd name="T32" fmla="*/ 0 w 47"/>
                    <a:gd name="T33" fmla="*/ 21 h 46"/>
                    <a:gd name="T34" fmla="*/ 1 w 47"/>
                    <a:gd name="T35" fmla="*/ 26 h 46"/>
                    <a:gd name="T36" fmla="*/ 6 w 47"/>
                    <a:gd name="T37" fmla="*/ 27 h 46"/>
                    <a:gd name="T38" fmla="*/ 8 w 47"/>
                    <a:gd name="T39" fmla="*/ 34 h 46"/>
                    <a:gd name="T40" fmla="*/ 6 w 47"/>
                    <a:gd name="T41" fmla="*/ 38 h 46"/>
                    <a:gd name="T42" fmla="*/ 10 w 47"/>
                    <a:gd name="T43" fmla="*/ 41 h 46"/>
                    <a:gd name="T44" fmla="*/ 15 w 47"/>
                    <a:gd name="T45" fmla="*/ 38 h 46"/>
                    <a:gd name="T46" fmla="*/ 20 w 47"/>
                    <a:gd name="T47" fmla="*/ 42 h 46"/>
                    <a:gd name="T48" fmla="*/ 22 w 47"/>
                    <a:gd name="T49" fmla="*/ 46 h 46"/>
                    <a:gd name="T50" fmla="*/ 27 w 47"/>
                    <a:gd name="T51" fmla="*/ 45 h 46"/>
                    <a:gd name="T52" fmla="*/ 28 w 47"/>
                    <a:gd name="T53" fmla="*/ 40 h 46"/>
                    <a:gd name="T54" fmla="*/ 34 w 47"/>
                    <a:gd name="T55" fmla="*/ 38 h 46"/>
                    <a:gd name="T56" fmla="*/ 39 w 47"/>
                    <a:gd name="T57" fmla="*/ 41 h 46"/>
                    <a:gd name="T58" fmla="*/ 41 w 47"/>
                    <a:gd name="T59" fmla="*/ 36 h 46"/>
                    <a:gd name="T60" fmla="*/ 39 w 47"/>
                    <a:gd name="T61" fmla="*/ 32 h 46"/>
                    <a:gd name="T62" fmla="*/ 42 w 47"/>
                    <a:gd name="T63" fmla="*/ 26 h 46"/>
                    <a:gd name="T64" fmla="*/ 23 w 47"/>
                    <a:gd name="T65" fmla="*/ 34 h 46"/>
                    <a:gd name="T66" fmla="*/ 13 w 47"/>
                    <a:gd name="T67" fmla="*/ 23 h 46"/>
                    <a:gd name="T68" fmla="*/ 34 w 47"/>
                    <a:gd name="T69" fmla="*/ 2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7" h="46">
                      <a:moveTo>
                        <a:pt x="45" y="26"/>
                      </a:moveTo>
                      <a:cubicBezTo>
                        <a:pt x="46" y="26"/>
                        <a:pt x="47" y="25"/>
                        <a:pt x="47" y="25"/>
                      </a:cubicBezTo>
                      <a:cubicBezTo>
                        <a:pt x="47" y="21"/>
                        <a:pt x="47" y="21"/>
                        <a:pt x="47" y="21"/>
                      </a:cubicBezTo>
                      <a:cubicBezTo>
                        <a:pt x="47" y="20"/>
                        <a:pt x="46" y="20"/>
                        <a:pt x="45" y="20"/>
                      </a:cubicBezTo>
                      <a:cubicBezTo>
                        <a:pt x="42" y="20"/>
                        <a:pt x="42" y="20"/>
                        <a:pt x="42" y="20"/>
                      </a:cubicBezTo>
                      <a:cubicBezTo>
                        <a:pt x="42" y="20"/>
                        <a:pt x="41" y="19"/>
                        <a:pt x="41" y="18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38" y="13"/>
                        <a:pt x="38" y="12"/>
                        <a:pt x="39" y="12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2" y="9"/>
                        <a:pt x="42" y="8"/>
                        <a:pt x="41" y="8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38" y="5"/>
                        <a:pt x="37" y="5"/>
                        <a:pt x="37" y="5"/>
                      </a:cubicBezTo>
                      <a:cubicBezTo>
                        <a:pt x="34" y="7"/>
                        <a:pt x="34" y="7"/>
                        <a:pt x="34" y="7"/>
                      </a:cubicBezTo>
                      <a:cubicBezTo>
                        <a:pt x="34" y="8"/>
                        <a:pt x="33" y="8"/>
                        <a:pt x="32" y="8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7" y="6"/>
                        <a:pt x="27" y="5"/>
                        <a:pt x="27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7" y="0"/>
                        <a:pt x="26" y="0"/>
                        <a:pt x="25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1" y="0"/>
                        <a:pt x="20" y="0"/>
                        <a:pt x="20" y="1"/>
                      </a:cubicBezTo>
                      <a:cubicBezTo>
                        <a:pt x="20" y="4"/>
                        <a:pt x="20" y="4"/>
                        <a:pt x="20" y="4"/>
                      </a:cubicBezTo>
                      <a:cubicBezTo>
                        <a:pt x="20" y="5"/>
                        <a:pt x="20" y="6"/>
                        <a:pt x="19" y="6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4" y="8"/>
                        <a:pt x="13" y="8"/>
                        <a:pt x="12" y="7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5"/>
                        <a:pt x="9" y="5"/>
                        <a:pt x="8" y="5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8"/>
                        <a:pt x="5" y="9"/>
                        <a:pt x="6" y="10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12"/>
                        <a:pt x="9" y="13"/>
                        <a:pt x="8" y="14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9"/>
                        <a:pt x="5" y="20"/>
                        <a:pt x="5" y="20"/>
                      </a:cubicBezTo>
                      <a:cubicBezTo>
                        <a:pt x="1" y="20"/>
                        <a:pt x="1" y="20"/>
                        <a:pt x="1" y="20"/>
                      </a:cubicBezTo>
                      <a:cubicBezTo>
                        <a:pt x="1" y="20"/>
                        <a:pt x="0" y="20"/>
                        <a:pt x="0" y="21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5"/>
                        <a:pt x="1" y="26"/>
                        <a:pt x="1" y="26"/>
                      </a:cubicBezTo>
                      <a:cubicBezTo>
                        <a:pt x="5" y="26"/>
                        <a:pt x="5" y="26"/>
                        <a:pt x="5" y="26"/>
                      </a:cubicBezTo>
                      <a:cubicBezTo>
                        <a:pt x="5" y="26"/>
                        <a:pt x="6" y="27"/>
                        <a:pt x="6" y="27"/>
                      </a:cubicBezTo>
                      <a:cubicBezTo>
                        <a:pt x="8" y="32"/>
                        <a:pt x="8" y="32"/>
                        <a:pt x="8" y="32"/>
                      </a:cubicBezTo>
                      <a:cubicBezTo>
                        <a:pt x="9" y="32"/>
                        <a:pt x="8" y="33"/>
                        <a:pt x="8" y="34"/>
                      </a:cubicBez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5" y="37"/>
                        <a:pt x="5" y="38"/>
                        <a:pt x="6" y="38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9" y="41"/>
                        <a:pt x="10" y="41"/>
                        <a:pt x="10" y="41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3" y="38"/>
                        <a:pt x="14" y="38"/>
                        <a:pt x="15" y="38"/>
                      </a:cubicBezTo>
                      <a:cubicBezTo>
                        <a:pt x="19" y="40"/>
                        <a:pt x="19" y="40"/>
                        <a:pt x="19" y="40"/>
                      </a:cubicBezTo>
                      <a:cubicBezTo>
                        <a:pt x="20" y="40"/>
                        <a:pt x="20" y="41"/>
                        <a:pt x="20" y="42"/>
                      </a:cubicBez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0" y="46"/>
                        <a:pt x="21" y="46"/>
                        <a:pt x="22" y="46"/>
                      </a:cubicBezTo>
                      <a:cubicBezTo>
                        <a:pt x="25" y="46"/>
                        <a:pt x="25" y="46"/>
                        <a:pt x="25" y="46"/>
                      </a:cubicBezTo>
                      <a:cubicBezTo>
                        <a:pt x="26" y="46"/>
                        <a:pt x="27" y="46"/>
                        <a:pt x="27" y="45"/>
                      </a:cubicBezTo>
                      <a:cubicBezTo>
                        <a:pt x="27" y="42"/>
                        <a:pt x="27" y="42"/>
                        <a:pt x="27" y="42"/>
                      </a:cubicBezTo>
                      <a:cubicBezTo>
                        <a:pt x="27" y="41"/>
                        <a:pt x="27" y="40"/>
                        <a:pt x="28" y="40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33" y="38"/>
                        <a:pt x="34" y="38"/>
                        <a:pt x="34" y="38"/>
                      </a:cubicBezTo>
                      <a:cubicBezTo>
                        <a:pt x="37" y="41"/>
                        <a:pt x="37" y="41"/>
                        <a:pt x="37" y="41"/>
                      </a:cubicBezTo>
                      <a:cubicBezTo>
                        <a:pt x="37" y="41"/>
                        <a:pt x="38" y="41"/>
                        <a:pt x="39" y="41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2" y="38"/>
                        <a:pt x="42" y="37"/>
                        <a:pt x="41" y="36"/>
                      </a:cubicBezTo>
                      <a:cubicBezTo>
                        <a:pt x="39" y="34"/>
                        <a:pt x="39" y="34"/>
                        <a:pt x="39" y="34"/>
                      </a:cubicBezTo>
                      <a:cubicBezTo>
                        <a:pt x="38" y="33"/>
                        <a:pt x="38" y="32"/>
                        <a:pt x="39" y="32"/>
                      </a:cubicBez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1" y="27"/>
                        <a:pt x="42" y="26"/>
                        <a:pt x="42" y="26"/>
                      </a:cubicBezTo>
                      <a:cubicBezTo>
                        <a:pt x="45" y="26"/>
                        <a:pt x="45" y="26"/>
                        <a:pt x="45" y="26"/>
                      </a:cubicBezTo>
                      <a:close/>
                      <a:moveTo>
                        <a:pt x="23" y="34"/>
                      </a:move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18" y="34"/>
                        <a:pt x="13" y="29"/>
                        <a:pt x="13" y="23"/>
                      </a:cubicBezTo>
                      <a:cubicBezTo>
                        <a:pt x="13" y="17"/>
                        <a:pt x="18" y="12"/>
                        <a:pt x="23" y="12"/>
                      </a:cubicBezTo>
                      <a:cubicBezTo>
                        <a:pt x="29" y="12"/>
                        <a:pt x="34" y="17"/>
                        <a:pt x="34" y="23"/>
                      </a:cubicBezTo>
                      <a:cubicBezTo>
                        <a:pt x="34" y="29"/>
                        <a:pt x="29" y="34"/>
                        <a:pt x="23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9" name="Freeform 280"/>
                <p:cNvSpPr>
                  <a:spLocks noEditPoints="1"/>
                </p:cNvSpPr>
                <p:nvPr/>
              </p:nvSpPr>
              <p:spPr bwMode="auto">
                <a:xfrm>
                  <a:off x="1595703" y="-1474822"/>
                  <a:ext cx="269990" cy="273248"/>
                </a:xfrm>
                <a:custGeom>
                  <a:avLst/>
                  <a:gdLst>
                    <a:gd name="T0" fmla="*/ 26 w 26"/>
                    <a:gd name="T1" fmla="*/ 15 h 27"/>
                    <a:gd name="T2" fmla="*/ 25 w 26"/>
                    <a:gd name="T3" fmla="*/ 12 h 27"/>
                    <a:gd name="T4" fmla="*/ 23 w 26"/>
                    <a:gd name="T5" fmla="*/ 11 h 27"/>
                    <a:gd name="T6" fmla="*/ 22 w 26"/>
                    <a:gd name="T7" fmla="*/ 7 h 27"/>
                    <a:gd name="T8" fmla="*/ 23 w 26"/>
                    <a:gd name="T9" fmla="*/ 5 h 27"/>
                    <a:gd name="T10" fmla="*/ 20 w 26"/>
                    <a:gd name="T11" fmla="*/ 4 h 27"/>
                    <a:gd name="T12" fmla="*/ 18 w 26"/>
                    <a:gd name="T13" fmla="*/ 5 h 27"/>
                    <a:gd name="T14" fmla="*/ 15 w 26"/>
                    <a:gd name="T15" fmla="*/ 3 h 27"/>
                    <a:gd name="T16" fmla="*/ 14 w 26"/>
                    <a:gd name="T17" fmla="*/ 0 h 27"/>
                    <a:gd name="T18" fmla="*/ 11 w 26"/>
                    <a:gd name="T19" fmla="*/ 1 h 27"/>
                    <a:gd name="T20" fmla="*/ 10 w 26"/>
                    <a:gd name="T21" fmla="*/ 4 h 27"/>
                    <a:gd name="T22" fmla="*/ 7 w 26"/>
                    <a:gd name="T23" fmla="*/ 5 h 27"/>
                    <a:gd name="T24" fmla="*/ 4 w 26"/>
                    <a:gd name="T25" fmla="*/ 4 h 27"/>
                    <a:gd name="T26" fmla="*/ 3 w 26"/>
                    <a:gd name="T27" fmla="*/ 6 h 27"/>
                    <a:gd name="T28" fmla="*/ 4 w 26"/>
                    <a:gd name="T29" fmla="*/ 9 h 27"/>
                    <a:gd name="T30" fmla="*/ 2 w 26"/>
                    <a:gd name="T31" fmla="*/ 12 h 27"/>
                    <a:gd name="T32" fmla="*/ 0 w 26"/>
                    <a:gd name="T33" fmla="*/ 13 h 27"/>
                    <a:gd name="T34" fmla="*/ 1 w 26"/>
                    <a:gd name="T35" fmla="*/ 15 h 27"/>
                    <a:gd name="T36" fmla="*/ 3 w 26"/>
                    <a:gd name="T37" fmla="*/ 16 h 27"/>
                    <a:gd name="T38" fmla="*/ 4 w 26"/>
                    <a:gd name="T39" fmla="*/ 20 h 27"/>
                    <a:gd name="T40" fmla="*/ 3 w 26"/>
                    <a:gd name="T41" fmla="*/ 22 h 27"/>
                    <a:gd name="T42" fmla="*/ 6 w 26"/>
                    <a:gd name="T43" fmla="*/ 24 h 27"/>
                    <a:gd name="T44" fmla="*/ 8 w 26"/>
                    <a:gd name="T45" fmla="*/ 22 h 27"/>
                    <a:gd name="T46" fmla="*/ 11 w 26"/>
                    <a:gd name="T47" fmla="*/ 24 h 27"/>
                    <a:gd name="T48" fmla="*/ 12 w 26"/>
                    <a:gd name="T49" fmla="*/ 27 h 27"/>
                    <a:gd name="T50" fmla="*/ 15 w 26"/>
                    <a:gd name="T51" fmla="*/ 26 h 27"/>
                    <a:gd name="T52" fmla="*/ 15 w 26"/>
                    <a:gd name="T53" fmla="*/ 23 h 27"/>
                    <a:gd name="T54" fmla="*/ 19 w 26"/>
                    <a:gd name="T55" fmla="*/ 22 h 27"/>
                    <a:gd name="T56" fmla="*/ 22 w 26"/>
                    <a:gd name="T57" fmla="*/ 24 h 27"/>
                    <a:gd name="T58" fmla="*/ 23 w 26"/>
                    <a:gd name="T59" fmla="*/ 21 h 27"/>
                    <a:gd name="T60" fmla="*/ 22 w 26"/>
                    <a:gd name="T61" fmla="*/ 19 h 27"/>
                    <a:gd name="T62" fmla="*/ 24 w 26"/>
                    <a:gd name="T63" fmla="*/ 15 h 27"/>
                    <a:gd name="T64" fmla="*/ 13 w 26"/>
                    <a:gd name="T65" fmla="*/ 20 h 27"/>
                    <a:gd name="T66" fmla="*/ 7 w 26"/>
                    <a:gd name="T67" fmla="*/ 14 h 27"/>
                    <a:gd name="T68" fmla="*/ 19 w 26"/>
                    <a:gd name="T69" fmla="*/ 1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6" h="27">
                      <a:moveTo>
                        <a:pt x="25" y="15"/>
                      </a:moveTo>
                      <a:cubicBezTo>
                        <a:pt x="26" y="15"/>
                        <a:pt x="26" y="15"/>
                        <a:pt x="26" y="15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6" y="12"/>
                        <a:pt x="26" y="12"/>
                        <a:pt x="25" y="12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23" y="12"/>
                        <a:pt x="23" y="11"/>
                        <a:pt x="23" y="11"/>
                      </a:cubicBezTo>
                      <a:cubicBezTo>
                        <a:pt x="22" y="9"/>
                        <a:pt x="22" y="9"/>
                        <a:pt x="22" y="9"/>
                      </a:cubicBezTo>
                      <a:cubicBezTo>
                        <a:pt x="21" y="8"/>
                        <a:pt x="21" y="8"/>
                        <a:pt x="22" y="7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3" y="6"/>
                        <a:pt x="23" y="5"/>
                        <a:pt x="23" y="5"/>
                      </a:cubicBezTo>
                      <a:cubicBezTo>
                        <a:pt x="22" y="4"/>
                        <a:pt x="22" y="4"/>
                        <a:pt x="22" y="4"/>
                      </a:cubicBezTo>
                      <a:cubicBezTo>
                        <a:pt x="21" y="3"/>
                        <a:pt x="21" y="3"/>
                        <a:pt x="20" y="4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5"/>
                      </a:cubicBez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15" y="4"/>
                        <a:pt x="15" y="3"/>
                        <a:pt x="15" y="3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5" y="1"/>
                        <a:pt x="14" y="0"/>
                        <a:pt x="14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1" y="1"/>
                        <a:pt x="11" y="1"/>
                      </a:cubicBezTo>
                      <a:cubicBezTo>
                        <a:pt x="11" y="3"/>
                        <a:pt x="11" y="3"/>
                        <a:pt x="11" y="3"/>
                      </a:cubicBezTo>
                      <a:cubicBezTo>
                        <a:pt x="11" y="3"/>
                        <a:pt x="11" y="4"/>
                        <a:pt x="10" y="4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5"/>
                        <a:pt x="7" y="5"/>
                        <a:pt x="7" y="5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5" y="3"/>
                        <a:pt x="5" y="3"/>
                        <a:pt x="4" y="4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3" y="5"/>
                        <a:pt x="3" y="6"/>
                        <a:pt x="3" y="6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5" y="8"/>
                        <a:pt x="5" y="8"/>
                        <a:pt x="4" y="9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11"/>
                        <a:pt x="3" y="12"/>
                        <a:pt x="2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2"/>
                        <a:pt x="0" y="12"/>
                        <a:pt x="0" y="13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5"/>
                        <a:pt x="0" y="15"/>
                        <a:pt x="1" y="15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3" y="15"/>
                        <a:pt x="3" y="16"/>
                        <a:pt x="3" y="16"/>
                      </a:cubicBez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5" y="19"/>
                        <a:pt x="5" y="19"/>
                        <a:pt x="4" y="20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21"/>
                        <a:pt x="3" y="22"/>
                        <a:pt x="3" y="22"/>
                      </a:cubicBez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7" y="22"/>
                        <a:pt x="8" y="22"/>
                        <a:pt x="8" y="22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11" y="23"/>
                        <a:pt x="11" y="24"/>
                        <a:pt x="11" y="24"/>
                      </a:cubicBezTo>
                      <a:cubicBezTo>
                        <a:pt x="11" y="26"/>
                        <a:pt x="11" y="26"/>
                        <a:pt x="11" y="26"/>
                      </a:cubicBezTo>
                      <a:cubicBezTo>
                        <a:pt x="11" y="26"/>
                        <a:pt x="12" y="27"/>
                        <a:pt x="12" y="27"/>
                      </a:cubicBezTo>
                      <a:cubicBezTo>
                        <a:pt x="14" y="27"/>
                        <a:pt x="14" y="27"/>
                        <a:pt x="14" y="27"/>
                      </a:cubicBezTo>
                      <a:cubicBezTo>
                        <a:pt x="14" y="27"/>
                        <a:pt x="15" y="26"/>
                        <a:pt x="15" y="26"/>
                      </a:cubicBez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15" y="24"/>
                        <a:pt x="15" y="23"/>
                        <a:pt x="15" y="23"/>
                      </a:cubicBezTo>
                      <a:cubicBezTo>
                        <a:pt x="18" y="22"/>
                        <a:pt x="18" y="22"/>
                        <a:pt x="18" y="22"/>
                      </a:cubicBezTo>
                      <a:cubicBezTo>
                        <a:pt x="18" y="22"/>
                        <a:pt x="19" y="22"/>
                        <a:pt x="19" y="22"/>
                      </a:cubicBezTo>
                      <a:cubicBezTo>
                        <a:pt x="20" y="24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2" y="24"/>
                      </a:cubicBezTo>
                      <a:cubicBezTo>
                        <a:pt x="23" y="22"/>
                        <a:pt x="23" y="22"/>
                        <a:pt x="23" y="22"/>
                      </a:cubicBezTo>
                      <a:cubicBezTo>
                        <a:pt x="23" y="22"/>
                        <a:pt x="23" y="21"/>
                        <a:pt x="23" y="21"/>
                      </a:cubicBezTo>
                      <a:cubicBezTo>
                        <a:pt x="22" y="20"/>
                        <a:pt x="22" y="20"/>
                        <a:pt x="22" y="20"/>
                      </a:cubicBezTo>
                      <a:cubicBezTo>
                        <a:pt x="21" y="19"/>
                        <a:pt x="21" y="19"/>
                        <a:pt x="22" y="19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cubicBezTo>
                        <a:pt x="23" y="16"/>
                        <a:pt x="23" y="15"/>
                        <a:pt x="24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close/>
                      <a:moveTo>
                        <a:pt x="13" y="20"/>
                      </a:move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0" y="20"/>
                        <a:pt x="7" y="17"/>
                        <a:pt x="7" y="14"/>
                      </a:cubicBezTo>
                      <a:cubicBezTo>
                        <a:pt x="7" y="10"/>
                        <a:pt x="10" y="8"/>
                        <a:pt x="13" y="8"/>
                      </a:cubicBezTo>
                      <a:cubicBezTo>
                        <a:pt x="16" y="8"/>
                        <a:pt x="19" y="10"/>
                        <a:pt x="19" y="14"/>
                      </a:cubicBezTo>
                      <a:cubicBezTo>
                        <a:pt x="19" y="17"/>
                        <a:pt x="16" y="20"/>
                        <a:pt x="13" y="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40" name="Freeform 281"/>
                <p:cNvSpPr>
                  <a:spLocks noEditPoints="1"/>
                </p:cNvSpPr>
                <p:nvPr/>
              </p:nvSpPr>
              <p:spPr bwMode="auto">
                <a:xfrm>
                  <a:off x="1743762" y="-1054107"/>
                  <a:ext cx="226452" cy="221201"/>
                </a:xfrm>
                <a:custGeom>
                  <a:avLst/>
                  <a:gdLst>
                    <a:gd name="T0" fmla="*/ 22 w 22"/>
                    <a:gd name="T1" fmla="*/ 12 h 22"/>
                    <a:gd name="T2" fmla="*/ 21 w 22"/>
                    <a:gd name="T3" fmla="*/ 9 h 22"/>
                    <a:gd name="T4" fmla="*/ 19 w 22"/>
                    <a:gd name="T5" fmla="*/ 9 h 22"/>
                    <a:gd name="T6" fmla="*/ 18 w 22"/>
                    <a:gd name="T7" fmla="*/ 6 h 22"/>
                    <a:gd name="T8" fmla="*/ 19 w 22"/>
                    <a:gd name="T9" fmla="*/ 4 h 22"/>
                    <a:gd name="T10" fmla="*/ 17 w 22"/>
                    <a:gd name="T11" fmla="*/ 3 h 22"/>
                    <a:gd name="T12" fmla="*/ 15 w 22"/>
                    <a:gd name="T13" fmla="*/ 4 h 22"/>
                    <a:gd name="T14" fmla="*/ 13 w 22"/>
                    <a:gd name="T15" fmla="*/ 2 h 22"/>
                    <a:gd name="T16" fmla="*/ 12 w 22"/>
                    <a:gd name="T17" fmla="*/ 0 h 22"/>
                    <a:gd name="T18" fmla="*/ 10 w 22"/>
                    <a:gd name="T19" fmla="*/ 1 h 22"/>
                    <a:gd name="T20" fmla="*/ 9 w 22"/>
                    <a:gd name="T21" fmla="*/ 3 h 22"/>
                    <a:gd name="T22" fmla="*/ 6 w 22"/>
                    <a:gd name="T23" fmla="*/ 4 h 22"/>
                    <a:gd name="T24" fmla="*/ 4 w 22"/>
                    <a:gd name="T25" fmla="*/ 3 h 22"/>
                    <a:gd name="T26" fmla="*/ 3 w 22"/>
                    <a:gd name="T27" fmla="*/ 5 h 22"/>
                    <a:gd name="T28" fmla="*/ 4 w 22"/>
                    <a:gd name="T29" fmla="*/ 7 h 22"/>
                    <a:gd name="T30" fmla="*/ 2 w 22"/>
                    <a:gd name="T31" fmla="*/ 9 h 22"/>
                    <a:gd name="T32" fmla="*/ 0 w 22"/>
                    <a:gd name="T33" fmla="*/ 10 h 22"/>
                    <a:gd name="T34" fmla="*/ 1 w 22"/>
                    <a:gd name="T35" fmla="*/ 12 h 22"/>
                    <a:gd name="T36" fmla="*/ 3 w 22"/>
                    <a:gd name="T37" fmla="*/ 13 h 22"/>
                    <a:gd name="T38" fmla="*/ 4 w 22"/>
                    <a:gd name="T39" fmla="*/ 16 h 22"/>
                    <a:gd name="T40" fmla="*/ 3 w 22"/>
                    <a:gd name="T41" fmla="*/ 18 h 22"/>
                    <a:gd name="T42" fmla="*/ 5 w 22"/>
                    <a:gd name="T43" fmla="*/ 19 h 22"/>
                    <a:gd name="T44" fmla="*/ 7 w 22"/>
                    <a:gd name="T45" fmla="*/ 18 h 22"/>
                    <a:gd name="T46" fmla="*/ 10 w 22"/>
                    <a:gd name="T47" fmla="*/ 20 h 22"/>
                    <a:gd name="T48" fmla="*/ 10 w 22"/>
                    <a:gd name="T49" fmla="*/ 22 h 22"/>
                    <a:gd name="T50" fmla="*/ 13 w 22"/>
                    <a:gd name="T51" fmla="*/ 21 h 22"/>
                    <a:gd name="T52" fmla="*/ 13 w 22"/>
                    <a:gd name="T53" fmla="*/ 19 h 22"/>
                    <a:gd name="T54" fmla="*/ 16 w 22"/>
                    <a:gd name="T55" fmla="*/ 18 h 22"/>
                    <a:gd name="T56" fmla="*/ 18 w 22"/>
                    <a:gd name="T57" fmla="*/ 19 h 22"/>
                    <a:gd name="T58" fmla="*/ 19 w 22"/>
                    <a:gd name="T59" fmla="*/ 17 h 22"/>
                    <a:gd name="T60" fmla="*/ 18 w 22"/>
                    <a:gd name="T61" fmla="*/ 15 h 22"/>
                    <a:gd name="T62" fmla="*/ 20 w 22"/>
                    <a:gd name="T63" fmla="*/ 12 h 22"/>
                    <a:gd name="T64" fmla="*/ 11 w 22"/>
                    <a:gd name="T65" fmla="*/ 16 h 22"/>
                    <a:gd name="T66" fmla="*/ 6 w 22"/>
                    <a:gd name="T67" fmla="*/ 11 h 22"/>
                    <a:gd name="T68" fmla="*/ 16 w 22"/>
                    <a:gd name="T69" fmla="*/ 1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" h="22">
                      <a:moveTo>
                        <a:pt x="21" y="12"/>
                      </a:moveTo>
                      <a:cubicBezTo>
                        <a:pt x="22" y="12"/>
                        <a:pt x="22" y="12"/>
                        <a:pt x="22" y="12"/>
                      </a:cubicBezTo>
                      <a:cubicBezTo>
                        <a:pt x="22" y="10"/>
                        <a:pt x="22" y="10"/>
                        <a:pt x="22" y="10"/>
                      </a:cubicBezTo>
                      <a:cubicBezTo>
                        <a:pt x="22" y="10"/>
                        <a:pt x="22" y="9"/>
                        <a:pt x="21" y="9"/>
                      </a:cubicBezTo>
                      <a:cubicBezTo>
                        <a:pt x="20" y="9"/>
                        <a:pt x="20" y="9"/>
                        <a:pt x="20" y="9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8" y="6"/>
                        <a:pt x="18" y="6"/>
                        <a:pt x="18" y="6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20" y="4"/>
                        <a:pt x="20" y="4"/>
                        <a:pt x="19" y="4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8" y="2"/>
                        <a:pt x="17" y="2"/>
                        <a:pt x="17" y="3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3" y="3"/>
                        <a:pt x="13" y="3"/>
                        <a:pt x="13" y="3"/>
                      </a:cubicBezTo>
                      <a:cubicBezTo>
                        <a:pt x="13" y="3"/>
                        <a:pt x="13" y="2"/>
                        <a:pt x="13" y="2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0"/>
                        <a:pt x="12" y="0"/>
                        <a:pt x="12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2"/>
                        <a:pt x="9" y="3"/>
                        <a:pt x="9" y="3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4"/>
                        <a:pt x="6" y="4"/>
                        <a:pt x="6" y="4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2"/>
                        <a:pt x="4" y="2"/>
                        <a:pt x="4" y="3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3" y="4"/>
                        <a:pt x="3" y="5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6"/>
                        <a:pt x="4" y="6"/>
                        <a:pt x="4" y="7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3" y="9"/>
                        <a:pt x="2" y="9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1" y="9"/>
                        <a:pt x="0" y="10"/>
                        <a:pt x="0" y="10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2"/>
                        <a:pt x="1" y="12"/>
                        <a:pt x="1" y="12"/>
                      </a:cubicBez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3" y="12"/>
                        <a:pt x="3" y="13"/>
                        <a:pt x="3" y="13"/>
                      </a:cubicBez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3" y="18"/>
                        <a:pt x="3" y="18"/>
                      </a:cubicBezTo>
                      <a:cubicBezTo>
                        <a:pt x="4" y="19"/>
                        <a:pt x="4" y="19"/>
                        <a:pt x="4" y="19"/>
                      </a:cubicBezTo>
                      <a:cubicBezTo>
                        <a:pt x="4" y="19"/>
                        <a:pt x="5" y="19"/>
                        <a:pt x="5" y="19"/>
                      </a:cubicBezTo>
                      <a:cubicBezTo>
                        <a:pt x="6" y="18"/>
                        <a:pt x="6" y="18"/>
                        <a:pt x="6" y="18"/>
                      </a:cubicBezTo>
                      <a:cubicBezTo>
                        <a:pt x="6" y="18"/>
                        <a:pt x="7" y="18"/>
                        <a:pt x="7" y="18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9" y="19"/>
                        <a:pt x="10" y="19"/>
                        <a:pt x="10" y="20"/>
                      </a:cubicBezTo>
                      <a:cubicBezTo>
                        <a:pt x="10" y="21"/>
                        <a:pt x="10" y="21"/>
                        <a:pt x="10" y="21"/>
                      </a:cubicBezTo>
                      <a:cubicBezTo>
                        <a:pt x="10" y="21"/>
                        <a:pt x="10" y="22"/>
                        <a:pt x="10" y="22"/>
                      </a:cubicBezTo>
                      <a:cubicBezTo>
                        <a:pt x="12" y="22"/>
                        <a:pt x="12" y="22"/>
                        <a:pt x="12" y="22"/>
                      </a:cubicBezTo>
                      <a:cubicBezTo>
                        <a:pt x="12" y="22"/>
                        <a:pt x="13" y="21"/>
                        <a:pt x="13" y="21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15" y="18"/>
                        <a:pt x="15" y="18"/>
                        <a:pt x="15" y="18"/>
                      </a:cubicBezTo>
                      <a:cubicBezTo>
                        <a:pt x="15" y="18"/>
                        <a:pt x="16" y="18"/>
                        <a:pt x="16" y="18"/>
                      </a:cubicBezTo>
                      <a:cubicBezTo>
                        <a:pt x="17" y="19"/>
                        <a:pt x="17" y="19"/>
                        <a:pt x="17" y="19"/>
                      </a:cubicBezTo>
                      <a:cubicBezTo>
                        <a:pt x="17" y="19"/>
                        <a:pt x="18" y="19"/>
                        <a:pt x="18" y="19"/>
                      </a:cubicBez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0" y="18"/>
                        <a:pt x="20" y="17"/>
                        <a:pt x="19" y="17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18" y="16"/>
                        <a:pt x="18" y="15"/>
                        <a:pt x="18" y="15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3"/>
                        <a:pt x="19" y="12"/>
                        <a:pt x="20" y="12"/>
                      </a:cubicBezTo>
                      <a:cubicBezTo>
                        <a:pt x="21" y="12"/>
                        <a:pt x="21" y="12"/>
                        <a:pt x="21" y="12"/>
                      </a:cubicBezTo>
                      <a:close/>
                      <a:moveTo>
                        <a:pt x="11" y="16"/>
                      </a:move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8" y="16"/>
                        <a:pt x="6" y="14"/>
                        <a:pt x="6" y="11"/>
                      </a:cubicBezTo>
                      <a:cubicBezTo>
                        <a:pt x="6" y="8"/>
                        <a:pt x="8" y="6"/>
                        <a:pt x="11" y="6"/>
                      </a:cubicBezTo>
                      <a:cubicBezTo>
                        <a:pt x="14" y="6"/>
                        <a:pt x="16" y="8"/>
                        <a:pt x="16" y="11"/>
                      </a:cubicBezTo>
                      <a:cubicBezTo>
                        <a:pt x="16" y="14"/>
                        <a:pt x="14" y="16"/>
                        <a:pt x="11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34" name="Freeform 15"/>
            <p:cNvSpPr/>
            <p:nvPr/>
          </p:nvSpPr>
          <p:spPr bwMode="auto">
            <a:xfrm>
              <a:off x="4080971" y="1263835"/>
              <a:ext cx="941325" cy="943112"/>
            </a:xfrm>
            <a:custGeom>
              <a:avLst/>
              <a:gdLst>
                <a:gd name="T0" fmla="*/ 2147483646 w 552"/>
                <a:gd name="T1" fmla="*/ 2147483646 h 553"/>
                <a:gd name="T2" fmla="*/ 0 w 552"/>
                <a:gd name="T3" fmla="*/ 2147483646 h 553"/>
                <a:gd name="T4" fmla="*/ 0 w 552"/>
                <a:gd name="T5" fmla="*/ 0 h 553"/>
                <a:gd name="T6" fmla="*/ 2147483646 w 552"/>
                <a:gd name="T7" fmla="*/ 0 h 553"/>
                <a:gd name="T8" fmla="*/ 2147483646 w 552"/>
                <a:gd name="T9" fmla="*/ 2147483646 h 553"/>
                <a:gd name="T10" fmla="*/ 2147483646 w 552"/>
                <a:gd name="T11" fmla="*/ 2147483646 h 5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52" h="553">
                  <a:moveTo>
                    <a:pt x="552" y="553"/>
                  </a:moveTo>
                  <a:lnTo>
                    <a:pt x="0" y="553"/>
                  </a:lnTo>
                  <a:lnTo>
                    <a:pt x="0" y="0"/>
                  </a:lnTo>
                  <a:lnTo>
                    <a:pt x="552" y="0"/>
                  </a:lnTo>
                  <a:lnTo>
                    <a:pt x="552" y="553"/>
                  </a:lnTo>
                  <a:close/>
                </a:path>
              </a:pathLst>
            </a:custGeom>
            <a:solidFill>
              <a:srgbClr val="FFD8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292" name="Freeform 69"/>
            <p:cNvSpPr>
              <a:spLocks noEditPoints="1"/>
            </p:cNvSpPr>
            <p:nvPr/>
          </p:nvSpPr>
          <p:spPr bwMode="auto">
            <a:xfrm>
              <a:off x="4365789" y="1572893"/>
              <a:ext cx="388050" cy="335300"/>
            </a:xfrm>
            <a:custGeom>
              <a:avLst/>
              <a:gdLst>
                <a:gd name="T0" fmla="*/ 2147483646 w 265"/>
                <a:gd name="T1" fmla="*/ 2147483646 h 252"/>
                <a:gd name="T2" fmla="*/ 2147483646 w 265"/>
                <a:gd name="T3" fmla="*/ 2147483646 h 252"/>
                <a:gd name="T4" fmla="*/ 2147483646 w 265"/>
                <a:gd name="T5" fmla="*/ 2147483646 h 252"/>
                <a:gd name="T6" fmla="*/ 2147483646 w 265"/>
                <a:gd name="T7" fmla="*/ 2147483646 h 252"/>
                <a:gd name="T8" fmla="*/ 2147483646 w 265"/>
                <a:gd name="T9" fmla="*/ 2147483646 h 252"/>
                <a:gd name="T10" fmla="*/ 2147483646 w 265"/>
                <a:gd name="T11" fmla="*/ 2147483646 h 252"/>
                <a:gd name="T12" fmla="*/ 2147483646 w 265"/>
                <a:gd name="T13" fmla="*/ 2147483646 h 252"/>
                <a:gd name="T14" fmla="*/ 2147483646 w 265"/>
                <a:gd name="T15" fmla="*/ 2147483646 h 252"/>
                <a:gd name="T16" fmla="*/ 2147483646 w 265"/>
                <a:gd name="T17" fmla="*/ 2147483646 h 252"/>
                <a:gd name="T18" fmla="*/ 2147483646 w 265"/>
                <a:gd name="T19" fmla="*/ 2147483646 h 252"/>
                <a:gd name="T20" fmla="*/ 2147483646 w 265"/>
                <a:gd name="T21" fmla="*/ 2147483646 h 252"/>
                <a:gd name="T22" fmla="*/ 2147483646 w 265"/>
                <a:gd name="T23" fmla="*/ 2147483646 h 252"/>
                <a:gd name="T24" fmla="*/ 2147483646 w 265"/>
                <a:gd name="T25" fmla="*/ 2147483646 h 252"/>
                <a:gd name="T26" fmla="*/ 2147483646 w 265"/>
                <a:gd name="T27" fmla="*/ 2147483646 h 252"/>
                <a:gd name="T28" fmla="*/ 2147483646 w 265"/>
                <a:gd name="T29" fmla="*/ 2147483646 h 252"/>
                <a:gd name="T30" fmla="*/ 2147483646 w 265"/>
                <a:gd name="T31" fmla="*/ 2147483646 h 252"/>
                <a:gd name="T32" fmla="*/ 2147483646 w 265"/>
                <a:gd name="T33" fmla="*/ 2147483646 h 252"/>
                <a:gd name="T34" fmla="*/ 2147483646 w 265"/>
                <a:gd name="T35" fmla="*/ 2147483646 h 252"/>
                <a:gd name="T36" fmla="*/ 2147483646 w 265"/>
                <a:gd name="T37" fmla="*/ 2147483646 h 252"/>
                <a:gd name="T38" fmla="*/ 2147483646 w 265"/>
                <a:gd name="T39" fmla="*/ 2147483646 h 252"/>
                <a:gd name="T40" fmla="*/ 2147483646 w 265"/>
                <a:gd name="T41" fmla="*/ 2147483646 h 252"/>
                <a:gd name="T42" fmla="*/ 2147483646 w 265"/>
                <a:gd name="T43" fmla="*/ 2147483646 h 252"/>
                <a:gd name="T44" fmla="*/ 2147483646 w 265"/>
                <a:gd name="T45" fmla="*/ 2147483646 h 252"/>
                <a:gd name="T46" fmla="*/ 2147483646 w 265"/>
                <a:gd name="T47" fmla="*/ 2147483646 h 252"/>
                <a:gd name="T48" fmla="*/ 2147483646 w 265"/>
                <a:gd name="T49" fmla="*/ 2147483646 h 252"/>
                <a:gd name="T50" fmla="*/ 2147483646 w 265"/>
                <a:gd name="T51" fmla="*/ 2147483646 h 252"/>
                <a:gd name="T52" fmla="*/ 2147483646 w 265"/>
                <a:gd name="T53" fmla="*/ 2147483646 h 252"/>
                <a:gd name="T54" fmla="*/ 2147483646 w 265"/>
                <a:gd name="T55" fmla="*/ 2147483646 h 252"/>
                <a:gd name="T56" fmla="*/ 2147483646 w 265"/>
                <a:gd name="T57" fmla="*/ 2147483646 h 252"/>
                <a:gd name="T58" fmla="*/ 2147483646 w 265"/>
                <a:gd name="T59" fmla="*/ 2147483646 h 252"/>
                <a:gd name="T60" fmla="*/ 2147483646 w 265"/>
                <a:gd name="T61" fmla="*/ 2147483646 h 252"/>
                <a:gd name="T62" fmla="*/ 2147483646 w 265"/>
                <a:gd name="T63" fmla="*/ 2147483646 h 252"/>
                <a:gd name="T64" fmla="*/ 2147483646 w 265"/>
                <a:gd name="T65" fmla="*/ 2147483646 h 252"/>
                <a:gd name="T66" fmla="*/ 2147483646 w 265"/>
                <a:gd name="T67" fmla="*/ 2147483646 h 252"/>
                <a:gd name="T68" fmla="*/ 2147483646 w 265"/>
                <a:gd name="T69" fmla="*/ 2147483646 h 252"/>
                <a:gd name="T70" fmla="*/ 2147483646 w 265"/>
                <a:gd name="T71" fmla="*/ 2147483646 h 252"/>
                <a:gd name="T72" fmla="*/ 2147483646 w 265"/>
                <a:gd name="T73" fmla="*/ 2147483646 h 252"/>
                <a:gd name="T74" fmla="*/ 2147483646 w 265"/>
                <a:gd name="T75" fmla="*/ 2147483646 h 252"/>
                <a:gd name="T76" fmla="*/ 2147483646 w 265"/>
                <a:gd name="T77" fmla="*/ 2147483646 h 252"/>
                <a:gd name="T78" fmla="*/ 2147483646 w 265"/>
                <a:gd name="T79" fmla="*/ 2147483646 h 252"/>
                <a:gd name="T80" fmla="*/ 2147483646 w 265"/>
                <a:gd name="T81" fmla="*/ 2147483646 h 252"/>
                <a:gd name="T82" fmla="*/ 2147483646 w 265"/>
                <a:gd name="T83" fmla="*/ 2147483646 h 252"/>
                <a:gd name="T84" fmla="*/ 2147483646 w 265"/>
                <a:gd name="T85" fmla="*/ 2147483646 h 252"/>
                <a:gd name="T86" fmla="*/ 2147483646 w 265"/>
                <a:gd name="T87" fmla="*/ 2147483646 h 252"/>
                <a:gd name="T88" fmla="*/ 2147483646 w 265"/>
                <a:gd name="T89" fmla="*/ 2147483646 h 252"/>
                <a:gd name="T90" fmla="*/ 2147483646 w 265"/>
                <a:gd name="T91" fmla="*/ 2147483646 h 252"/>
                <a:gd name="T92" fmla="*/ 2147483646 w 265"/>
                <a:gd name="T93" fmla="*/ 2147483646 h 252"/>
                <a:gd name="T94" fmla="*/ 2147483646 w 265"/>
                <a:gd name="T95" fmla="*/ 2147483646 h 252"/>
                <a:gd name="T96" fmla="*/ 2147483646 w 265"/>
                <a:gd name="T97" fmla="*/ 2147483646 h 252"/>
                <a:gd name="T98" fmla="*/ 2147483646 w 265"/>
                <a:gd name="T99" fmla="*/ 2147483646 h 252"/>
                <a:gd name="T100" fmla="*/ 2147483646 w 265"/>
                <a:gd name="T101" fmla="*/ 2147483646 h 252"/>
                <a:gd name="T102" fmla="*/ 2147483646 w 265"/>
                <a:gd name="T103" fmla="*/ 2147483646 h 252"/>
                <a:gd name="T104" fmla="*/ 2147483646 w 265"/>
                <a:gd name="T105" fmla="*/ 2147483646 h 252"/>
                <a:gd name="T106" fmla="*/ 2147483646 w 265"/>
                <a:gd name="T107" fmla="*/ 2147483646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5" h="252">
                  <a:moveTo>
                    <a:pt x="234" y="107"/>
                  </a:moveTo>
                  <a:cubicBezTo>
                    <a:pt x="235" y="101"/>
                    <a:pt x="236" y="94"/>
                    <a:pt x="236" y="87"/>
                  </a:cubicBezTo>
                  <a:cubicBezTo>
                    <a:pt x="247" y="86"/>
                    <a:pt x="259" y="81"/>
                    <a:pt x="261" y="98"/>
                  </a:cubicBezTo>
                  <a:cubicBezTo>
                    <a:pt x="265" y="122"/>
                    <a:pt x="261" y="126"/>
                    <a:pt x="229" y="129"/>
                  </a:cubicBezTo>
                  <a:cubicBezTo>
                    <a:pt x="229" y="152"/>
                    <a:pt x="230" y="175"/>
                    <a:pt x="229" y="198"/>
                  </a:cubicBezTo>
                  <a:cubicBezTo>
                    <a:pt x="228" y="206"/>
                    <a:pt x="222" y="214"/>
                    <a:pt x="219" y="222"/>
                  </a:cubicBezTo>
                  <a:cubicBezTo>
                    <a:pt x="217" y="225"/>
                    <a:pt x="213" y="227"/>
                    <a:pt x="214" y="229"/>
                  </a:cubicBezTo>
                  <a:cubicBezTo>
                    <a:pt x="214" y="252"/>
                    <a:pt x="198" y="249"/>
                    <a:pt x="186" y="246"/>
                  </a:cubicBezTo>
                  <a:cubicBezTo>
                    <a:pt x="179" y="245"/>
                    <a:pt x="173" y="235"/>
                    <a:pt x="166" y="229"/>
                  </a:cubicBezTo>
                  <a:cubicBezTo>
                    <a:pt x="167" y="228"/>
                    <a:pt x="168" y="226"/>
                    <a:pt x="170" y="224"/>
                  </a:cubicBezTo>
                  <a:cubicBezTo>
                    <a:pt x="145" y="224"/>
                    <a:pt x="121" y="224"/>
                    <a:pt x="96" y="224"/>
                  </a:cubicBezTo>
                  <a:cubicBezTo>
                    <a:pt x="89" y="246"/>
                    <a:pt x="82" y="251"/>
                    <a:pt x="62" y="247"/>
                  </a:cubicBezTo>
                  <a:cubicBezTo>
                    <a:pt x="59" y="246"/>
                    <a:pt x="56" y="246"/>
                    <a:pt x="55" y="244"/>
                  </a:cubicBezTo>
                  <a:cubicBezTo>
                    <a:pt x="48" y="229"/>
                    <a:pt x="38" y="214"/>
                    <a:pt x="36" y="198"/>
                  </a:cubicBezTo>
                  <a:cubicBezTo>
                    <a:pt x="33" y="176"/>
                    <a:pt x="35" y="153"/>
                    <a:pt x="35" y="131"/>
                  </a:cubicBezTo>
                  <a:cubicBezTo>
                    <a:pt x="3" y="123"/>
                    <a:pt x="0" y="120"/>
                    <a:pt x="3" y="98"/>
                  </a:cubicBezTo>
                  <a:cubicBezTo>
                    <a:pt x="5" y="86"/>
                    <a:pt x="7" y="85"/>
                    <a:pt x="28" y="87"/>
                  </a:cubicBezTo>
                  <a:cubicBezTo>
                    <a:pt x="29" y="94"/>
                    <a:pt x="30" y="101"/>
                    <a:pt x="31" y="107"/>
                  </a:cubicBezTo>
                  <a:cubicBezTo>
                    <a:pt x="32" y="107"/>
                    <a:pt x="34" y="107"/>
                    <a:pt x="35" y="107"/>
                  </a:cubicBezTo>
                  <a:cubicBezTo>
                    <a:pt x="35" y="88"/>
                    <a:pt x="36" y="68"/>
                    <a:pt x="35" y="49"/>
                  </a:cubicBezTo>
                  <a:cubicBezTo>
                    <a:pt x="34" y="35"/>
                    <a:pt x="41" y="27"/>
                    <a:pt x="53" y="22"/>
                  </a:cubicBezTo>
                  <a:cubicBezTo>
                    <a:pt x="106" y="1"/>
                    <a:pt x="158" y="0"/>
                    <a:pt x="211" y="20"/>
                  </a:cubicBezTo>
                  <a:cubicBezTo>
                    <a:pt x="225" y="25"/>
                    <a:pt x="230" y="32"/>
                    <a:pt x="229" y="46"/>
                  </a:cubicBezTo>
                  <a:cubicBezTo>
                    <a:pt x="229" y="67"/>
                    <a:pt x="229" y="87"/>
                    <a:pt x="229" y="107"/>
                  </a:cubicBezTo>
                  <a:cubicBezTo>
                    <a:pt x="231" y="107"/>
                    <a:pt x="233" y="107"/>
                    <a:pt x="234" y="107"/>
                  </a:cubicBezTo>
                  <a:close/>
                  <a:moveTo>
                    <a:pt x="176" y="127"/>
                  </a:moveTo>
                  <a:cubicBezTo>
                    <a:pt x="215" y="125"/>
                    <a:pt x="211" y="129"/>
                    <a:pt x="211" y="90"/>
                  </a:cubicBezTo>
                  <a:cubicBezTo>
                    <a:pt x="211" y="87"/>
                    <a:pt x="211" y="84"/>
                    <a:pt x="211" y="80"/>
                  </a:cubicBezTo>
                  <a:cubicBezTo>
                    <a:pt x="212" y="70"/>
                    <a:pt x="209" y="62"/>
                    <a:pt x="197" y="64"/>
                  </a:cubicBezTo>
                  <a:cubicBezTo>
                    <a:pt x="179" y="67"/>
                    <a:pt x="154" y="52"/>
                    <a:pt x="143" y="73"/>
                  </a:cubicBezTo>
                  <a:cubicBezTo>
                    <a:pt x="136" y="85"/>
                    <a:pt x="140" y="106"/>
                    <a:pt x="145" y="121"/>
                  </a:cubicBezTo>
                  <a:cubicBezTo>
                    <a:pt x="146" y="126"/>
                    <a:pt x="165" y="125"/>
                    <a:pt x="176" y="127"/>
                  </a:cubicBezTo>
                  <a:close/>
                  <a:moveTo>
                    <a:pt x="86" y="126"/>
                  </a:moveTo>
                  <a:cubicBezTo>
                    <a:pt x="91" y="126"/>
                    <a:pt x="97" y="125"/>
                    <a:pt x="102" y="126"/>
                  </a:cubicBezTo>
                  <a:cubicBezTo>
                    <a:pt x="119" y="128"/>
                    <a:pt x="125" y="121"/>
                    <a:pt x="123" y="104"/>
                  </a:cubicBezTo>
                  <a:cubicBezTo>
                    <a:pt x="123" y="96"/>
                    <a:pt x="123" y="87"/>
                    <a:pt x="123" y="78"/>
                  </a:cubicBezTo>
                  <a:cubicBezTo>
                    <a:pt x="123" y="58"/>
                    <a:pt x="107" y="62"/>
                    <a:pt x="98" y="64"/>
                  </a:cubicBezTo>
                  <a:cubicBezTo>
                    <a:pt x="83" y="68"/>
                    <a:pt x="59" y="49"/>
                    <a:pt x="54" y="78"/>
                  </a:cubicBezTo>
                  <a:cubicBezTo>
                    <a:pt x="52" y="88"/>
                    <a:pt x="53" y="99"/>
                    <a:pt x="53" y="110"/>
                  </a:cubicBezTo>
                  <a:cubicBezTo>
                    <a:pt x="53" y="121"/>
                    <a:pt x="57" y="126"/>
                    <a:pt x="68" y="126"/>
                  </a:cubicBezTo>
                  <a:cubicBezTo>
                    <a:pt x="74" y="125"/>
                    <a:pt x="80" y="126"/>
                    <a:pt x="86" y="126"/>
                  </a:cubicBezTo>
                  <a:close/>
                  <a:moveTo>
                    <a:pt x="93" y="31"/>
                  </a:moveTo>
                  <a:cubicBezTo>
                    <a:pt x="111" y="41"/>
                    <a:pt x="159" y="40"/>
                    <a:pt x="170" y="30"/>
                  </a:cubicBezTo>
                  <a:cubicBezTo>
                    <a:pt x="156" y="21"/>
                    <a:pt x="109" y="20"/>
                    <a:pt x="93" y="31"/>
                  </a:cubicBezTo>
                  <a:close/>
                  <a:moveTo>
                    <a:pt x="218" y="178"/>
                  </a:moveTo>
                  <a:cubicBezTo>
                    <a:pt x="206" y="170"/>
                    <a:pt x="199" y="161"/>
                    <a:pt x="192" y="161"/>
                  </a:cubicBezTo>
                  <a:cubicBezTo>
                    <a:pt x="186" y="161"/>
                    <a:pt x="180" y="172"/>
                    <a:pt x="174" y="178"/>
                  </a:cubicBezTo>
                  <a:cubicBezTo>
                    <a:pt x="180" y="184"/>
                    <a:pt x="186" y="194"/>
                    <a:pt x="193" y="196"/>
                  </a:cubicBezTo>
                  <a:cubicBezTo>
                    <a:pt x="199" y="197"/>
                    <a:pt x="206" y="187"/>
                    <a:pt x="218" y="178"/>
                  </a:cubicBezTo>
                  <a:close/>
                  <a:moveTo>
                    <a:pt x="98" y="177"/>
                  </a:moveTo>
                  <a:cubicBezTo>
                    <a:pt x="86" y="169"/>
                    <a:pt x="78" y="161"/>
                    <a:pt x="71" y="161"/>
                  </a:cubicBezTo>
                  <a:cubicBezTo>
                    <a:pt x="65" y="162"/>
                    <a:pt x="59" y="173"/>
                    <a:pt x="54" y="179"/>
                  </a:cubicBezTo>
                  <a:cubicBezTo>
                    <a:pt x="60" y="185"/>
                    <a:pt x="66" y="195"/>
                    <a:pt x="74" y="196"/>
                  </a:cubicBezTo>
                  <a:cubicBezTo>
                    <a:pt x="80" y="196"/>
                    <a:pt x="87" y="186"/>
                    <a:pt x="98" y="1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1293" name="组合 28"/>
            <p:cNvGrpSpPr/>
            <p:nvPr/>
          </p:nvGrpSpPr>
          <p:grpSpPr bwMode="auto">
            <a:xfrm>
              <a:off x="1006184" y="2262536"/>
              <a:ext cx="942334" cy="942334"/>
              <a:chOff x="636374" y="2376827"/>
              <a:chExt cx="1001898" cy="1001899"/>
            </a:xfrm>
          </p:grpSpPr>
          <p:sp>
            <p:nvSpPr>
              <p:cNvPr id="28" name="Freeform 7"/>
              <p:cNvSpPr/>
              <p:nvPr/>
            </p:nvSpPr>
            <p:spPr bwMode="auto">
              <a:xfrm>
                <a:off x="636374" y="2376808"/>
                <a:ext cx="1002514" cy="1002726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9" name="组合 28"/>
              <p:cNvGrpSpPr/>
              <p:nvPr/>
            </p:nvGrpSpPr>
            <p:grpSpPr>
              <a:xfrm>
                <a:off x="906674" y="2648697"/>
                <a:ext cx="421136" cy="458160"/>
                <a:chOff x="4905964" y="-1382050"/>
                <a:chExt cx="651037" cy="708275"/>
              </a:xfrm>
              <a:solidFill>
                <a:schemeClr val="bg1"/>
              </a:solidFill>
            </p:grpSpPr>
            <p:sp>
              <p:nvSpPr>
                <p:cNvPr id="30" name="Freeform 86"/>
                <p:cNvSpPr/>
                <p:nvPr/>
              </p:nvSpPr>
              <p:spPr bwMode="auto">
                <a:xfrm>
                  <a:off x="4905964" y="-1122925"/>
                  <a:ext cx="651037" cy="449150"/>
                </a:xfrm>
                <a:custGeom>
                  <a:avLst/>
                  <a:gdLst>
                    <a:gd name="T0" fmla="*/ 129 w 203"/>
                    <a:gd name="T1" fmla="*/ 90 h 154"/>
                    <a:gd name="T2" fmla="*/ 129 w 203"/>
                    <a:gd name="T3" fmla="*/ 127 h 154"/>
                    <a:gd name="T4" fmla="*/ 104 w 203"/>
                    <a:gd name="T5" fmla="*/ 154 h 154"/>
                    <a:gd name="T6" fmla="*/ 79 w 203"/>
                    <a:gd name="T7" fmla="*/ 127 h 154"/>
                    <a:gd name="T8" fmla="*/ 79 w 203"/>
                    <a:gd name="T9" fmla="*/ 100 h 154"/>
                    <a:gd name="T10" fmla="*/ 71 w 203"/>
                    <a:gd name="T11" fmla="*/ 83 h 154"/>
                    <a:gd name="T12" fmla="*/ 65 w 203"/>
                    <a:gd name="T13" fmla="*/ 85 h 154"/>
                    <a:gd name="T14" fmla="*/ 65 w 203"/>
                    <a:gd name="T15" fmla="*/ 119 h 154"/>
                    <a:gd name="T16" fmla="*/ 45 w 203"/>
                    <a:gd name="T17" fmla="*/ 138 h 154"/>
                    <a:gd name="T18" fmla="*/ 23 w 203"/>
                    <a:gd name="T19" fmla="*/ 118 h 154"/>
                    <a:gd name="T20" fmla="*/ 10 w 203"/>
                    <a:gd name="T21" fmla="*/ 66 h 154"/>
                    <a:gd name="T22" fmla="*/ 1 w 203"/>
                    <a:gd name="T23" fmla="*/ 15 h 154"/>
                    <a:gd name="T24" fmla="*/ 13 w 203"/>
                    <a:gd name="T25" fmla="*/ 5 h 154"/>
                    <a:gd name="T26" fmla="*/ 41 w 203"/>
                    <a:gd name="T27" fmla="*/ 0 h 154"/>
                    <a:gd name="T28" fmla="*/ 45 w 203"/>
                    <a:gd name="T29" fmla="*/ 38 h 154"/>
                    <a:gd name="T30" fmla="*/ 54 w 203"/>
                    <a:gd name="T31" fmla="*/ 72 h 154"/>
                    <a:gd name="T32" fmla="*/ 49 w 203"/>
                    <a:gd name="T33" fmla="*/ 28 h 154"/>
                    <a:gd name="T34" fmla="*/ 65 w 203"/>
                    <a:gd name="T35" fmla="*/ 5 h 154"/>
                    <a:gd name="T36" fmla="*/ 144 w 203"/>
                    <a:gd name="T37" fmla="*/ 5 h 154"/>
                    <a:gd name="T38" fmla="*/ 160 w 203"/>
                    <a:gd name="T39" fmla="*/ 25 h 154"/>
                    <a:gd name="T40" fmla="*/ 158 w 203"/>
                    <a:gd name="T41" fmla="*/ 73 h 154"/>
                    <a:gd name="T42" fmla="*/ 168 w 203"/>
                    <a:gd name="T43" fmla="*/ 2 h 154"/>
                    <a:gd name="T44" fmla="*/ 199 w 203"/>
                    <a:gd name="T45" fmla="*/ 37 h 154"/>
                    <a:gd name="T46" fmla="*/ 181 w 203"/>
                    <a:gd name="T47" fmla="*/ 81 h 154"/>
                    <a:gd name="T48" fmla="*/ 177 w 203"/>
                    <a:gd name="T49" fmla="*/ 112 h 154"/>
                    <a:gd name="T50" fmla="*/ 156 w 203"/>
                    <a:gd name="T51" fmla="*/ 138 h 154"/>
                    <a:gd name="T52" fmla="*/ 135 w 203"/>
                    <a:gd name="T53" fmla="*/ 111 h 154"/>
                    <a:gd name="T54" fmla="*/ 135 w 203"/>
                    <a:gd name="T55" fmla="*/ 90 h 154"/>
                    <a:gd name="T56" fmla="*/ 129 w 203"/>
                    <a:gd name="T57" fmla="*/ 9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3" h="154">
                      <a:moveTo>
                        <a:pt x="129" y="90"/>
                      </a:moveTo>
                      <a:cubicBezTo>
                        <a:pt x="129" y="102"/>
                        <a:pt x="128" y="115"/>
                        <a:pt x="129" y="127"/>
                      </a:cubicBezTo>
                      <a:cubicBezTo>
                        <a:pt x="131" y="151"/>
                        <a:pt x="120" y="154"/>
                        <a:pt x="104" y="154"/>
                      </a:cubicBezTo>
                      <a:cubicBezTo>
                        <a:pt x="87" y="153"/>
                        <a:pt x="77" y="150"/>
                        <a:pt x="79" y="127"/>
                      </a:cubicBezTo>
                      <a:cubicBezTo>
                        <a:pt x="80" y="118"/>
                        <a:pt x="80" y="109"/>
                        <a:pt x="79" y="100"/>
                      </a:cubicBezTo>
                      <a:cubicBezTo>
                        <a:pt x="78" y="94"/>
                        <a:pt x="74" y="89"/>
                        <a:pt x="71" y="83"/>
                      </a:cubicBezTo>
                      <a:cubicBezTo>
                        <a:pt x="69" y="84"/>
                        <a:pt x="67" y="85"/>
                        <a:pt x="65" y="85"/>
                      </a:cubicBezTo>
                      <a:cubicBezTo>
                        <a:pt x="65" y="96"/>
                        <a:pt x="65" y="108"/>
                        <a:pt x="65" y="119"/>
                      </a:cubicBezTo>
                      <a:cubicBezTo>
                        <a:pt x="66" y="133"/>
                        <a:pt x="56" y="137"/>
                        <a:pt x="45" y="138"/>
                      </a:cubicBezTo>
                      <a:cubicBezTo>
                        <a:pt x="33" y="138"/>
                        <a:pt x="23" y="134"/>
                        <a:pt x="23" y="118"/>
                      </a:cubicBezTo>
                      <a:cubicBezTo>
                        <a:pt x="24" y="100"/>
                        <a:pt x="24" y="83"/>
                        <a:pt x="10" y="66"/>
                      </a:cubicBezTo>
                      <a:cubicBezTo>
                        <a:pt x="0" y="54"/>
                        <a:pt x="2" y="32"/>
                        <a:pt x="1" y="15"/>
                      </a:cubicBezTo>
                      <a:cubicBezTo>
                        <a:pt x="0" y="12"/>
                        <a:pt x="8" y="7"/>
                        <a:pt x="13" y="5"/>
                      </a:cubicBezTo>
                      <a:cubicBezTo>
                        <a:pt x="21" y="2"/>
                        <a:pt x="30" y="2"/>
                        <a:pt x="41" y="0"/>
                      </a:cubicBezTo>
                      <a:cubicBezTo>
                        <a:pt x="42" y="14"/>
                        <a:pt x="44" y="26"/>
                        <a:pt x="45" y="38"/>
                      </a:cubicBezTo>
                      <a:cubicBezTo>
                        <a:pt x="47" y="50"/>
                        <a:pt x="49" y="61"/>
                        <a:pt x="54" y="72"/>
                      </a:cubicBezTo>
                      <a:cubicBezTo>
                        <a:pt x="53" y="58"/>
                        <a:pt x="51" y="43"/>
                        <a:pt x="49" y="28"/>
                      </a:cubicBezTo>
                      <a:cubicBezTo>
                        <a:pt x="46" y="14"/>
                        <a:pt x="48" y="5"/>
                        <a:pt x="65" y="5"/>
                      </a:cubicBezTo>
                      <a:cubicBezTo>
                        <a:pt x="92" y="5"/>
                        <a:pt x="118" y="4"/>
                        <a:pt x="144" y="5"/>
                      </a:cubicBezTo>
                      <a:cubicBezTo>
                        <a:pt x="158" y="5"/>
                        <a:pt x="163" y="12"/>
                        <a:pt x="160" y="25"/>
                      </a:cubicBezTo>
                      <a:cubicBezTo>
                        <a:pt x="157" y="41"/>
                        <a:pt x="156" y="57"/>
                        <a:pt x="158" y="73"/>
                      </a:cubicBezTo>
                      <a:cubicBezTo>
                        <a:pt x="161" y="49"/>
                        <a:pt x="164" y="26"/>
                        <a:pt x="168" y="2"/>
                      </a:cubicBezTo>
                      <a:cubicBezTo>
                        <a:pt x="203" y="7"/>
                        <a:pt x="202" y="7"/>
                        <a:pt x="199" y="37"/>
                      </a:cubicBezTo>
                      <a:cubicBezTo>
                        <a:pt x="196" y="54"/>
                        <a:pt x="196" y="69"/>
                        <a:pt x="181" y="81"/>
                      </a:cubicBezTo>
                      <a:cubicBezTo>
                        <a:pt x="175" y="86"/>
                        <a:pt x="177" y="101"/>
                        <a:pt x="177" y="112"/>
                      </a:cubicBezTo>
                      <a:cubicBezTo>
                        <a:pt x="178" y="128"/>
                        <a:pt x="173" y="138"/>
                        <a:pt x="156" y="138"/>
                      </a:cubicBezTo>
                      <a:cubicBezTo>
                        <a:pt x="138" y="138"/>
                        <a:pt x="134" y="127"/>
                        <a:pt x="135" y="111"/>
                      </a:cubicBezTo>
                      <a:cubicBezTo>
                        <a:pt x="136" y="104"/>
                        <a:pt x="135" y="97"/>
                        <a:pt x="135" y="90"/>
                      </a:cubicBezTo>
                      <a:cubicBezTo>
                        <a:pt x="133" y="90"/>
                        <a:pt x="131" y="90"/>
                        <a:pt x="129" y="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1" name="Freeform 87"/>
                <p:cNvSpPr/>
                <p:nvPr/>
              </p:nvSpPr>
              <p:spPr bwMode="auto">
                <a:xfrm>
                  <a:off x="5108062" y="-1382050"/>
                  <a:ext cx="267200" cy="244315"/>
                </a:xfrm>
                <a:custGeom>
                  <a:avLst/>
                  <a:gdLst>
                    <a:gd name="T0" fmla="*/ 82 w 83"/>
                    <a:gd name="T1" fmla="*/ 44 h 84"/>
                    <a:gd name="T2" fmla="*/ 40 w 83"/>
                    <a:gd name="T3" fmla="*/ 83 h 84"/>
                    <a:gd name="T4" fmla="*/ 0 w 83"/>
                    <a:gd name="T5" fmla="*/ 41 h 84"/>
                    <a:gd name="T6" fmla="*/ 44 w 83"/>
                    <a:gd name="T7" fmla="*/ 2 h 84"/>
                    <a:gd name="T8" fmla="*/ 82 w 83"/>
                    <a:gd name="T9" fmla="*/ 4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3" h="84">
                      <a:moveTo>
                        <a:pt x="82" y="44"/>
                      </a:moveTo>
                      <a:cubicBezTo>
                        <a:pt x="81" y="66"/>
                        <a:pt x="63" y="84"/>
                        <a:pt x="40" y="83"/>
                      </a:cubicBezTo>
                      <a:cubicBezTo>
                        <a:pt x="17" y="83"/>
                        <a:pt x="0" y="64"/>
                        <a:pt x="0" y="41"/>
                      </a:cubicBezTo>
                      <a:cubicBezTo>
                        <a:pt x="1" y="18"/>
                        <a:pt x="21" y="0"/>
                        <a:pt x="44" y="2"/>
                      </a:cubicBezTo>
                      <a:cubicBezTo>
                        <a:pt x="66" y="3"/>
                        <a:pt x="83" y="21"/>
                        <a:pt x="82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2" name="Freeform 88"/>
                <p:cNvSpPr/>
                <p:nvPr/>
              </p:nvSpPr>
              <p:spPr bwMode="auto">
                <a:xfrm>
                  <a:off x="5368384" y="-1341120"/>
                  <a:ext cx="169543" cy="212234"/>
                </a:xfrm>
                <a:custGeom>
                  <a:avLst/>
                  <a:gdLst>
                    <a:gd name="T0" fmla="*/ 0 w 53"/>
                    <a:gd name="T1" fmla="*/ 64 h 73"/>
                    <a:gd name="T2" fmla="*/ 8 w 53"/>
                    <a:gd name="T3" fmla="*/ 5 h 73"/>
                    <a:gd name="T4" fmla="*/ 45 w 53"/>
                    <a:gd name="T5" fmla="*/ 21 h 73"/>
                    <a:gd name="T6" fmla="*/ 38 w 53"/>
                    <a:gd name="T7" fmla="*/ 61 h 73"/>
                    <a:gd name="T8" fmla="*/ 0 w 53"/>
                    <a:gd name="T9" fmla="*/ 64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0" y="64"/>
                      </a:moveTo>
                      <a:cubicBezTo>
                        <a:pt x="3" y="42"/>
                        <a:pt x="5" y="25"/>
                        <a:pt x="8" y="5"/>
                      </a:cubicBezTo>
                      <a:cubicBezTo>
                        <a:pt x="23" y="0"/>
                        <a:pt x="37" y="5"/>
                        <a:pt x="45" y="21"/>
                      </a:cubicBezTo>
                      <a:cubicBezTo>
                        <a:pt x="53" y="35"/>
                        <a:pt x="51" y="50"/>
                        <a:pt x="38" y="61"/>
                      </a:cubicBezTo>
                      <a:cubicBezTo>
                        <a:pt x="25" y="72"/>
                        <a:pt x="11" y="73"/>
                        <a:pt x="0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33" name="Freeform 89"/>
                <p:cNvSpPr/>
                <p:nvPr/>
              </p:nvSpPr>
              <p:spPr bwMode="auto">
                <a:xfrm>
                  <a:off x="4945587" y="-1338823"/>
                  <a:ext cx="169543" cy="213463"/>
                </a:xfrm>
                <a:custGeom>
                  <a:avLst/>
                  <a:gdLst>
                    <a:gd name="T0" fmla="*/ 45 w 53"/>
                    <a:gd name="T1" fmla="*/ 5 h 73"/>
                    <a:gd name="T2" fmla="*/ 53 w 53"/>
                    <a:gd name="T3" fmla="*/ 63 h 73"/>
                    <a:gd name="T4" fmla="*/ 16 w 53"/>
                    <a:gd name="T5" fmla="*/ 61 h 73"/>
                    <a:gd name="T6" fmla="*/ 7 w 53"/>
                    <a:gd name="T7" fmla="*/ 22 h 73"/>
                    <a:gd name="T8" fmla="*/ 45 w 53"/>
                    <a:gd name="T9" fmla="*/ 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73">
                      <a:moveTo>
                        <a:pt x="45" y="5"/>
                      </a:moveTo>
                      <a:cubicBezTo>
                        <a:pt x="47" y="24"/>
                        <a:pt x="50" y="41"/>
                        <a:pt x="53" y="63"/>
                      </a:cubicBezTo>
                      <a:cubicBezTo>
                        <a:pt x="43" y="73"/>
                        <a:pt x="29" y="71"/>
                        <a:pt x="16" y="61"/>
                      </a:cubicBezTo>
                      <a:cubicBezTo>
                        <a:pt x="2" y="51"/>
                        <a:pt x="0" y="37"/>
                        <a:pt x="7" y="22"/>
                      </a:cubicBezTo>
                      <a:cubicBezTo>
                        <a:pt x="14" y="6"/>
                        <a:pt x="28" y="0"/>
                        <a:pt x="45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11294" name="组合 35"/>
            <p:cNvGrpSpPr/>
            <p:nvPr/>
          </p:nvGrpSpPr>
          <p:grpSpPr bwMode="auto">
            <a:xfrm>
              <a:off x="1006184" y="1263835"/>
              <a:ext cx="942334" cy="940841"/>
              <a:chOff x="636374" y="1309890"/>
              <a:chExt cx="1001898" cy="1000087"/>
            </a:xfrm>
          </p:grpSpPr>
          <p:sp>
            <p:nvSpPr>
              <p:cNvPr id="24" name="Freeform 6"/>
              <p:cNvSpPr/>
              <p:nvPr/>
            </p:nvSpPr>
            <p:spPr bwMode="auto">
              <a:xfrm>
                <a:off x="636374" y="1309890"/>
                <a:ext cx="1002514" cy="1000813"/>
              </a:xfrm>
              <a:custGeom>
                <a:avLst/>
                <a:gdLst>
                  <a:gd name="T0" fmla="*/ 1815189154 w 553"/>
                  <a:gd name="T1" fmla="*/ 1811909434 h 552"/>
                  <a:gd name="T2" fmla="*/ 0 w 553"/>
                  <a:gd name="T3" fmla="*/ 1811909434 h 552"/>
                  <a:gd name="T4" fmla="*/ 0 w 553"/>
                  <a:gd name="T5" fmla="*/ 0 h 552"/>
                  <a:gd name="T6" fmla="*/ 1815189154 w 553"/>
                  <a:gd name="T7" fmla="*/ 0 h 552"/>
                  <a:gd name="T8" fmla="*/ 1815189154 w 553"/>
                  <a:gd name="T9" fmla="*/ 1811909434 h 552"/>
                  <a:gd name="T10" fmla="*/ 1815189154 w 553"/>
                  <a:gd name="T11" fmla="*/ 1811909434 h 5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2">
                    <a:moveTo>
                      <a:pt x="553" y="552"/>
                    </a:moveTo>
                    <a:lnTo>
                      <a:pt x="0" y="552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2"/>
                    </a:lnTo>
                    <a:close/>
                  </a:path>
                </a:pathLst>
              </a:cu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25" name="组合 24"/>
              <p:cNvGrpSpPr/>
              <p:nvPr/>
            </p:nvGrpSpPr>
            <p:grpSpPr>
              <a:xfrm>
                <a:off x="946179" y="1594737"/>
                <a:ext cx="342461" cy="430393"/>
                <a:chOff x="6022345" y="-1190357"/>
                <a:chExt cx="529412" cy="665350"/>
              </a:xfrm>
              <a:solidFill>
                <a:schemeClr val="bg1"/>
              </a:solidFill>
            </p:grpSpPr>
            <p:sp>
              <p:nvSpPr>
                <p:cNvPr id="26" name="Freeform 94"/>
                <p:cNvSpPr/>
                <p:nvPr/>
              </p:nvSpPr>
              <p:spPr bwMode="auto">
                <a:xfrm>
                  <a:off x="6022345" y="-1012777"/>
                  <a:ext cx="529412" cy="487770"/>
                </a:xfrm>
                <a:custGeom>
                  <a:avLst/>
                  <a:gdLst>
                    <a:gd name="T0" fmla="*/ 19 w 180"/>
                    <a:gd name="T1" fmla="*/ 0 h 184"/>
                    <a:gd name="T2" fmla="*/ 50 w 180"/>
                    <a:gd name="T3" fmla="*/ 0 h 184"/>
                    <a:gd name="T4" fmla="*/ 92 w 180"/>
                    <a:gd name="T5" fmla="*/ 46 h 184"/>
                    <a:gd name="T6" fmla="*/ 131 w 180"/>
                    <a:gd name="T7" fmla="*/ 0 h 184"/>
                    <a:gd name="T8" fmla="*/ 162 w 180"/>
                    <a:gd name="T9" fmla="*/ 0 h 184"/>
                    <a:gd name="T10" fmla="*/ 175 w 180"/>
                    <a:gd name="T11" fmla="*/ 123 h 184"/>
                    <a:gd name="T12" fmla="*/ 179 w 180"/>
                    <a:gd name="T13" fmla="*/ 162 h 184"/>
                    <a:gd name="T14" fmla="*/ 159 w 180"/>
                    <a:gd name="T15" fmla="*/ 184 h 184"/>
                    <a:gd name="T16" fmla="*/ 21 w 180"/>
                    <a:gd name="T17" fmla="*/ 184 h 184"/>
                    <a:gd name="T18" fmla="*/ 2 w 180"/>
                    <a:gd name="T19" fmla="*/ 156 h 184"/>
                    <a:gd name="T20" fmla="*/ 19 w 180"/>
                    <a:gd name="T21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0" h="184">
                      <a:moveTo>
                        <a:pt x="19" y="0"/>
                      </a:moveTo>
                      <a:cubicBezTo>
                        <a:pt x="30" y="0"/>
                        <a:pt x="39" y="0"/>
                        <a:pt x="50" y="0"/>
                      </a:cubicBezTo>
                      <a:cubicBezTo>
                        <a:pt x="55" y="23"/>
                        <a:pt x="63" y="47"/>
                        <a:pt x="92" y="46"/>
                      </a:cubicBezTo>
                      <a:cubicBezTo>
                        <a:pt x="118" y="45"/>
                        <a:pt x="125" y="22"/>
                        <a:pt x="131" y="0"/>
                      </a:cubicBezTo>
                      <a:cubicBezTo>
                        <a:pt x="140" y="0"/>
                        <a:pt x="150" y="0"/>
                        <a:pt x="162" y="0"/>
                      </a:cubicBezTo>
                      <a:cubicBezTo>
                        <a:pt x="166" y="41"/>
                        <a:pt x="171" y="82"/>
                        <a:pt x="175" y="123"/>
                      </a:cubicBezTo>
                      <a:cubicBezTo>
                        <a:pt x="176" y="136"/>
                        <a:pt x="178" y="149"/>
                        <a:pt x="179" y="162"/>
                      </a:cubicBezTo>
                      <a:cubicBezTo>
                        <a:pt x="180" y="176"/>
                        <a:pt x="173" y="184"/>
                        <a:pt x="159" y="184"/>
                      </a:cubicBezTo>
                      <a:cubicBezTo>
                        <a:pt x="113" y="184"/>
                        <a:pt x="67" y="184"/>
                        <a:pt x="21" y="184"/>
                      </a:cubicBezTo>
                      <a:cubicBezTo>
                        <a:pt x="3" y="184"/>
                        <a:pt x="0" y="171"/>
                        <a:pt x="2" y="156"/>
                      </a:cubicBezTo>
                      <a:cubicBezTo>
                        <a:pt x="7" y="105"/>
                        <a:pt x="13" y="53"/>
                        <a:pt x="1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27" name="Freeform 95"/>
                <p:cNvSpPr/>
                <p:nvPr/>
              </p:nvSpPr>
              <p:spPr bwMode="auto">
                <a:xfrm>
                  <a:off x="6119506" y="-1190357"/>
                  <a:ext cx="332597" cy="169704"/>
                </a:xfrm>
                <a:custGeom>
                  <a:avLst/>
                  <a:gdLst>
                    <a:gd name="T0" fmla="*/ 108 w 113"/>
                    <a:gd name="T1" fmla="*/ 62 h 64"/>
                    <a:gd name="T2" fmla="*/ 93 w 113"/>
                    <a:gd name="T3" fmla="*/ 48 h 64"/>
                    <a:gd name="T4" fmla="*/ 57 w 113"/>
                    <a:gd name="T5" fmla="*/ 20 h 64"/>
                    <a:gd name="T6" fmla="*/ 22 w 113"/>
                    <a:gd name="T7" fmla="*/ 49 h 64"/>
                    <a:gd name="T8" fmla="*/ 3 w 113"/>
                    <a:gd name="T9" fmla="*/ 64 h 64"/>
                    <a:gd name="T10" fmla="*/ 54 w 113"/>
                    <a:gd name="T11" fmla="*/ 2 h 64"/>
                    <a:gd name="T12" fmla="*/ 108 w 113"/>
                    <a:gd name="T13" fmla="*/ 6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3" h="64">
                      <a:moveTo>
                        <a:pt x="108" y="62"/>
                      </a:moveTo>
                      <a:cubicBezTo>
                        <a:pt x="103" y="57"/>
                        <a:pt x="96" y="54"/>
                        <a:pt x="93" y="48"/>
                      </a:cubicBezTo>
                      <a:cubicBezTo>
                        <a:pt x="85" y="32"/>
                        <a:pt x="75" y="20"/>
                        <a:pt x="57" y="20"/>
                      </a:cubicBezTo>
                      <a:cubicBezTo>
                        <a:pt x="39" y="21"/>
                        <a:pt x="29" y="33"/>
                        <a:pt x="22" y="49"/>
                      </a:cubicBezTo>
                      <a:cubicBezTo>
                        <a:pt x="19" y="54"/>
                        <a:pt x="11" y="57"/>
                        <a:pt x="3" y="64"/>
                      </a:cubicBezTo>
                      <a:cubicBezTo>
                        <a:pt x="0" y="29"/>
                        <a:pt x="23" y="3"/>
                        <a:pt x="54" y="2"/>
                      </a:cubicBezTo>
                      <a:cubicBezTo>
                        <a:pt x="87" y="0"/>
                        <a:pt x="113" y="24"/>
                        <a:pt x="108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11295" name="Freeform 13"/>
            <p:cNvSpPr/>
            <p:nvPr/>
          </p:nvSpPr>
          <p:spPr bwMode="auto">
            <a:xfrm>
              <a:off x="4083044" y="2262536"/>
              <a:ext cx="940840" cy="940841"/>
            </a:xfrm>
            <a:custGeom>
              <a:avLst/>
              <a:gdLst>
                <a:gd name="T0" fmla="*/ 2147483646 w 552"/>
                <a:gd name="T1" fmla="*/ 2147483646 h 552"/>
                <a:gd name="T2" fmla="*/ 0 w 552"/>
                <a:gd name="T3" fmla="*/ 2147483646 h 552"/>
                <a:gd name="T4" fmla="*/ 0 w 552"/>
                <a:gd name="T5" fmla="*/ 0 h 552"/>
                <a:gd name="T6" fmla="*/ 2147483646 w 552"/>
                <a:gd name="T7" fmla="*/ 0 h 552"/>
                <a:gd name="T8" fmla="*/ 2147483646 w 552"/>
                <a:gd name="T9" fmla="*/ 2147483646 h 552"/>
                <a:gd name="T10" fmla="*/ 2147483646 w 552"/>
                <a:gd name="T11" fmla="*/ 2147483646 h 5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52" h="552">
                  <a:moveTo>
                    <a:pt x="552" y="552"/>
                  </a:moveTo>
                  <a:lnTo>
                    <a:pt x="0" y="552"/>
                  </a:lnTo>
                  <a:lnTo>
                    <a:pt x="0" y="0"/>
                  </a:lnTo>
                  <a:lnTo>
                    <a:pt x="552" y="0"/>
                  </a:lnTo>
                  <a:lnTo>
                    <a:pt x="552" y="552"/>
                  </a:lnTo>
                  <a:close/>
                </a:path>
              </a:pathLst>
            </a:custGeom>
            <a:solidFill>
              <a:srgbClr val="7A5E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6" name="组合 15"/>
            <p:cNvGrpSpPr/>
            <p:nvPr/>
          </p:nvGrpSpPr>
          <p:grpSpPr bwMode="auto">
            <a:xfrm>
              <a:off x="4369832" y="2505353"/>
              <a:ext cx="379963" cy="482974"/>
              <a:chOff x="4033838" y="1887538"/>
              <a:chExt cx="1071562" cy="1362075"/>
            </a:xfrm>
            <a:solidFill>
              <a:schemeClr val="bg1"/>
            </a:solidFill>
            <a:effectLst>
              <a:innerShdw blurRad="114300">
                <a:prstClr val="black"/>
              </a:innerShdw>
            </a:effectLst>
          </p:grpSpPr>
          <p:sp>
            <p:nvSpPr>
              <p:cNvPr id="17" name="Freeform 8"/>
              <p:cNvSpPr/>
              <p:nvPr/>
            </p:nvSpPr>
            <p:spPr bwMode="auto">
              <a:xfrm>
                <a:off x="4375150" y="2201863"/>
                <a:ext cx="385762" cy="68263"/>
              </a:xfrm>
              <a:custGeom>
                <a:avLst/>
                <a:gdLst>
                  <a:gd name="T0" fmla="*/ 10 w 103"/>
                  <a:gd name="T1" fmla="*/ 0 h 18"/>
                  <a:gd name="T2" fmla="*/ 0 w 103"/>
                  <a:gd name="T3" fmla="*/ 9 h 18"/>
                  <a:gd name="T4" fmla="*/ 10 w 103"/>
                  <a:gd name="T5" fmla="*/ 18 h 18"/>
                  <a:gd name="T6" fmla="*/ 94 w 103"/>
                  <a:gd name="T7" fmla="*/ 18 h 18"/>
                  <a:gd name="T8" fmla="*/ 103 w 103"/>
                  <a:gd name="T9" fmla="*/ 9 h 18"/>
                  <a:gd name="T10" fmla="*/ 94 w 103"/>
                  <a:gd name="T11" fmla="*/ 0 h 18"/>
                  <a:gd name="T12" fmla="*/ 10 w 103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18">
                    <a:moveTo>
                      <a:pt x="10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10" y="18"/>
                    </a:cubicBezTo>
                    <a:cubicBezTo>
                      <a:pt x="94" y="18"/>
                      <a:pt x="94" y="18"/>
                      <a:pt x="94" y="18"/>
                    </a:cubicBezTo>
                    <a:cubicBezTo>
                      <a:pt x="99" y="18"/>
                      <a:pt x="103" y="14"/>
                      <a:pt x="103" y="9"/>
                    </a:cubicBezTo>
                    <a:cubicBezTo>
                      <a:pt x="103" y="4"/>
                      <a:pt x="99" y="0"/>
                      <a:pt x="94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8" name="Freeform 9"/>
              <p:cNvSpPr/>
              <p:nvPr/>
            </p:nvSpPr>
            <p:spPr bwMode="auto">
              <a:xfrm>
                <a:off x="4232275" y="1887538"/>
                <a:ext cx="704850" cy="273050"/>
              </a:xfrm>
              <a:custGeom>
                <a:avLst/>
                <a:gdLst>
                  <a:gd name="T0" fmla="*/ 43 w 188"/>
                  <a:gd name="T1" fmla="*/ 73 h 73"/>
                  <a:gd name="T2" fmla="*/ 90 w 188"/>
                  <a:gd name="T3" fmla="*/ 73 h 73"/>
                  <a:gd name="T4" fmla="*/ 91 w 188"/>
                  <a:gd name="T5" fmla="*/ 73 h 73"/>
                  <a:gd name="T6" fmla="*/ 138 w 188"/>
                  <a:gd name="T7" fmla="*/ 73 h 73"/>
                  <a:gd name="T8" fmla="*/ 161 w 188"/>
                  <a:gd name="T9" fmla="*/ 18 h 73"/>
                  <a:gd name="T10" fmla="*/ 133 w 188"/>
                  <a:gd name="T11" fmla="*/ 13 h 73"/>
                  <a:gd name="T12" fmla="*/ 108 w 188"/>
                  <a:gd name="T13" fmla="*/ 45 h 73"/>
                  <a:gd name="T14" fmla="*/ 118 w 188"/>
                  <a:gd name="T15" fmla="*/ 5 h 73"/>
                  <a:gd name="T16" fmla="*/ 91 w 188"/>
                  <a:gd name="T17" fmla="*/ 0 h 73"/>
                  <a:gd name="T18" fmla="*/ 63 w 188"/>
                  <a:gd name="T19" fmla="*/ 5 h 73"/>
                  <a:gd name="T20" fmla="*/ 73 w 188"/>
                  <a:gd name="T21" fmla="*/ 45 h 73"/>
                  <a:gd name="T22" fmla="*/ 48 w 188"/>
                  <a:gd name="T23" fmla="*/ 13 h 73"/>
                  <a:gd name="T24" fmla="*/ 20 w 188"/>
                  <a:gd name="T25" fmla="*/ 18 h 73"/>
                  <a:gd name="T26" fmla="*/ 43 w 188"/>
                  <a:gd name="T2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8" h="73">
                    <a:moveTo>
                      <a:pt x="43" y="73"/>
                    </a:moveTo>
                    <a:cubicBezTo>
                      <a:pt x="90" y="73"/>
                      <a:pt x="90" y="73"/>
                      <a:pt x="90" y="73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138" y="73"/>
                      <a:pt x="138" y="73"/>
                      <a:pt x="138" y="73"/>
                    </a:cubicBezTo>
                    <a:cubicBezTo>
                      <a:pt x="152" y="25"/>
                      <a:pt x="188" y="31"/>
                      <a:pt x="161" y="18"/>
                    </a:cubicBezTo>
                    <a:cubicBezTo>
                      <a:pt x="155" y="14"/>
                      <a:pt x="138" y="7"/>
                      <a:pt x="133" y="13"/>
                    </a:cubicBezTo>
                    <a:cubicBezTo>
                      <a:pt x="128" y="18"/>
                      <a:pt x="122" y="44"/>
                      <a:pt x="108" y="45"/>
                    </a:cubicBezTo>
                    <a:cubicBezTo>
                      <a:pt x="109" y="37"/>
                      <a:pt x="124" y="14"/>
                      <a:pt x="118" y="5"/>
                    </a:cubicBezTo>
                    <a:cubicBezTo>
                      <a:pt x="115" y="0"/>
                      <a:pt x="96" y="0"/>
                      <a:pt x="91" y="0"/>
                    </a:cubicBezTo>
                    <a:cubicBezTo>
                      <a:pt x="85" y="0"/>
                      <a:pt x="66" y="0"/>
                      <a:pt x="63" y="5"/>
                    </a:cubicBezTo>
                    <a:cubicBezTo>
                      <a:pt x="57" y="14"/>
                      <a:pt x="72" y="37"/>
                      <a:pt x="73" y="45"/>
                    </a:cubicBezTo>
                    <a:cubicBezTo>
                      <a:pt x="59" y="44"/>
                      <a:pt x="53" y="18"/>
                      <a:pt x="48" y="13"/>
                    </a:cubicBezTo>
                    <a:cubicBezTo>
                      <a:pt x="43" y="7"/>
                      <a:pt x="26" y="11"/>
                      <a:pt x="20" y="18"/>
                    </a:cubicBezTo>
                    <a:cubicBezTo>
                      <a:pt x="0" y="40"/>
                      <a:pt x="29" y="25"/>
                      <a:pt x="43" y="7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9" name="组合 18"/>
              <p:cNvGrpSpPr/>
              <p:nvPr/>
            </p:nvGrpSpPr>
            <p:grpSpPr>
              <a:xfrm>
                <a:off x="4033838" y="2306638"/>
                <a:ext cx="1071562" cy="942975"/>
                <a:chOff x="4033838" y="2306638"/>
                <a:chExt cx="1071562" cy="942975"/>
              </a:xfrm>
              <a:grpFill/>
            </p:grpSpPr>
            <p:sp>
              <p:nvSpPr>
                <p:cNvPr id="20" name="Freeform 7"/>
                <p:cNvSpPr/>
                <p:nvPr/>
              </p:nvSpPr>
              <p:spPr bwMode="auto">
                <a:xfrm>
                  <a:off x="4598988" y="2828926"/>
                  <a:ext cx="101600" cy="160338"/>
                </a:xfrm>
                <a:custGeom>
                  <a:avLst/>
                  <a:gdLst>
                    <a:gd name="T0" fmla="*/ 9 w 27"/>
                    <a:gd name="T1" fmla="*/ 3 h 43"/>
                    <a:gd name="T2" fmla="*/ 3 w 27"/>
                    <a:gd name="T3" fmla="*/ 1 h 43"/>
                    <a:gd name="T4" fmla="*/ 0 w 27"/>
                    <a:gd name="T5" fmla="*/ 3 h 43"/>
                    <a:gd name="T6" fmla="*/ 0 w 27"/>
                    <a:gd name="T7" fmla="*/ 40 h 43"/>
                    <a:gd name="T8" fmla="*/ 4 w 27"/>
                    <a:gd name="T9" fmla="*/ 43 h 43"/>
                    <a:gd name="T10" fmla="*/ 18 w 27"/>
                    <a:gd name="T11" fmla="*/ 38 h 43"/>
                    <a:gd name="T12" fmla="*/ 23 w 27"/>
                    <a:gd name="T13" fmla="*/ 15 h 43"/>
                    <a:gd name="T14" fmla="*/ 9 w 27"/>
                    <a:gd name="T15" fmla="*/ 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7" h="43">
                      <a:moveTo>
                        <a:pt x="9" y="3"/>
                      </a:moveTo>
                      <a:cubicBezTo>
                        <a:pt x="8" y="3"/>
                        <a:pt x="3" y="1"/>
                        <a:pt x="3" y="1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2"/>
                        <a:pt x="2" y="43"/>
                        <a:pt x="4" y="43"/>
                      </a:cubicBezTo>
                      <a:cubicBezTo>
                        <a:pt x="4" y="43"/>
                        <a:pt x="14" y="42"/>
                        <a:pt x="18" y="38"/>
                      </a:cubicBezTo>
                      <a:cubicBezTo>
                        <a:pt x="25" y="33"/>
                        <a:pt x="27" y="23"/>
                        <a:pt x="23" y="15"/>
                      </a:cubicBezTo>
                      <a:cubicBezTo>
                        <a:pt x="20" y="10"/>
                        <a:pt x="14" y="6"/>
                        <a:pt x="9" y="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grpSp>
              <p:nvGrpSpPr>
                <p:cNvPr id="21" name="组合 20"/>
                <p:cNvGrpSpPr/>
                <p:nvPr/>
              </p:nvGrpSpPr>
              <p:grpSpPr>
                <a:xfrm>
                  <a:off x="4033838" y="2306638"/>
                  <a:ext cx="1071562" cy="942975"/>
                  <a:chOff x="4033838" y="2306638"/>
                  <a:chExt cx="1071562" cy="942975"/>
                </a:xfrm>
                <a:grpFill/>
              </p:grpSpPr>
              <p:sp>
                <p:nvSpPr>
                  <p:cNvPr id="22" name="Freeform 10"/>
                  <p:cNvSpPr/>
                  <p:nvPr/>
                </p:nvSpPr>
                <p:spPr bwMode="auto">
                  <a:xfrm>
                    <a:off x="4433888" y="2543176"/>
                    <a:ext cx="90487" cy="161925"/>
                  </a:xfrm>
                  <a:custGeom>
                    <a:avLst/>
                    <a:gdLst>
                      <a:gd name="T0" fmla="*/ 20 w 24"/>
                      <a:gd name="T1" fmla="*/ 1 h 43"/>
                      <a:gd name="T2" fmla="*/ 7 w 24"/>
                      <a:gd name="T3" fmla="*/ 7 h 43"/>
                      <a:gd name="T4" fmla="*/ 4 w 24"/>
                      <a:gd name="T5" fmla="*/ 31 h 43"/>
                      <a:gd name="T6" fmla="*/ 20 w 24"/>
                      <a:gd name="T7" fmla="*/ 42 h 43"/>
                      <a:gd name="T8" fmla="*/ 20 w 24"/>
                      <a:gd name="T9" fmla="*/ 42 h 43"/>
                      <a:gd name="T10" fmla="*/ 24 w 24"/>
                      <a:gd name="T11" fmla="*/ 40 h 43"/>
                      <a:gd name="T12" fmla="*/ 24 w 24"/>
                      <a:gd name="T13" fmla="*/ 4 h 43"/>
                      <a:gd name="T14" fmla="*/ 20 w 24"/>
                      <a:gd name="T15" fmla="*/ 1 h 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4" h="43">
                        <a:moveTo>
                          <a:pt x="20" y="1"/>
                        </a:moveTo>
                        <a:cubicBezTo>
                          <a:pt x="20" y="1"/>
                          <a:pt x="12" y="3"/>
                          <a:pt x="7" y="7"/>
                        </a:cubicBezTo>
                        <a:cubicBezTo>
                          <a:pt x="1" y="12"/>
                          <a:pt x="0" y="23"/>
                          <a:pt x="4" y="31"/>
                        </a:cubicBezTo>
                        <a:cubicBezTo>
                          <a:pt x="8" y="37"/>
                          <a:pt x="13" y="39"/>
                          <a:pt x="20" y="42"/>
                        </a:cubicBezTo>
                        <a:cubicBezTo>
                          <a:pt x="20" y="42"/>
                          <a:pt x="20" y="42"/>
                          <a:pt x="20" y="42"/>
                        </a:cubicBezTo>
                        <a:cubicBezTo>
                          <a:pt x="22" y="43"/>
                          <a:pt x="24" y="42"/>
                          <a:pt x="24" y="40"/>
                        </a:cubicBezTo>
                        <a:cubicBezTo>
                          <a:pt x="24" y="4"/>
                          <a:pt x="24" y="4"/>
                          <a:pt x="24" y="4"/>
                        </a:cubicBezTo>
                        <a:cubicBezTo>
                          <a:pt x="24" y="2"/>
                          <a:pt x="22" y="0"/>
                          <a:pt x="20" y="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23" name="Freeform 11"/>
                  <p:cNvSpPr>
                    <a:spLocks noEditPoints="1"/>
                  </p:cNvSpPr>
                  <p:nvPr/>
                </p:nvSpPr>
                <p:spPr bwMode="auto">
                  <a:xfrm>
                    <a:off x="4033838" y="2306638"/>
                    <a:ext cx="1071562" cy="942975"/>
                  </a:xfrm>
                  <a:custGeom>
                    <a:avLst/>
                    <a:gdLst>
                      <a:gd name="T0" fmla="*/ 192 w 286"/>
                      <a:gd name="T1" fmla="*/ 0 h 251"/>
                      <a:gd name="T2" fmla="*/ 146 w 286"/>
                      <a:gd name="T3" fmla="*/ 0 h 251"/>
                      <a:gd name="T4" fmla="*/ 140 w 286"/>
                      <a:gd name="T5" fmla="*/ 0 h 251"/>
                      <a:gd name="T6" fmla="*/ 94 w 286"/>
                      <a:gd name="T7" fmla="*/ 0 h 251"/>
                      <a:gd name="T8" fmla="*/ 1 w 286"/>
                      <a:gd name="T9" fmla="*/ 162 h 251"/>
                      <a:gd name="T10" fmla="*/ 143 w 286"/>
                      <a:gd name="T11" fmla="*/ 251 h 251"/>
                      <a:gd name="T12" fmla="*/ 143 w 286"/>
                      <a:gd name="T13" fmla="*/ 251 h 251"/>
                      <a:gd name="T14" fmla="*/ 143 w 286"/>
                      <a:gd name="T15" fmla="*/ 251 h 251"/>
                      <a:gd name="T16" fmla="*/ 285 w 286"/>
                      <a:gd name="T17" fmla="*/ 162 h 251"/>
                      <a:gd name="T18" fmla="*/ 192 w 286"/>
                      <a:gd name="T19" fmla="*/ 0 h 251"/>
                      <a:gd name="T20" fmla="*/ 185 w 286"/>
                      <a:gd name="T21" fmla="*/ 189 h 251"/>
                      <a:gd name="T22" fmla="*/ 155 w 286"/>
                      <a:gd name="T23" fmla="*/ 200 h 251"/>
                      <a:gd name="T24" fmla="*/ 151 w 286"/>
                      <a:gd name="T25" fmla="*/ 204 h 251"/>
                      <a:gd name="T26" fmla="*/ 151 w 286"/>
                      <a:gd name="T27" fmla="*/ 211 h 251"/>
                      <a:gd name="T28" fmla="*/ 147 w 286"/>
                      <a:gd name="T29" fmla="*/ 215 h 251"/>
                      <a:gd name="T30" fmla="*/ 134 w 286"/>
                      <a:gd name="T31" fmla="*/ 215 h 251"/>
                      <a:gd name="T32" fmla="*/ 131 w 286"/>
                      <a:gd name="T33" fmla="*/ 211 h 251"/>
                      <a:gd name="T34" fmla="*/ 131 w 286"/>
                      <a:gd name="T35" fmla="*/ 203 h 251"/>
                      <a:gd name="T36" fmla="*/ 127 w 286"/>
                      <a:gd name="T37" fmla="*/ 198 h 251"/>
                      <a:gd name="T38" fmla="*/ 89 w 286"/>
                      <a:gd name="T39" fmla="*/ 178 h 251"/>
                      <a:gd name="T40" fmla="*/ 105 w 286"/>
                      <a:gd name="T41" fmla="*/ 165 h 251"/>
                      <a:gd name="T42" fmla="*/ 106 w 286"/>
                      <a:gd name="T43" fmla="*/ 167 h 251"/>
                      <a:gd name="T44" fmla="*/ 107 w 286"/>
                      <a:gd name="T45" fmla="*/ 167 h 251"/>
                      <a:gd name="T46" fmla="*/ 108 w 286"/>
                      <a:gd name="T47" fmla="*/ 169 h 251"/>
                      <a:gd name="T48" fmla="*/ 124 w 286"/>
                      <a:gd name="T49" fmla="*/ 178 h 251"/>
                      <a:gd name="T50" fmla="*/ 127 w 286"/>
                      <a:gd name="T51" fmla="*/ 179 h 251"/>
                      <a:gd name="T52" fmla="*/ 131 w 286"/>
                      <a:gd name="T53" fmla="*/ 176 h 251"/>
                      <a:gd name="T54" fmla="*/ 131 w 286"/>
                      <a:gd name="T55" fmla="*/ 132 h 251"/>
                      <a:gd name="T56" fmla="*/ 127 w 286"/>
                      <a:gd name="T57" fmla="*/ 127 h 251"/>
                      <a:gd name="T58" fmla="*/ 107 w 286"/>
                      <a:gd name="T59" fmla="*/ 118 h 251"/>
                      <a:gd name="T60" fmla="*/ 93 w 286"/>
                      <a:gd name="T61" fmla="*/ 102 h 251"/>
                      <a:gd name="T62" fmla="*/ 101 w 286"/>
                      <a:gd name="T63" fmla="*/ 59 h 251"/>
                      <a:gd name="T64" fmla="*/ 127 w 286"/>
                      <a:gd name="T65" fmla="*/ 46 h 251"/>
                      <a:gd name="T66" fmla="*/ 131 w 286"/>
                      <a:gd name="T67" fmla="*/ 42 h 251"/>
                      <a:gd name="T68" fmla="*/ 131 w 286"/>
                      <a:gd name="T69" fmla="*/ 34 h 251"/>
                      <a:gd name="T70" fmla="*/ 134 w 286"/>
                      <a:gd name="T71" fmla="*/ 30 h 251"/>
                      <a:gd name="T72" fmla="*/ 147 w 286"/>
                      <a:gd name="T73" fmla="*/ 30 h 251"/>
                      <a:gd name="T74" fmla="*/ 151 w 286"/>
                      <a:gd name="T75" fmla="*/ 34 h 251"/>
                      <a:gd name="T76" fmla="*/ 151 w 286"/>
                      <a:gd name="T77" fmla="*/ 41 h 251"/>
                      <a:gd name="T78" fmla="*/ 155 w 286"/>
                      <a:gd name="T79" fmla="*/ 45 h 251"/>
                      <a:gd name="T80" fmla="*/ 162 w 286"/>
                      <a:gd name="T81" fmla="*/ 47 h 251"/>
                      <a:gd name="T82" fmla="*/ 191 w 286"/>
                      <a:gd name="T83" fmla="*/ 67 h 251"/>
                      <a:gd name="T84" fmla="*/ 175 w 286"/>
                      <a:gd name="T85" fmla="*/ 79 h 251"/>
                      <a:gd name="T86" fmla="*/ 174 w 286"/>
                      <a:gd name="T87" fmla="*/ 78 h 251"/>
                      <a:gd name="T88" fmla="*/ 173 w 286"/>
                      <a:gd name="T89" fmla="*/ 77 h 251"/>
                      <a:gd name="T90" fmla="*/ 172 w 286"/>
                      <a:gd name="T91" fmla="*/ 75 h 251"/>
                      <a:gd name="T92" fmla="*/ 156 w 286"/>
                      <a:gd name="T93" fmla="*/ 66 h 251"/>
                      <a:gd name="T94" fmla="*/ 155 w 286"/>
                      <a:gd name="T95" fmla="*/ 65 h 251"/>
                      <a:gd name="T96" fmla="*/ 151 w 286"/>
                      <a:gd name="T97" fmla="*/ 68 h 251"/>
                      <a:gd name="T98" fmla="*/ 151 w 286"/>
                      <a:gd name="T99" fmla="*/ 112 h 251"/>
                      <a:gd name="T100" fmla="*/ 154 w 286"/>
                      <a:gd name="T101" fmla="*/ 117 h 251"/>
                      <a:gd name="T102" fmla="*/ 196 w 286"/>
                      <a:gd name="T103" fmla="*/ 147 h 251"/>
                      <a:gd name="T104" fmla="*/ 185 w 286"/>
                      <a:gd name="T105" fmla="*/ 189 h 2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86" h="251">
                        <a:moveTo>
                          <a:pt x="192" y="0"/>
                        </a:moveTo>
                        <a:cubicBezTo>
                          <a:pt x="146" y="0"/>
                          <a:pt x="146" y="0"/>
                          <a:pt x="146" y="0"/>
                        </a:cubicBezTo>
                        <a:cubicBezTo>
                          <a:pt x="140" y="0"/>
                          <a:pt x="140" y="0"/>
                          <a:pt x="140" y="0"/>
                        </a:cubicBezTo>
                        <a:cubicBezTo>
                          <a:pt x="94" y="0"/>
                          <a:pt x="94" y="0"/>
                          <a:pt x="94" y="0"/>
                        </a:cubicBezTo>
                        <a:cubicBezTo>
                          <a:pt x="79" y="32"/>
                          <a:pt x="0" y="71"/>
                          <a:pt x="1" y="162"/>
                        </a:cubicBezTo>
                        <a:cubicBezTo>
                          <a:pt x="1" y="239"/>
                          <a:pt x="58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143" y="251"/>
                          <a:pt x="143" y="251"/>
                          <a:pt x="143" y="251"/>
                        </a:cubicBezTo>
                        <a:cubicBezTo>
                          <a:pt x="228" y="251"/>
                          <a:pt x="285" y="239"/>
                          <a:pt x="285" y="162"/>
                        </a:cubicBezTo>
                        <a:cubicBezTo>
                          <a:pt x="286" y="71"/>
                          <a:pt x="206" y="32"/>
                          <a:pt x="192" y="0"/>
                        </a:cubicBezTo>
                        <a:close/>
                        <a:moveTo>
                          <a:pt x="185" y="189"/>
                        </a:moveTo>
                        <a:cubicBezTo>
                          <a:pt x="177" y="196"/>
                          <a:pt x="155" y="200"/>
                          <a:pt x="155" y="200"/>
                        </a:cubicBezTo>
                        <a:cubicBezTo>
                          <a:pt x="153" y="200"/>
                          <a:pt x="151" y="202"/>
                          <a:pt x="151" y="204"/>
                        </a:cubicBezTo>
                        <a:cubicBezTo>
                          <a:pt x="151" y="211"/>
                          <a:pt x="151" y="211"/>
                          <a:pt x="151" y="211"/>
                        </a:cubicBezTo>
                        <a:cubicBezTo>
                          <a:pt x="151" y="213"/>
                          <a:pt x="149" y="215"/>
                          <a:pt x="147" y="215"/>
                        </a:cubicBezTo>
                        <a:cubicBezTo>
                          <a:pt x="134" y="215"/>
                          <a:pt x="134" y="215"/>
                          <a:pt x="134" y="215"/>
                        </a:cubicBezTo>
                        <a:cubicBezTo>
                          <a:pt x="132" y="215"/>
                          <a:pt x="131" y="213"/>
                          <a:pt x="131" y="211"/>
                        </a:cubicBezTo>
                        <a:cubicBezTo>
                          <a:pt x="131" y="203"/>
                          <a:pt x="131" y="203"/>
                          <a:pt x="131" y="203"/>
                        </a:cubicBezTo>
                        <a:cubicBezTo>
                          <a:pt x="131" y="201"/>
                          <a:pt x="129" y="199"/>
                          <a:pt x="127" y="198"/>
                        </a:cubicBezTo>
                        <a:cubicBezTo>
                          <a:pt x="127" y="198"/>
                          <a:pt x="96" y="189"/>
                          <a:pt x="89" y="178"/>
                        </a:cubicBezTo>
                        <a:cubicBezTo>
                          <a:pt x="84" y="170"/>
                          <a:pt x="99" y="156"/>
                          <a:pt x="105" y="165"/>
                        </a:cubicBezTo>
                        <a:cubicBezTo>
                          <a:pt x="105" y="166"/>
                          <a:pt x="106" y="166"/>
                          <a:pt x="106" y="167"/>
                        </a:cubicBezTo>
                        <a:cubicBezTo>
                          <a:pt x="106" y="167"/>
                          <a:pt x="105" y="166"/>
                          <a:pt x="107" y="167"/>
                        </a:cubicBezTo>
                        <a:cubicBezTo>
                          <a:pt x="107" y="168"/>
                          <a:pt x="108" y="169"/>
                          <a:pt x="108" y="169"/>
                        </a:cubicBezTo>
                        <a:cubicBezTo>
                          <a:pt x="112" y="172"/>
                          <a:pt x="119" y="176"/>
                          <a:pt x="124" y="178"/>
                        </a:cubicBezTo>
                        <a:cubicBezTo>
                          <a:pt x="126" y="179"/>
                          <a:pt x="127" y="179"/>
                          <a:pt x="127" y="179"/>
                        </a:cubicBezTo>
                        <a:cubicBezTo>
                          <a:pt x="129" y="180"/>
                          <a:pt x="131" y="178"/>
                          <a:pt x="131" y="176"/>
                        </a:cubicBezTo>
                        <a:cubicBezTo>
                          <a:pt x="131" y="132"/>
                          <a:pt x="131" y="132"/>
                          <a:pt x="131" y="132"/>
                        </a:cubicBezTo>
                        <a:cubicBezTo>
                          <a:pt x="131" y="130"/>
                          <a:pt x="129" y="128"/>
                          <a:pt x="127" y="127"/>
                        </a:cubicBezTo>
                        <a:cubicBezTo>
                          <a:pt x="127" y="127"/>
                          <a:pt x="110" y="119"/>
                          <a:pt x="107" y="118"/>
                        </a:cubicBezTo>
                        <a:cubicBezTo>
                          <a:pt x="101" y="114"/>
                          <a:pt x="96" y="108"/>
                          <a:pt x="93" y="102"/>
                        </a:cubicBezTo>
                        <a:cubicBezTo>
                          <a:pt x="86" y="88"/>
                          <a:pt x="89" y="71"/>
                          <a:pt x="101" y="59"/>
                        </a:cubicBezTo>
                        <a:cubicBezTo>
                          <a:pt x="109" y="52"/>
                          <a:pt x="127" y="46"/>
                          <a:pt x="127" y="46"/>
                        </a:cubicBezTo>
                        <a:cubicBezTo>
                          <a:pt x="129" y="46"/>
                          <a:pt x="131" y="44"/>
                          <a:pt x="131" y="42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2"/>
                          <a:pt x="132" y="30"/>
                          <a:pt x="134" y="30"/>
                        </a:cubicBezTo>
                        <a:cubicBezTo>
                          <a:pt x="147" y="30"/>
                          <a:pt x="147" y="30"/>
                          <a:pt x="147" y="30"/>
                        </a:cubicBezTo>
                        <a:cubicBezTo>
                          <a:pt x="149" y="30"/>
                          <a:pt x="151" y="32"/>
                          <a:pt x="151" y="34"/>
                        </a:cubicBezTo>
                        <a:cubicBezTo>
                          <a:pt x="151" y="41"/>
                          <a:pt x="151" y="41"/>
                          <a:pt x="151" y="41"/>
                        </a:cubicBezTo>
                        <a:cubicBezTo>
                          <a:pt x="151" y="43"/>
                          <a:pt x="153" y="45"/>
                          <a:pt x="155" y="45"/>
                        </a:cubicBezTo>
                        <a:cubicBezTo>
                          <a:pt x="155" y="45"/>
                          <a:pt x="158" y="46"/>
                          <a:pt x="162" y="47"/>
                        </a:cubicBezTo>
                        <a:cubicBezTo>
                          <a:pt x="172" y="50"/>
                          <a:pt x="186" y="58"/>
                          <a:pt x="191" y="67"/>
                        </a:cubicBezTo>
                        <a:cubicBezTo>
                          <a:pt x="196" y="75"/>
                          <a:pt x="181" y="88"/>
                          <a:pt x="175" y="79"/>
                        </a:cubicBezTo>
                        <a:cubicBezTo>
                          <a:pt x="175" y="79"/>
                          <a:pt x="174" y="78"/>
                          <a:pt x="174" y="78"/>
                        </a:cubicBezTo>
                        <a:cubicBezTo>
                          <a:pt x="174" y="77"/>
                          <a:pt x="175" y="79"/>
                          <a:pt x="173" y="77"/>
                        </a:cubicBezTo>
                        <a:cubicBezTo>
                          <a:pt x="173" y="76"/>
                          <a:pt x="172" y="76"/>
                          <a:pt x="172" y="75"/>
                        </a:cubicBezTo>
                        <a:cubicBezTo>
                          <a:pt x="168" y="72"/>
                          <a:pt x="161" y="67"/>
                          <a:pt x="156" y="66"/>
                        </a:cubicBezTo>
                        <a:cubicBezTo>
                          <a:pt x="155" y="65"/>
                          <a:pt x="155" y="65"/>
                          <a:pt x="155" y="65"/>
                        </a:cubicBezTo>
                        <a:cubicBezTo>
                          <a:pt x="153" y="64"/>
                          <a:pt x="151" y="66"/>
                          <a:pt x="151" y="68"/>
                        </a:cubicBezTo>
                        <a:cubicBezTo>
                          <a:pt x="151" y="112"/>
                          <a:pt x="151" y="112"/>
                          <a:pt x="151" y="112"/>
                        </a:cubicBezTo>
                        <a:cubicBezTo>
                          <a:pt x="151" y="114"/>
                          <a:pt x="153" y="116"/>
                          <a:pt x="154" y="117"/>
                        </a:cubicBezTo>
                        <a:cubicBezTo>
                          <a:pt x="154" y="117"/>
                          <a:pt x="191" y="132"/>
                          <a:pt x="196" y="147"/>
                        </a:cubicBezTo>
                        <a:cubicBezTo>
                          <a:pt x="201" y="162"/>
                          <a:pt x="196" y="179"/>
                          <a:pt x="185" y="189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</a:ln>
                </p:spPr>
                <p:txBody>
                  <a:bodyPr/>
                  <a:lstStyle/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zh-CN" altLang="en-US">
                      <a:solidFill>
                        <a:prstClr val="black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</p:grpSp>
        </p:grpSp>
        <p:grpSp>
          <p:nvGrpSpPr>
            <p:cNvPr id="11297" name="组合 64"/>
            <p:cNvGrpSpPr/>
            <p:nvPr/>
          </p:nvGrpSpPr>
          <p:grpSpPr bwMode="auto">
            <a:xfrm>
              <a:off x="2015526" y="1263835"/>
              <a:ext cx="1998777" cy="1953425"/>
              <a:chOff x="1826282" y="1309915"/>
              <a:chExt cx="2124189" cy="2076904"/>
            </a:xfrm>
          </p:grpSpPr>
          <p:sp>
            <p:nvSpPr>
              <p:cNvPr id="11298" name="Freeform 19"/>
              <p:cNvSpPr/>
              <p:nvPr/>
            </p:nvSpPr>
            <p:spPr bwMode="auto">
              <a:xfrm>
                <a:off x="1826282" y="1309915"/>
                <a:ext cx="2124189" cy="2076904"/>
              </a:xfrm>
              <a:custGeom>
                <a:avLst/>
                <a:gdLst>
                  <a:gd name="T0" fmla="*/ 2147483646 w 1201"/>
                  <a:gd name="T1" fmla="*/ 2147483646 h 1184"/>
                  <a:gd name="T2" fmla="*/ 0 w 1201"/>
                  <a:gd name="T3" fmla="*/ 2147483646 h 1184"/>
                  <a:gd name="T4" fmla="*/ 0 w 1201"/>
                  <a:gd name="T5" fmla="*/ 0 h 1184"/>
                  <a:gd name="T6" fmla="*/ 2147483646 w 1201"/>
                  <a:gd name="T7" fmla="*/ 0 h 1184"/>
                  <a:gd name="T8" fmla="*/ 2147483646 w 1201"/>
                  <a:gd name="T9" fmla="*/ 2147483646 h 1184"/>
                  <a:gd name="T10" fmla="*/ 2147483646 w 1201"/>
                  <a:gd name="T11" fmla="*/ 2147483646 h 11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01" h="1184">
                    <a:moveTo>
                      <a:pt x="1201" y="1184"/>
                    </a:moveTo>
                    <a:lnTo>
                      <a:pt x="0" y="1184"/>
                    </a:lnTo>
                    <a:lnTo>
                      <a:pt x="0" y="0"/>
                    </a:lnTo>
                    <a:lnTo>
                      <a:pt x="1201" y="0"/>
                    </a:lnTo>
                    <a:lnTo>
                      <a:pt x="1201" y="1184"/>
                    </a:lnTo>
                    <a:close/>
                  </a:path>
                </a:pathLst>
              </a:custGeom>
              <a:solidFill>
                <a:srgbClr val="477B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cxnSp>
            <p:nvCxnSpPr>
              <p:cNvPr id="12" name="直接连接符 11"/>
              <p:cNvCxnSpPr/>
              <p:nvPr/>
            </p:nvCxnSpPr>
            <p:spPr bwMode="auto">
              <a:xfrm>
                <a:off x="1934507" y="1870362"/>
                <a:ext cx="1845574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00" name="矩形 12"/>
              <p:cNvSpPr>
                <a:spLocks noChangeArrowheads="1"/>
              </p:cNvSpPr>
              <p:nvPr/>
            </p:nvSpPr>
            <p:spPr bwMode="auto">
              <a:xfrm>
                <a:off x="1885737" y="1575143"/>
                <a:ext cx="1032468" cy="3211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ts val="1800"/>
                  </a:lnSpc>
                  <a:spcBef>
                    <a:spcPct val="0"/>
                  </a:spcBef>
                  <a:buClr>
                    <a:srgbClr val="0070C0"/>
                  </a:buClr>
                  <a:buFontTx/>
                  <a:buNone/>
                </a:pPr>
                <a:r>
                  <a:rPr lang="zh-CN" altLang="en-US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团队建设</a:t>
                </a:r>
                <a:endPara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301" name="矩形 13"/>
              <p:cNvSpPr>
                <a:spLocks noChangeArrowheads="1"/>
              </p:cNvSpPr>
              <p:nvPr/>
            </p:nvSpPr>
            <p:spPr bwMode="auto">
              <a:xfrm>
                <a:off x="1826282" y="1862533"/>
                <a:ext cx="1953720" cy="10798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ts val="1800"/>
                  </a:lnSpc>
                  <a:spcBef>
                    <a:spcPct val="0"/>
                  </a:spcBef>
                  <a:buClr>
                    <a:srgbClr val="0070C0"/>
                  </a:buClr>
                  <a:buFontTx/>
                  <a:buNone/>
                </a:pP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拥有国内顶尖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制作技术、顶级的</a:t>
                </a:r>
                <a:r>
                  <a:rPr lang="en-US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zh-CN" sz="1200">
                    <a:solidFill>
                      <a:srgbClr val="FFFFFF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设计团队， 坚持精益求精、拒绝平庸的做事精神</a:t>
                </a:r>
                <a:endPara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1267" name="组合 44"/>
          <p:cNvGrpSpPr/>
          <p:nvPr/>
        </p:nvGrpSpPr>
        <p:grpSpPr bwMode="auto">
          <a:xfrm>
            <a:off x="4089400" y="1263650"/>
            <a:ext cx="3959225" cy="2963863"/>
            <a:chOff x="4089393" y="1263835"/>
            <a:chExt cx="3959288" cy="2964293"/>
          </a:xfrm>
        </p:grpSpPr>
        <p:grpSp>
          <p:nvGrpSpPr>
            <p:cNvPr id="11270" name="组合 18"/>
            <p:cNvGrpSpPr/>
            <p:nvPr/>
          </p:nvGrpSpPr>
          <p:grpSpPr bwMode="auto">
            <a:xfrm>
              <a:off x="5100718" y="3284301"/>
              <a:ext cx="942333" cy="943827"/>
              <a:chOff x="5275081" y="3474081"/>
              <a:chExt cx="1001898" cy="1001899"/>
            </a:xfrm>
          </p:grpSpPr>
          <p:sp>
            <p:nvSpPr>
              <p:cNvPr id="11286" name="Freeform 12"/>
              <p:cNvSpPr/>
              <p:nvPr/>
            </p:nvSpPr>
            <p:spPr bwMode="auto">
              <a:xfrm>
                <a:off x="5275081" y="3474081"/>
                <a:ext cx="1001898" cy="1001899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F792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72" name="组合 71"/>
              <p:cNvGrpSpPr/>
              <p:nvPr/>
            </p:nvGrpSpPr>
            <p:grpSpPr>
              <a:xfrm>
                <a:off x="5556206" y="3755206"/>
                <a:ext cx="439648" cy="439648"/>
                <a:chOff x="3672919" y="-1472055"/>
                <a:chExt cx="679654" cy="679654"/>
              </a:xfrm>
              <a:solidFill>
                <a:schemeClr val="bg1"/>
              </a:solidFill>
            </p:grpSpPr>
            <p:sp>
              <p:nvSpPr>
                <p:cNvPr id="73" name="Freeform 74"/>
                <p:cNvSpPr>
                  <a:spLocks noEditPoints="1"/>
                </p:cNvSpPr>
                <p:nvPr/>
              </p:nvSpPr>
              <p:spPr bwMode="auto">
                <a:xfrm>
                  <a:off x="3672919" y="-1472055"/>
                  <a:ext cx="679654" cy="679654"/>
                </a:xfrm>
                <a:custGeom>
                  <a:avLst/>
                  <a:gdLst>
                    <a:gd name="T0" fmla="*/ 95 w 242"/>
                    <a:gd name="T1" fmla="*/ 208 h 242"/>
                    <a:gd name="T2" fmla="*/ 66 w 242"/>
                    <a:gd name="T3" fmla="*/ 210 h 242"/>
                    <a:gd name="T4" fmla="*/ 34 w 242"/>
                    <a:gd name="T5" fmla="*/ 206 h 242"/>
                    <a:gd name="T6" fmla="*/ 30 w 242"/>
                    <a:gd name="T7" fmla="*/ 174 h 242"/>
                    <a:gd name="T8" fmla="*/ 37 w 242"/>
                    <a:gd name="T9" fmla="*/ 155 h 242"/>
                    <a:gd name="T10" fmla="*/ 19 w 242"/>
                    <a:gd name="T11" fmla="*/ 146 h 242"/>
                    <a:gd name="T12" fmla="*/ 0 w 242"/>
                    <a:gd name="T13" fmla="*/ 119 h 242"/>
                    <a:gd name="T14" fmla="*/ 20 w 242"/>
                    <a:gd name="T15" fmla="*/ 95 h 242"/>
                    <a:gd name="T16" fmla="*/ 37 w 242"/>
                    <a:gd name="T17" fmla="*/ 87 h 242"/>
                    <a:gd name="T18" fmla="*/ 31 w 242"/>
                    <a:gd name="T19" fmla="*/ 67 h 242"/>
                    <a:gd name="T20" fmla="*/ 34 w 242"/>
                    <a:gd name="T21" fmla="*/ 34 h 242"/>
                    <a:gd name="T22" fmla="*/ 68 w 242"/>
                    <a:gd name="T23" fmla="*/ 31 h 242"/>
                    <a:gd name="T24" fmla="*/ 88 w 242"/>
                    <a:gd name="T25" fmla="*/ 36 h 242"/>
                    <a:gd name="T26" fmla="*/ 96 w 242"/>
                    <a:gd name="T27" fmla="*/ 20 h 242"/>
                    <a:gd name="T28" fmla="*/ 122 w 242"/>
                    <a:gd name="T29" fmla="*/ 0 h 242"/>
                    <a:gd name="T30" fmla="*/ 146 w 242"/>
                    <a:gd name="T31" fmla="*/ 21 h 242"/>
                    <a:gd name="T32" fmla="*/ 153 w 242"/>
                    <a:gd name="T33" fmla="*/ 36 h 242"/>
                    <a:gd name="T34" fmla="*/ 172 w 242"/>
                    <a:gd name="T35" fmla="*/ 32 h 242"/>
                    <a:gd name="T36" fmla="*/ 208 w 242"/>
                    <a:gd name="T37" fmla="*/ 35 h 242"/>
                    <a:gd name="T38" fmla="*/ 208 w 242"/>
                    <a:gd name="T39" fmla="*/ 69 h 242"/>
                    <a:gd name="T40" fmla="*/ 205 w 242"/>
                    <a:gd name="T41" fmla="*/ 88 h 242"/>
                    <a:gd name="T42" fmla="*/ 220 w 242"/>
                    <a:gd name="T43" fmla="*/ 95 h 242"/>
                    <a:gd name="T44" fmla="*/ 242 w 242"/>
                    <a:gd name="T45" fmla="*/ 120 h 242"/>
                    <a:gd name="T46" fmla="*/ 220 w 242"/>
                    <a:gd name="T47" fmla="*/ 146 h 242"/>
                    <a:gd name="T48" fmla="*/ 205 w 242"/>
                    <a:gd name="T49" fmla="*/ 153 h 242"/>
                    <a:gd name="T50" fmla="*/ 209 w 242"/>
                    <a:gd name="T51" fmla="*/ 172 h 242"/>
                    <a:gd name="T52" fmla="*/ 207 w 242"/>
                    <a:gd name="T53" fmla="*/ 206 h 242"/>
                    <a:gd name="T54" fmla="*/ 172 w 242"/>
                    <a:gd name="T55" fmla="*/ 208 h 242"/>
                    <a:gd name="T56" fmla="*/ 155 w 242"/>
                    <a:gd name="T57" fmla="*/ 204 h 242"/>
                    <a:gd name="T58" fmla="*/ 146 w 242"/>
                    <a:gd name="T59" fmla="*/ 216 h 242"/>
                    <a:gd name="T60" fmla="*/ 117 w 242"/>
                    <a:gd name="T61" fmla="*/ 242 h 242"/>
                    <a:gd name="T62" fmla="*/ 96 w 242"/>
                    <a:gd name="T63" fmla="*/ 213 h 242"/>
                    <a:gd name="T64" fmla="*/ 95 w 242"/>
                    <a:gd name="T65" fmla="*/ 208 h 242"/>
                    <a:gd name="T66" fmla="*/ 121 w 242"/>
                    <a:gd name="T67" fmla="*/ 168 h 242"/>
                    <a:gd name="T68" fmla="*/ 168 w 242"/>
                    <a:gd name="T69" fmla="*/ 120 h 242"/>
                    <a:gd name="T70" fmla="*/ 122 w 242"/>
                    <a:gd name="T71" fmla="*/ 74 h 242"/>
                    <a:gd name="T72" fmla="*/ 74 w 242"/>
                    <a:gd name="T73" fmla="*/ 120 h 242"/>
                    <a:gd name="T74" fmla="*/ 121 w 242"/>
                    <a:gd name="T75" fmla="*/ 168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42" h="242">
                      <a:moveTo>
                        <a:pt x="95" y="208"/>
                      </a:moveTo>
                      <a:cubicBezTo>
                        <a:pt x="85" y="199"/>
                        <a:pt x="76" y="199"/>
                        <a:pt x="66" y="210"/>
                      </a:cubicBezTo>
                      <a:cubicBezTo>
                        <a:pt x="54" y="223"/>
                        <a:pt x="44" y="216"/>
                        <a:pt x="34" y="206"/>
                      </a:cubicBezTo>
                      <a:cubicBezTo>
                        <a:pt x="24" y="196"/>
                        <a:pt x="20" y="187"/>
                        <a:pt x="30" y="174"/>
                      </a:cubicBezTo>
                      <a:cubicBezTo>
                        <a:pt x="34" y="169"/>
                        <a:pt x="39" y="160"/>
                        <a:pt x="37" y="155"/>
                      </a:cubicBezTo>
                      <a:cubicBezTo>
                        <a:pt x="36" y="150"/>
                        <a:pt x="26" y="147"/>
                        <a:pt x="19" y="146"/>
                      </a:cubicBezTo>
                      <a:cubicBezTo>
                        <a:pt x="2" y="144"/>
                        <a:pt x="0" y="133"/>
                        <a:pt x="0" y="119"/>
                      </a:cubicBezTo>
                      <a:cubicBezTo>
                        <a:pt x="0" y="105"/>
                        <a:pt x="5" y="97"/>
                        <a:pt x="20" y="95"/>
                      </a:cubicBezTo>
                      <a:cubicBezTo>
                        <a:pt x="26" y="95"/>
                        <a:pt x="36" y="91"/>
                        <a:pt x="37" y="87"/>
                      </a:cubicBezTo>
                      <a:cubicBezTo>
                        <a:pt x="38" y="81"/>
                        <a:pt x="36" y="72"/>
                        <a:pt x="31" y="67"/>
                      </a:cubicBezTo>
                      <a:cubicBezTo>
                        <a:pt x="20" y="55"/>
                        <a:pt x="23" y="45"/>
                        <a:pt x="34" y="34"/>
                      </a:cubicBezTo>
                      <a:cubicBezTo>
                        <a:pt x="44" y="24"/>
                        <a:pt x="54" y="19"/>
                        <a:pt x="68" y="31"/>
                      </a:cubicBezTo>
                      <a:cubicBezTo>
                        <a:pt x="73" y="35"/>
                        <a:pt x="82" y="38"/>
                        <a:pt x="88" y="36"/>
                      </a:cubicBezTo>
                      <a:cubicBezTo>
                        <a:pt x="92" y="35"/>
                        <a:pt x="95" y="26"/>
                        <a:pt x="96" y="20"/>
                      </a:cubicBezTo>
                      <a:cubicBezTo>
                        <a:pt x="97" y="2"/>
                        <a:pt x="108" y="0"/>
                        <a:pt x="122" y="0"/>
                      </a:cubicBezTo>
                      <a:cubicBezTo>
                        <a:pt x="137" y="0"/>
                        <a:pt x="146" y="4"/>
                        <a:pt x="146" y="21"/>
                      </a:cubicBezTo>
                      <a:cubicBezTo>
                        <a:pt x="146" y="26"/>
                        <a:pt x="150" y="35"/>
                        <a:pt x="153" y="36"/>
                      </a:cubicBezTo>
                      <a:cubicBezTo>
                        <a:pt x="159" y="38"/>
                        <a:pt x="168" y="36"/>
                        <a:pt x="172" y="32"/>
                      </a:cubicBezTo>
                      <a:cubicBezTo>
                        <a:pt x="186" y="20"/>
                        <a:pt x="196" y="23"/>
                        <a:pt x="208" y="35"/>
                      </a:cubicBezTo>
                      <a:cubicBezTo>
                        <a:pt x="220" y="47"/>
                        <a:pt x="220" y="57"/>
                        <a:pt x="208" y="69"/>
                      </a:cubicBezTo>
                      <a:cubicBezTo>
                        <a:pt x="205" y="73"/>
                        <a:pt x="203" y="82"/>
                        <a:pt x="205" y="88"/>
                      </a:cubicBezTo>
                      <a:cubicBezTo>
                        <a:pt x="206" y="92"/>
                        <a:pt x="215" y="95"/>
                        <a:pt x="220" y="95"/>
                      </a:cubicBezTo>
                      <a:cubicBezTo>
                        <a:pt x="237" y="96"/>
                        <a:pt x="242" y="104"/>
                        <a:pt x="242" y="120"/>
                      </a:cubicBezTo>
                      <a:cubicBezTo>
                        <a:pt x="242" y="135"/>
                        <a:pt x="238" y="145"/>
                        <a:pt x="220" y="146"/>
                      </a:cubicBezTo>
                      <a:cubicBezTo>
                        <a:pt x="215" y="146"/>
                        <a:pt x="206" y="150"/>
                        <a:pt x="205" y="153"/>
                      </a:cubicBezTo>
                      <a:cubicBezTo>
                        <a:pt x="203" y="159"/>
                        <a:pt x="205" y="168"/>
                        <a:pt x="209" y="172"/>
                      </a:cubicBezTo>
                      <a:cubicBezTo>
                        <a:pt x="221" y="185"/>
                        <a:pt x="218" y="195"/>
                        <a:pt x="207" y="206"/>
                      </a:cubicBezTo>
                      <a:cubicBezTo>
                        <a:pt x="195" y="218"/>
                        <a:pt x="185" y="220"/>
                        <a:pt x="172" y="208"/>
                      </a:cubicBezTo>
                      <a:cubicBezTo>
                        <a:pt x="168" y="205"/>
                        <a:pt x="160" y="203"/>
                        <a:pt x="155" y="204"/>
                      </a:cubicBezTo>
                      <a:cubicBezTo>
                        <a:pt x="151" y="204"/>
                        <a:pt x="146" y="212"/>
                        <a:pt x="146" y="216"/>
                      </a:cubicBezTo>
                      <a:cubicBezTo>
                        <a:pt x="147" y="237"/>
                        <a:pt x="136" y="242"/>
                        <a:pt x="117" y="242"/>
                      </a:cubicBezTo>
                      <a:cubicBezTo>
                        <a:pt x="97" y="241"/>
                        <a:pt x="95" y="229"/>
                        <a:pt x="96" y="213"/>
                      </a:cubicBezTo>
                      <a:cubicBezTo>
                        <a:pt x="96" y="211"/>
                        <a:pt x="96" y="209"/>
                        <a:pt x="95" y="208"/>
                      </a:cubicBezTo>
                      <a:close/>
                      <a:moveTo>
                        <a:pt x="121" y="168"/>
                      </a:moveTo>
                      <a:cubicBezTo>
                        <a:pt x="146" y="167"/>
                        <a:pt x="169" y="144"/>
                        <a:pt x="168" y="120"/>
                      </a:cubicBezTo>
                      <a:cubicBezTo>
                        <a:pt x="167" y="96"/>
                        <a:pt x="145" y="74"/>
                        <a:pt x="122" y="74"/>
                      </a:cubicBezTo>
                      <a:cubicBezTo>
                        <a:pt x="97" y="73"/>
                        <a:pt x="74" y="96"/>
                        <a:pt x="74" y="120"/>
                      </a:cubicBezTo>
                      <a:cubicBezTo>
                        <a:pt x="74" y="145"/>
                        <a:pt x="97" y="168"/>
                        <a:pt x="121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74" name="Freeform 75"/>
                <p:cNvSpPr/>
                <p:nvPr/>
              </p:nvSpPr>
              <p:spPr bwMode="auto">
                <a:xfrm>
                  <a:off x="3941922" y="-1203052"/>
                  <a:ext cx="144022" cy="141642"/>
                </a:xfrm>
                <a:custGeom>
                  <a:avLst/>
                  <a:gdLst>
                    <a:gd name="T0" fmla="*/ 25 w 51"/>
                    <a:gd name="T1" fmla="*/ 0 h 50"/>
                    <a:gd name="T2" fmla="*/ 50 w 51"/>
                    <a:gd name="T3" fmla="*/ 25 h 50"/>
                    <a:gd name="T4" fmla="*/ 26 w 51"/>
                    <a:gd name="T5" fmla="*/ 49 h 50"/>
                    <a:gd name="T6" fmla="*/ 0 w 51"/>
                    <a:gd name="T7" fmla="*/ 25 h 50"/>
                    <a:gd name="T8" fmla="*/ 25 w 51"/>
                    <a:gd name="T9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1" h="50">
                      <a:moveTo>
                        <a:pt x="25" y="0"/>
                      </a:moveTo>
                      <a:cubicBezTo>
                        <a:pt x="39" y="0"/>
                        <a:pt x="51" y="11"/>
                        <a:pt x="50" y="25"/>
                      </a:cubicBezTo>
                      <a:cubicBezTo>
                        <a:pt x="49" y="40"/>
                        <a:pt x="40" y="48"/>
                        <a:pt x="26" y="49"/>
                      </a:cubicBezTo>
                      <a:cubicBezTo>
                        <a:pt x="11" y="50"/>
                        <a:pt x="0" y="39"/>
                        <a:pt x="0" y="25"/>
                      </a:cubicBezTo>
                      <a:cubicBezTo>
                        <a:pt x="0" y="11"/>
                        <a:pt x="11" y="0"/>
                        <a:pt x="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11271" name="组合 23"/>
            <p:cNvGrpSpPr/>
            <p:nvPr/>
          </p:nvGrpSpPr>
          <p:grpSpPr bwMode="auto">
            <a:xfrm>
              <a:off x="5089159" y="1263835"/>
              <a:ext cx="942333" cy="942333"/>
              <a:chOff x="5275081" y="1314872"/>
              <a:chExt cx="1001898" cy="1001899"/>
            </a:xfrm>
          </p:grpSpPr>
          <p:sp>
            <p:nvSpPr>
              <p:cNvPr id="67" name="Freeform 16"/>
              <p:cNvSpPr/>
              <p:nvPr/>
            </p:nvSpPr>
            <p:spPr bwMode="auto">
              <a:xfrm>
                <a:off x="5275480" y="1314872"/>
                <a:ext cx="1000909" cy="1002727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3220" tIns="46611" rIns="93220" bIns="46611" anchor="ctr"/>
              <a:lstStyle/>
              <a:p>
                <a:pPr algn="ctr" defTabSz="9315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2200">
                  <a:solidFill>
                    <a:prstClr val="black">
                      <a:alpha val="99000"/>
                    </a:prst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5540010" y="1595483"/>
                <a:ext cx="472040" cy="402624"/>
                <a:chOff x="8022689" y="-1167738"/>
                <a:chExt cx="729731" cy="622420"/>
              </a:xfrm>
              <a:solidFill>
                <a:schemeClr val="bg1"/>
              </a:solidFill>
            </p:grpSpPr>
            <p:sp>
              <p:nvSpPr>
                <p:cNvPr id="69" name="Freeform 80"/>
                <p:cNvSpPr/>
                <p:nvPr/>
              </p:nvSpPr>
              <p:spPr bwMode="auto">
                <a:xfrm>
                  <a:off x="8022689" y="-1167738"/>
                  <a:ext cx="729731" cy="622420"/>
                </a:xfrm>
                <a:custGeom>
                  <a:avLst/>
                  <a:gdLst>
                    <a:gd name="T0" fmla="*/ 195 w 248"/>
                    <a:gd name="T1" fmla="*/ 214 h 214"/>
                    <a:gd name="T2" fmla="*/ 145 w 248"/>
                    <a:gd name="T3" fmla="*/ 214 h 214"/>
                    <a:gd name="T4" fmla="*/ 145 w 248"/>
                    <a:gd name="T5" fmla="*/ 145 h 214"/>
                    <a:gd name="T6" fmla="*/ 98 w 248"/>
                    <a:gd name="T7" fmla="*/ 145 h 214"/>
                    <a:gd name="T8" fmla="*/ 98 w 248"/>
                    <a:gd name="T9" fmla="*/ 214 h 214"/>
                    <a:gd name="T10" fmla="*/ 49 w 248"/>
                    <a:gd name="T11" fmla="*/ 214 h 214"/>
                    <a:gd name="T12" fmla="*/ 49 w 248"/>
                    <a:gd name="T13" fmla="*/ 128 h 214"/>
                    <a:gd name="T14" fmla="*/ 33 w 248"/>
                    <a:gd name="T15" fmla="*/ 141 h 214"/>
                    <a:gd name="T16" fmla="*/ 7 w 248"/>
                    <a:gd name="T17" fmla="*/ 137 h 214"/>
                    <a:gd name="T18" fmla="*/ 4 w 248"/>
                    <a:gd name="T19" fmla="*/ 112 h 214"/>
                    <a:gd name="T20" fmla="*/ 106 w 248"/>
                    <a:gd name="T21" fmla="*/ 10 h 214"/>
                    <a:gd name="T22" fmla="*/ 143 w 248"/>
                    <a:gd name="T23" fmla="*/ 15 h 214"/>
                    <a:gd name="T24" fmla="*/ 233 w 248"/>
                    <a:gd name="T25" fmla="*/ 105 h 214"/>
                    <a:gd name="T26" fmla="*/ 236 w 248"/>
                    <a:gd name="T27" fmla="*/ 138 h 214"/>
                    <a:gd name="T28" fmla="*/ 204 w 248"/>
                    <a:gd name="T29" fmla="*/ 136 h 214"/>
                    <a:gd name="T30" fmla="*/ 195 w 248"/>
                    <a:gd name="T31" fmla="*/ 128 h 214"/>
                    <a:gd name="T32" fmla="*/ 195 w 248"/>
                    <a:gd name="T33" fmla="*/ 21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8" h="214">
                      <a:moveTo>
                        <a:pt x="195" y="214"/>
                      </a:moveTo>
                      <a:cubicBezTo>
                        <a:pt x="176" y="214"/>
                        <a:pt x="161" y="214"/>
                        <a:pt x="145" y="214"/>
                      </a:cubicBezTo>
                      <a:cubicBezTo>
                        <a:pt x="145" y="191"/>
                        <a:pt x="145" y="169"/>
                        <a:pt x="145" y="145"/>
                      </a:cubicBezTo>
                      <a:cubicBezTo>
                        <a:pt x="129" y="145"/>
                        <a:pt x="115" y="145"/>
                        <a:pt x="98" y="145"/>
                      </a:cubicBezTo>
                      <a:cubicBezTo>
                        <a:pt x="98" y="167"/>
                        <a:pt x="98" y="190"/>
                        <a:pt x="98" y="214"/>
                      </a:cubicBezTo>
                      <a:cubicBezTo>
                        <a:pt x="81" y="214"/>
                        <a:pt x="66" y="214"/>
                        <a:pt x="49" y="214"/>
                      </a:cubicBezTo>
                      <a:cubicBezTo>
                        <a:pt x="49" y="187"/>
                        <a:pt x="49" y="160"/>
                        <a:pt x="49" y="128"/>
                      </a:cubicBezTo>
                      <a:cubicBezTo>
                        <a:pt x="41" y="135"/>
                        <a:pt x="37" y="141"/>
                        <a:pt x="33" y="141"/>
                      </a:cubicBezTo>
                      <a:cubicBezTo>
                        <a:pt x="24" y="142"/>
                        <a:pt x="12" y="143"/>
                        <a:pt x="7" y="137"/>
                      </a:cubicBezTo>
                      <a:cubicBezTo>
                        <a:pt x="2" y="132"/>
                        <a:pt x="0" y="117"/>
                        <a:pt x="4" y="112"/>
                      </a:cubicBezTo>
                      <a:cubicBezTo>
                        <a:pt x="37" y="77"/>
                        <a:pt x="71" y="43"/>
                        <a:pt x="106" y="10"/>
                      </a:cubicBezTo>
                      <a:cubicBezTo>
                        <a:pt x="117" y="0"/>
                        <a:pt x="132" y="3"/>
                        <a:pt x="143" y="15"/>
                      </a:cubicBezTo>
                      <a:cubicBezTo>
                        <a:pt x="173" y="45"/>
                        <a:pt x="203" y="75"/>
                        <a:pt x="233" y="105"/>
                      </a:cubicBezTo>
                      <a:cubicBezTo>
                        <a:pt x="244" y="115"/>
                        <a:pt x="248" y="126"/>
                        <a:pt x="236" y="138"/>
                      </a:cubicBezTo>
                      <a:cubicBezTo>
                        <a:pt x="225" y="150"/>
                        <a:pt x="214" y="148"/>
                        <a:pt x="204" y="136"/>
                      </a:cubicBezTo>
                      <a:cubicBezTo>
                        <a:pt x="202" y="135"/>
                        <a:pt x="200" y="133"/>
                        <a:pt x="195" y="128"/>
                      </a:cubicBezTo>
                      <a:cubicBezTo>
                        <a:pt x="195" y="159"/>
                        <a:pt x="195" y="186"/>
                        <a:pt x="195" y="2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70" name="Freeform 81"/>
                <p:cNvSpPr/>
                <p:nvPr/>
              </p:nvSpPr>
              <p:spPr bwMode="auto">
                <a:xfrm>
                  <a:off x="8540722" y="-1148018"/>
                  <a:ext cx="120790" cy="183644"/>
                </a:xfrm>
                <a:custGeom>
                  <a:avLst/>
                  <a:gdLst>
                    <a:gd name="T0" fmla="*/ 41 w 41"/>
                    <a:gd name="T1" fmla="*/ 63 h 63"/>
                    <a:gd name="T2" fmla="*/ 10 w 41"/>
                    <a:gd name="T3" fmla="*/ 0 h 63"/>
                    <a:gd name="T4" fmla="*/ 41 w 41"/>
                    <a:gd name="T5" fmla="*/ 0 h 63"/>
                    <a:gd name="T6" fmla="*/ 41 w 41"/>
                    <a:gd name="T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" h="63">
                      <a:moveTo>
                        <a:pt x="41" y="63"/>
                      </a:moveTo>
                      <a:cubicBezTo>
                        <a:pt x="18" y="46"/>
                        <a:pt x="0" y="31"/>
                        <a:pt x="10" y="0"/>
                      </a:cubicBezTo>
                      <a:cubicBezTo>
                        <a:pt x="20" y="0"/>
                        <a:pt x="30" y="0"/>
                        <a:pt x="41" y="0"/>
                      </a:cubicBezTo>
                      <a:cubicBezTo>
                        <a:pt x="41" y="20"/>
                        <a:pt x="41" y="40"/>
                        <a:pt x="4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11272" name="组合 40"/>
            <p:cNvGrpSpPr/>
            <p:nvPr/>
          </p:nvGrpSpPr>
          <p:grpSpPr bwMode="auto">
            <a:xfrm>
              <a:off x="6098500" y="1263835"/>
              <a:ext cx="940840" cy="942333"/>
              <a:chOff x="6430978" y="1321495"/>
              <a:chExt cx="1000087" cy="1001899"/>
            </a:xfrm>
          </p:grpSpPr>
          <p:sp>
            <p:nvSpPr>
              <p:cNvPr id="11282" name="Freeform 17"/>
              <p:cNvSpPr/>
              <p:nvPr/>
            </p:nvSpPr>
            <p:spPr bwMode="auto">
              <a:xfrm>
                <a:off x="6430978" y="1321495"/>
                <a:ext cx="1000087" cy="1001899"/>
              </a:xfrm>
              <a:custGeom>
                <a:avLst/>
                <a:gdLst>
                  <a:gd name="T0" fmla="*/ 2147483646 w 552"/>
                  <a:gd name="T1" fmla="*/ 2147483646 h 553"/>
                  <a:gd name="T2" fmla="*/ 0 w 552"/>
                  <a:gd name="T3" fmla="*/ 2147483646 h 553"/>
                  <a:gd name="T4" fmla="*/ 0 w 552"/>
                  <a:gd name="T5" fmla="*/ 0 h 553"/>
                  <a:gd name="T6" fmla="*/ 2147483646 w 552"/>
                  <a:gd name="T7" fmla="*/ 0 h 553"/>
                  <a:gd name="T8" fmla="*/ 2147483646 w 552"/>
                  <a:gd name="T9" fmla="*/ 2147483646 h 553"/>
                  <a:gd name="T10" fmla="*/ 2147483646 w 552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2" h="553">
                    <a:moveTo>
                      <a:pt x="552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2" y="0"/>
                    </a:lnTo>
                    <a:lnTo>
                      <a:pt x="552" y="553"/>
                    </a:lnTo>
                    <a:close/>
                  </a:path>
                </a:pathLst>
              </a:custGeom>
              <a:solidFill>
                <a:srgbClr val="F792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83" name="Freeform 29"/>
              <p:cNvSpPr>
                <a:spLocks noEditPoints="1"/>
              </p:cNvSpPr>
              <p:nvPr/>
            </p:nvSpPr>
            <p:spPr bwMode="auto">
              <a:xfrm>
                <a:off x="6749598" y="1645675"/>
                <a:ext cx="362846" cy="353540"/>
              </a:xfrm>
              <a:custGeom>
                <a:avLst/>
                <a:gdLst>
                  <a:gd name="T0" fmla="*/ 2147483646 w 33"/>
                  <a:gd name="T1" fmla="*/ 2147483646 h 32"/>
                  <a:gd name="T2" fmla="*/ 2147483646 w 33"/>
                  <a:gd name="T3" fmla="*/ 0 h 32"/>
                  <a:gd name="T4" fmla="*/ 2147483646 w 33"/>
                  <a:gd name="T5" fmla="*/ 0 h 32"/>
                  <a:gd name="T6" fmla="*/ 2147483646 w 33"/>
                  <a:gd name="T7" fmla="*/ 0 h 32"/>
                  <a:gd name="T8" fmla="*/ 2147483646 w 33"/>
                  <a:gd name="T9" fmla="*/ 2147483646 h 32"/>
                  <a:gd name="T10" fmla="*/ 2147483646 w 33"/>
                  <a:gd name="T11" fmla="*/ 2147483646 h 32"/>
                  <a:gd name="T12" fmla="*/ 2147483646 w 33"/>
                  <a:gd name="T13" fmla="*/ 2147483646 h 32"/>
                  <a:gd name="T14" fmla="*/ 2147483646 w 33"/>
                  <a:gd name="T15" fmla="*/ 2147483646 h 32"/>
                  <a:gd name="T16" fmla="*/ 2147483646 w 33"/>
                  <a:gd name="T17" fmla="*/ 2147483646 h 32"/>
                  <a:gd name="T18" fmla="*/ 0 w 33"/>
                  <a:gd name="T19" fmla="*/ 2147483646 h 32"/>
                  <a:gd name="T20" fmla="*/ 2147483646 w 33"/>
                  <a:gd name="T21" fmla="*/ 2147483646 h 32"/>
                  <a:gd name="T22" fmla="*/ 2147483646 w 33"/>
                  <a:gd name="T23" fmla="*/ 2147483646 h 32"/>
                  <a:gd name="T24" fmla="*/ 2147483646 w 33"/>
                  <a:gd name="T25" fmla="*/ 2147483646 h 32"/>
                  <a:gd name="T26" fmla="*/ 2147483646 w 33"/>
                  <a:gd name="T27" fmla="*/ 2147483646 h 32"/>
                  <a:gd name="T28" fmla="*/ 2147483646 w 33"/>
                  <a:gd name="T29" fmla="*/ 2147483646 h 32"/>
                  <a:gd name="T30" fmla="*/ 2147483646 w 33"/>
                  <a:gd name="T31" fmla="*/ 2147483646 h 32"/>
                  <a:gd name="T32" fmla="*/ 2147483646 w 33"/>
                  <a:gd name="T33" fmla="*/ 2147483646 h 32"/>
                  <a:gd name="T34" fmla="*/ 2147483646 w 33"/>
                  <a:gd name="T35" fmla="*/ 2147483646 h 32"/>
                  <a:gd name="T36" fmla="*/ 2147483646 w 33"/>
                  <a:gd name="T37" fmla="*/ 2147483646 h 32"/>
                  <a:gd name="T38" fmla="*/ 2147483646 w 33"/>
                  <a:gd name="T39" fmla="*/ 2147483646 h 32"/>
                  <a:gd name="T40" fmla="*/ 2147483646 w 33"/>
                  <a:gd name="T41" fmla="*/ 2147483646 h 32"/>
                  <a:gd name="T42" fmla="*/ 2147483646 w 33"/>
                  <a:gd name="T43" fmla="*/ 2147483646 h 32"/>
                  <a:gd name="T44" fmla="*/ 2147483646 w 33"/>
                  <a:gd name="T45" fmla="*/ 2147483646 h 32"/>
                  <a:gd name="T46" fmla="*/ 2147483646 w 33"/>
                  <a:gd name="T47" fmla="*/ 2147483646 h 32"/>
                  <a:gd name="T48" fmla="*/ 2147483646 w 33"/>
                  <a:gd name="T49" fmla="*/ 2147483646 h 32"/>
                  <a:gd name="T50" fmla="*/ 2147483646 w 33"/>
                  <a:gd name="T51" fmla="*/ 2147483646 h 32"/>
                  <a:gd name="T52" fmla="*/ 2147483646 w 33"/>
                  <a:gd name="T53" fmla="*/ 2147483646 h 32"/>
                  <a:gd name="T54" fmla="*/ 2147483646 w 33"/>
                  <a:gd name="T55" fmla="*/ 2147483646 h 32"/>
                  <a:gd name="T56" fmla="*/ 2147483646 w 33"/>
                  <a:gd name="T57" fmla="*/ 2147483646 h 32"/>
                  <a:gd name="T58" fmla="*/ 2147483646 w 33"/>
                  <a:gd name="T59" fmla="*/ 2147483646 h 32"/>
                  <a:gd name="T60" fmla="*/ 2147483646 w 33"/>
                  <a:gd name="T61" fmla="*/ 2147483646 h 32"/>
                  <a:gd name="T62" fmla="*/ 2147483646 w 33"/>
                  <a:gd name="T63" fmla="*/ 2147483646 h 32"/>
                  <a:gd name="T64" fmla="*/ 2147483646 w 33"/>
                  <a:gd name="T65" fmla="*/ 2147483646 h 32"/>
                  <a:gd name="T66" fmla="*/ 2147483646 w 33"/>
                  <a:gd name="T67" fmla="*/ 2147483646 h 32"/>
                  <a:gd name="T68" fmla="*/ 2147483646 w 33"/>
                  <a:gd name="T69" fmla="*/ 2147483646 h 32"/>
                  <a:gd name="T70" fmla="*/ 2147483646 w 33"/>
                  <a:gd name="T71" fmla="*/ 2147483646 h 32"/>
                  <a:gd name="T72" fmla="*/ 2147483646 w 33"/>
                  <a:gd name="T73" fmla="*/ 2147483646 h 32"/>
                  <a:gd name="T74" fmla="*/ 2147483646 w 33"/>
                  <a:gd name="T75" fmla="*/ 2147483646 h 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3" h="32">
                    <a:moveTo>
                      <a:pt x="2" y="16"/>
                    </a:moveTo>
                    <a:cubicBezTo>
                      <a:pt x="8" y="16"/>
                      <a:pt x="8" y="16"/>
                      <a:pt x="8" y="16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9" y="0"/>
                      <a:pt x="1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2" y="16"/>
                      <a:pt x="33" y="17"/>
                      <a:pt x="33" y="1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2" y="32"/>
                      <a:pt x="31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2"/>
                      <a:pt x="0" y="31"/>
                      <a:pt x="0" y="3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1" y="16"/>
                      <a:pt x="2" y="16"/>
                    </a:cubicBezTo>
                    <a:close/>
                    <a:moveTo>
                      <a:pt x="10" y="16"/>
                    </a:move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7"/>
                      <a:pt x="12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5"/>
                      <a:pt x="12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2"/>
                      <a:pt x="10" y="3"/>
                      <a:pt x="10" y="4"/>
                    </a:cubicBezTo>
                    <a:cubicBezTo>
                      <a:pt x="10" y="16"/>
                      <a:pt x="10" y="16"/>
                      <a:pt x="10" y="16"/>
                    </a:cubicBezTo>
                    <a:close/>
                    <a:moveTo>
                      <a:pt x="12" y="10"/>
                    </a:move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1" y="9"/>
                      <a:pt x="21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9"/>
                      <a:pt x="12" y="9"/>
                      <a:pt x="12" y="10"/>
                    </a:cubicBezTo>
                    <a:close/>
                    <a:moveTo>
                      <a:pt x="21" y="13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13"/>
                      <a:pt x="12" y="13"/>
                      <a:pt x="12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2" y="15"/>
                      <a:pt x="22" y="14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13"/>
                      <a:pt x="21" y="13"/>
                      <a:pt x="21" y="13"/>
                    </a:cubicBezTo>
                    <a:close/>
                    <a:moveTo>
                      <a:pt x="19" y="6"/>
                    </a:moveTo>
                    <a:cubicBezTo>
                      <a:pt x="24" y="6"/>
                      <a:pt x="24" y="6"/>
                      <a:pt x="24" y="6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lose/>
                    <a:moveTo>
                      <a:pt x="8" y="22"/>
                    </a:moveTo>
                    <a:cubicBezTo>
                      <a:pt x="7" y="24"/>
                      <a:pt x="6" y="25"/>
                      <a:pt x="6" y="26"/>
                    </a:cubicBezTo>
                    <a:cubicBezTo>
                      <a:pt x="6" y="26"/>
                      <a:pt x="7" y="27"/>
                      <a:pt x="7" y="27"/>
                    </a:cubicBezTo>
                    <a:cubicBezTo>
                      <a:pt x="7" y="27"/>
                      <a:pt x="8" y="27"/>
                      <a:pt x="8" y="27"/>
                    </a:cubicBezTo>
                    <a:cubicBezTo>
                      <a:pt x="10" y="27"/>
                      <a:pt x="11" y="27"/>
                      <a:pt x="12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4"/>
                      <a:pt x="13" y="23"/>
                      <a:pt x="17" y="23"/>
                    </a:cubicBezTo>
                    <a:cubicBezTo>
                      <a:pt x="20" y="23"/>
                      <a:pt x="21" y="24"/>
                      <a:pt x="22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7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7" y="26"/>
                    </a:cubicBezTo>
                    <a:cubicBezTo>
                      <a:pt x="27" y="25"/>
                      <a:pt x="26" y="24"/>
                      <a:pt x="25" y="22"/>
                    </a:cubicBezTo>
                    <a:cubicBezTo>
                      <a:pt x="23" y="21"/>
                      <a:pt x="20" y="21"/>
                      <a:pt x="17" y="21"/>
                    </a:cubicBezTo>
                    <a:cubicBezTo>
                      <a:pt x="15" y="21"/>
                      <a:pt x="13" y="21"/>
                      <a:pt x="12" y="21"/>
                    </a:cubicBezTo>
                    <a:cubicBezTo>
                      <a:pt x="11" y="21"/>
                      <a:pt x="9" y="22"/>
                      <a:pt x="8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1273" name="组合 43"/>
            <p:cNvGrpSpPr/>
            <p:nvPr/>
          </p:nvGrpSpPr>
          <p:grpSpPr bwMode="auto">
            <a:xfrm>
              <a:off x="7106348" y="1263835"/>
              <a:ext cx="942333" cy="942333"/>
              <a:chOff x="7504407" y="1314872"/>
              <a:chExt cx="1001898" cy="1001899"/>
            </a:xfrm>
          </p:grpSpPr>
          <p:sp>
            <p:nvSpPr>
              <p:cNvPr id="11280" name="Freeform 18"/>
              <p:cNvSpPr/>
              <p:nvPr/>
            </p:nvSpPr>
            <p:spPr bwMode="auto">
              <a:xfrm>
                <a:off x="7504407" y="1314872"/>
                <a:ext cx="1001898" cy="1001899"/>
              </a:xfrm>
              <a:custGeom>
                <a:avLst/>
                <a:gdLst>
                  <a:gd name="T0" fmla="*/ 2147483646 w 553"/>
                  <a:gd name="T1" fmla="*/ 2147483646 h 553"/>
                  <a:gd name="T2" fmla="*/ 0 w 553"/>
                  <a:gd name="T3" fmla="*/ 2147483646 h 553"/>
                  <a:gd name="T4" fmla="*/ 0 w 553"/>
                  <a:gd name="T5" fmla="*/ 0 h 553"/>
                  <a:gd name="T6" fmla="*/ 2147483646 w 553"/>
                  <a:gd name="T7" fmla="*/ 0 h 553"/>
                  <a:gd name="T8" fmla="*/ 2147483646 w 553"/>
                  <a:gd name="T9" fmla="*/ 2147483646 h 553"/>
                  <a:gd name="T10" fmla="*/ 2147483646 w 553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3">
                    <a:moveTo>
                      <a:pt x="553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3"/>
                    </a:lnTo>
                    <a:close/>
                  </a:path>
                </a:pathLst>
              </a:custGeom>
              <a:solidFill>
                <a:srgbClr val="FFC000">
                  <a:alpha val="7490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81" name="Freeform 90"/>
              <p:cNvSpPr>
                <a:spLocks noEditPoints="1"/>
              </p:cNvSpPr>
              <p:nvPr/>
            </p:nvSpPr>
            <p:spPr bwMode="auto">
              <a:xfrm>
                <a:off x="7767634" y="1523094"/>
                <a:ext cx="475448" cy="547404"/>
              </a:xfrm>
              <a:custGeom>
                <a:avLst/>
                <a:gdLst>
                  <a:gd name="T0" fmla="*/ 2147483646 w 78"/>
                  <a:gd name="T1" fmla="*/ 2147483646 h 90"/>
                  <a:gd name="T2" fmla="*/ 2147483646 w 78"/>
                  <a:gd name="T3" fmla="*/ 2147483646 h 90"/>
                  <a:gd name="T4" fmla="*/ 2147483646 w 78"/>
                  <a:gd name="T5" fmla="*/ 2147483646 h 90"/>
                  <a:gd name="T6" fmla="*/ 2147483646 w 78"/>
                  <a:gd name="T7" fmla="*/ 2147483646 h 90"/>
                  <a:gd name="T8" fmla="*/ 2147483646 w 78"/>
                  <a:gd name="T9" fmla="*/ 2147483646 h 90"/>
                  <a:gd name="T10" fmla="*/ 2147483646 w 78"/>
                  <a:gd name="T11" fmla="*/ 2147483646 h 90"/>
                  <a:gd name="T12" fmla="*/ 2147483646 w 78"/>
                  <a:gd name="T13" fmla="*/ 2147483646 h 90"/>
                  <a:gd name="T14" fmla="*/ 2147483646 w 78"/>
                  <a:gd name="T15" fmla="*/ 2147483646 h 90"/>
                  <a:gd name="T16" fmla="*/ 2147483646 w 78"/>
                  <a:gd name="T17" fmla="*/ 2147483646 h 90"/>
                  <a:gd name="T18" fmla="*/ 2147483646 w 78"/>
                  <a:gd name="T19" fmla="*/ 2147483646 h 90"/>
                  <a:gd name="T20" fmla="*/ 2147483646 w 78"/>
                  <a:gd name="T21" fmla="*/ 2147483646 h 90"/>
                  <a:gd name="T22" fmla="*/ 2147483646 w 78"/>
                  <a:gd name="T23" fmla="*/ 2147483646 h 90"/>
                  <a:gd name="T24" fmla="*/ 2147483646 w 78"/>
                  <a:gd name="T25" fmla="*/ 2147483646 h 90"/>
                  <a:gd name="T26" fmla="*/ 2147483646 w 78"/>
                  <a:gd name="T27" fmla="*/ 2147483646 h 90"/>
                  <a:gd name="T28" fmla="*/ 2147483646 w 78"/>
                  <a:gd name="T29" fmla="*/ 2147483646 h 90"/>
                  <a:gd name="T30" fmla="*/ 2147483646 w 78"/>
                  <a:gd name="T31" fmla="*/ 2147483646 h 90"/>
                  <a:gd name="T32" fmla="*/ 2147483646 w 78"/>
                  <a:gd name="T33" fmla="*/ 2147483646 h 90"/>
                  <a:gd name="T34" fmla="*/ 2147483646 w 78"/>
                  <a:gd name="T35" fmla="*/ 2147483646 h 90"/>
                  <a:gd name="T36" fmla="*/ 2147483646 w 78"/>
                  <a:gd name="T37" fmla="*/ 2147483646 h 90"/>
                  <a:gd name="T38" fmla="*/ 2147483646 w 78"/>
                  <a:gd name="T39" fmla="*/ 2147483646 h 90"/>
                  <a:gd name="T40" fmla="*/ 2147483646 w 78"/>
                  <a:gd name="T41" fmla="*/ 2147483646 h 90"/>
                  <a:gd name="T42" fmla="*/ 2147483646 w 78"/>
                  <a:gd name="T43" fmla="*/ 0 h 90"/>
                  <a:gd name="T44" fmla="*/ 2147483646 w 78"/>
                  <a:gd name="T45" fmla="*/ 2147483646 h 90"/>
                  <a:gd name="T46" fmla="*/ 2147483646 w 78"/>
                  <a:gd name="T47" fmla="*/ 2147483646 h 90"/>
                  <a:gd name="T48" fmla="*/ 2147483646 w 78"/>
                  <a:gd name="T49" fmla="*/ 2147483646 h 90"/>
                  <a:gd name="T50" fmla="*/ 2147483646 w 78"/>
                  <a:gd name="T51" fmla="*/ 2147483646 h 90"/>
                  <a:gd name="T52" fmla="*/ 0 w 78"/>
                  <a:gd name="T53" fmla="*/ 2147483646 h 90"/>
                  <a:gd name="T54" fmla="*/ 2147483646 w 78"/>
                  <a:gd name="T55" fmla="*/ 2147483646 h 90"/>
                  <a:gd name="T56" fmla="*/ 2147483646 w 78"/>
                  <a:gd name="T57" fmla="*/ 2147483646 h 90"/>
                  <a:gd name="T58" fmla="*/ 2147483646 w 78"/>
                  <a:gd name="T59" fmla="*/ 2147483646 h 90"/>
                  <a:gd name="T60" fmla="*/ 2147483646 w 78"/>
                  <a:gd name="T61" fmla="*/ 2147483646 h 90"/>
                  <a:gd name="T62" fmla="*/ 2147483646 w 78"/>
                  <a:gd name="T63" fmla="*/ 2147483646 h 90"/>
                  <a:gd name="T64" fmla="*/ 2147483646 w 78"/>
                  <a:gd name="T65" fmla="*/ 2147483646 h 90"/>
                  <a:gd name="T66" fmla="*/ 2147483646 w 78"/>
                  <a:gd name="T67" fmla="*/ 2147483646 h 90"/>
                  <a:gd name="T68" fmla="*/ 2147483646 w 78"/>
                  <a:gd name="T69" fmla="*/ 2147483646 h 90"/>
                  <a:gd name="T70" fmla="*/ 2147483646 w 78"/>
                  <a:gd name="T71" fmla="*/ 2147483646 h 90"/>
                  <a:gd name="T72" fmla="*/ 2147483646 w 78"/>
                  <a:gd name="T73" fmla="*/ 2147483646 h 90"/>
                  <a:gd name="T74" fmla="*/ 2147483646 w 78"/>
                  <a:gd name="T75" fmla="*/ 2147483646 h 90"/>
                  <a:gd name="T76" fmla="*/ 2147483646 w 78"/>
                  <a:gd name="T77" fmla="*/ 2147483646 h 90"/>
                  <a:gd name="T78" fmla="*/ 2147483646 w 78"/>
                  <a:gd name="T79" fmla="*/ 2147483646 h 90"/>
                  <a:gd name="T80" fmla="*/ 2147483646 w 78"/>
                  <a:gd name="T81" fmla="*/ 2147483646 h 90"/>
                  <a:gd name="T82" fmla="*/ 2147483646 w 78"/>
                  <a:gd name="T83" fmla="*/ 2147483646 h 90"/>
                  <a:gd name="T84" fmla="*/ 2147483646 w 78"/>
                  <a:gd name="T85" fmla="*/ 2147483646 h 90"/>
                  <a:gd name="T86" fmla="*/ 2147483646 w 78"/>
                  <a:gd name="T87" fmla="*/ 2147483646 h 90"/>
                  <a:gd name="T88" fmla="*/ 2147483646 w 78"/>
                  <a:gd name="T89" fmla="*/ 2147483646 h 90"/>
                  <a:gd name="T90" fmla="*/ 2147483646 w 78"/>
                  <a:gd name="T91" fmla="*/ 2147483646 h 90"/>
                  <a:gd name="T92" fmla="*/ 2147483646 w 78"/>
                  <a:gd name="T93" fmla="*/ 2147483646 h 90"/>
                  <a:gd name="T94" fmla="*/ 2147483646 w 78"/>
                  <a:gd name="T95" fmla="*/ 2147483646 h 90"/>
                  <a:gd name="T96" fmla="*/ 2147483646 w 78"/>
                  <a:gd name="T97" fmla="*/ 2147483646 h 90"/>
                  <a:gd name="T98" fmla="*/ 2147483646 w 78"/>
                  <a:gd name="T99" fmla="*/ 2147483646 h 90"/>
                  <a:gd name="T100" fmla="*/ 2147483646 w 78"/>
                  <a:gd name="T101" fmla="*/ 2147483646 h 90"/>
                  <a:gd name="T102" fmla="*/ 2147483646 w 78"/>
                  <a:gd name="T103" fmla="*/ 2147483646 h 90"/>
                  <a:gd name="T104" fmla="*/ 2147483646 w 78"/>
                  <a:gd name="T105" fmla="*/ 2147483646 h 90"/>
                  <a:gd name="T106" fmla="*/ 2147483646 w 78"/>
                  <a:gd name="T107" fmla="*/ 2147483646 h 90"/>
                  <a:gd name="T108" fmla="*/ 2147483646 w 78"/>
                  <a:gd name="T109" fmla="*/ 2147483646 h 90"/>
                  <a:gd name="T110" fmla="*/ 2147483646 w 78"/>
                  <a:gd name="T111" fmla="*/ 2147483646 h 90"/>
                  <a:gd name="T112" fmla="*/ 2147483646 w 78"/>
                  <a:gd name="T113" fmla="*/ 2147483646 h 90"/>
                  <a:gd name="T114" fmla="*/ 2147483646 w 78"/>
                  <a:gd name="T115" fmla="*/ 2147483646 h 90"/>
                  <a:gd name="T116" fmla="*/ 2147483646 w 78"/>
                  <a:gd name="T117" fmla="*/ 2147483646 h 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78" h="90">
                    <a:moveTo>
                      <a:pt x="2" y="85"/>
                    </a:moveTo>
                    <a:cubicBezTo>
                      <a:pt x="61" y="85"/>
                      <a:pt x="61" y="85"/>
                      <a:pt x="61" y="85"/>
                    </a:cubicBezTo>
                    <a:cubicBezTo>
                      <a:pt x="61" y="87"/>
                      <a:pt x="61" y="87"/>
                      <a:pt x="61" y="87"/>
                    </a:cubicBezTo>
                    <a:cubicBezTo>
                      <a:pt x="61" y="89"/>
                      <a:pt x="60" y="90"/>
                      <a:pt x="59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4" y="90"/>
                      <a:pt x="2" y="89"/>
                      <a:pt x="2" y="87"/>
                    </a:cubicBezTo>
                    <a:cubicBezTo>
                      <a:pt x="2" y="85"/>
                      <a:pt x="2" y="85"/>
                      <a:pt x="2" y="85"/>
                    </a:cubicBezTo>
                    <a:close/>
                    <a:moveTo>
                      <a:pt x="15" y="33"/>
                    </a:moveTo>
                    <a:cubicBezTo>
                      <a:pt x="14" y="31"/>
                      <a:pt x="14" y="26"/>
                      <a:pt x="19" y="23"/>
                    </a:cubicBezTo>
                    <a:cubicBezTo>
                      <a:pt x="26" y="20"/>
                      <a:pt x="27" y="15"/>
                      <a:pt x="25" y="11"/>
                    </a:cubicBezTo>
                    <a:cubicBezTo>
                      <a:pt x="25" y="11"/>
                      <a:pt x="29" y="14"/>
                      <a:pt x="27" y="19"/>
                    </a:cubicBezTo>
                    <a:cubicBezTo>
                      <a:pt x="25" y="24"/>
                      <a:pt x="20" y="28"/>
                      <a:pt x="22" y="33"/>
                    </a:cubicBezTo>
                    <a:cubicBezTo>
                      <a:pt x="15" y="33"/>
                      <a:pt x="15" y="33"/>
                      <a:pt x="15" y="33"/>
                    </a:cubicBezTo>
                    <a:close/>
                    <a:moveTo>
                      <a:pt x="41" y="33"/>
                    </a:moveTo>
                    <a:cubicBezTo>
                      <a:pt x="39" y="30"/>
                      <a:pt x="38" y="27"/>
                      <a:pt x="41" y="23"/>
                    </a:cubicBezTo>
                    <a:cubicBezTo>
                      <a:pt x="41" y="23"/>
                      <a:pt x="40" y="29"/>
                      <a:pt x="46" y="32"/>
                    </a:cubicBezTo>
                    <a:cubicBezTo>
                      <a:pt x="47" y="32"/>
                      <a:pt x="48" y="32"/>
                      <a:pt x="49" y="33"/>
                    </a:cubicBezTo>
                    <a:cubicBezTo>
                      <a:pt x="41" y="33"/>
                      <a:pt x="41" y="33"/>
                      <a:pt x="41" y="33"/>
                    </a:cubicBezTo>
                    <a:close/>
                    <a:moveTo>
                      <a:pt x="29" y="33"/>
                    </a:moveTo>
                    <a:cubicBezTo>
                      <a:pt x="36" y="33"/>
                      <a:pt x="36" y="33"/>
                      <a:pt x="36" y="33"/>
                    </a:cubicBezTo>
                    <a:cubicBezTo>
                      <a:pt x="32" y="26"/>
                      <a:pt x="38" y="23"/>
                      <a:pt x="40" y="16"/>
                    </a:cubicBezTo>
                    <a:cubicBezTo>
                      <a:pt x="43" y="8"/>
                      <a:pt x="34" y="0"/>
                      <a:pt x="34" y="0"/>
                    </a:cubicBezTo>
                    <a:cubicBezTo>
                      <a:pt x="43" y="18"/>
                      <a:pt x="29" y="18"/>
                      <a:pt x="28" y="27"/>
                    </a:cubicBezTo>
                    <a:cubicBezTo>
                      <a:pt x="28" y="29"/>
                      <a:pt x="28" y="32"/>
                      <a:pt x="29" y="33"/>
                    </a:cubicBezTo>
                    <a:close/>
                    <a:moveTo>
                      <a:pt x="32" y="38"/>
                    </a:moveTo>
                    <a:cubicBezTo>
                      <a:pt x="6" y="38"/>
                      <a:pt x="6" y="38"/>
                      <a:pt x="6" y="38"/>
                    </a:cubicBezTo>
                    <a:cubicBezTo>
                      <a:pt x="6" y="38"/>
                      <a:pt x="0" y="37"/>
                      <a:pt x="0" y="43"/>
                    </a:cubicBezTo>
                    <a:cubicBezTo>
                      <a:pt x="0" y="50"/>
                      <a:pt x="2" y="63"/>
                      <a:pt x="6" y="70"/>
                    </a:cubicBezTo>
                    <a:cubicBezTo>
                      <a:pt x="11" y="78"/>
                      <a:pt x="19" y="81"/>
                      <a:pt x="32" y="81"/>
                    </a:cubicBezTo>
                    <a:cubicBezTo>
                      <a:pt x="45" y="81"/>
                      <a:pt x="53" y="78"/>
                      <a:pt x="57" y="70"/>
                    </a:cubicBezTo>
                    <a:cubicBezTo>
                      <a:pt x="58" y="70"/>
                      <a:pt x="58" y="69"/>
                      <a:pt x="59" y="68"/>
                    </a:cubicBezTo>
                    <a:cubicBezTo>
                      <a:pt x="60" y="68"/>
                      <a:pt x="60" y="68"/>
                      <a:pt x="61" y="68"/>
                    </a:cubicBezTo>
                    <a:cubicBezTo>
                      <a:pt x="66" y="68"/>
                      <a:pt x="70" y="66"/>
                      <a:pt x="73" y="64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6" y="61"/>
                      <a:pt x="77" y="58"/>
                      <a:pt x="78" y="55"/>
                    </a:cubicBezTo>
                    <a:cubicBezTo>
                      <a:pt x="78" y="54"/>
                      <a:pt x="78" y="54"/>
                      <a:pt x="78" y="53"/>
                    </a:cubicBezTo>
                    <a:cubicBezTo>
                      <a:pt x="78" y="50"/>
                      <a:pt x="77" y="48"/>
                      <a:pt x="76" y="47"/>
                    </a:cubicBezTo>
                    <a:cubicBezTo>
                      <a:pt x="74" y="44"/>
                      <a:pt x="71" y="43"/>
                      <a:pt x="69" y="43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3" y="37"/>
                      <a:pt x="58" y="38"/>
                      <a:pt x="58" y="38"/>
                    </a:cubicBezTo>
                    <a:cubicBezTo>
                      <a:pt x="32" y="38"/>
                      <a:pt x="32" y="38"/>
                      <a:pt x="32" y="38"/>
                    </a:cubicBezTo>
                    <a:close/>
                    <a:moveTo>
                      <a:pt x="57" y="40"/>
                    </a:moveTo>
                    <a:cubicBezTo>
                      <a:pt x="60" y="40"/>
                      <a:pt x="60" y="43"/>
                      <a:pt x="57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8" y="47"/>
                      <a:pt x="7" y="53"/>
                      <a:pt x="13" y="63"/>
                    </a:cubicBezTo>
                    <a:cubicBezTo>
                      <a:pt x="11" y="61"/>
                      <a:pt x="6" y="57"/>
                      <a:pt x="6" y="43"/>
                    </a:cubicBezTo>
                    <a:cubicBezTo>
                      <a:pt x="6" y="41"/>
                      <a:pt x="6" y="40"/>
                      <a:pt x="9" y="40"/>
                    </a:cubicBezTo>
                    <a:cubicBezTo>
                      <a:pt x="57" y="40"/>
                      <a:pt x="57" y="40"/>
                      <a:pt x="57" y="40"/>
                    </a:cubicBezTo>
                    <a:close/>
                    <a:moveTo>
                      <a:pt x="61" y="62"/>
                    </a:moveTo>
                    <a:cubicBezTo>
                      <a:pt x="62" y="58"/>
                      <a:pt x="63" y="53"/>
                      <a:pt x="63" y="49"/>
                    </a:cubicBezTo>
                    <a:cubicBezTo>
                      <a:pt x="69" y="49"/>
                      <a:pt x="69" y="49"/>
                      <a:pt x="69" y="49"/>
                    </a:cubicBezTo>
                    <a:cubicBezTo>
                      <a:pt x="70" y="49"/>
                      <a:pt x="71" y="50"/>
                      <a:pt x="71" y="50"/>
                    </a:cubicBezTo>
                    <a:cubicBezTo>
                      <a:pt x="72" y="51"/>
                      <a:pt x="72" y="52"/>
                      <a:pt x="72" y="53"/>
                    </a:cubicBezTo>
                    <a:cubicBezTo>
                      <a:pt x="72" y="53"/>
                      <a:pt x="72" y="54"/>
                      <a:pt x="72" y="54"/>
                    </a:cubicBezTo>
                    <a:cubicBezTo>
                      <a:pt x="72" y="56"/>
                      <a:pt x="71" y="58"/>
                      <a:pt x="69" y="60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67" y="61"/>
                      <a:pt x="65" y="62"/>
                      <a:pt x="61" y="62"/>
                    </a:cubicBezTo>
                    <a:cubicBezTo>
                      <a:pt x="61" y="62"/>
                      <a:pt x="61" y="62"/>
                      <a:pt x="61" y="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1274" name="组合 46"/>
            <p:cNvGrpSpPr/>
            <p:nvPr/>
          </p:nvGrpSpPr>
          <p:grpSpPr bwMode="auto">
            <a:xfrm>
              <a:off x="4089393" y="3284301"/>
              <a:ext cx="940840" cy="943827"/>
              <a:chOff x="4092008" y="3473554"/>
              <a:chExt cx="1000087" cy="1001899"/>
            </a:xfrm>
          </p:grpSpPr>
          <p:sp>
            <p:nvSpPr>
              <p:cNvPr id="11278" name="Freeform 11"/>
              <p:cNvSpPr/>
              <p:nvPr/>
            </p:nvSpPr>
            <p:spPr bwMode="auto">
              <a:xfrm>
                <a:off x="4092008" y="3473554"/>
                <a:ext cx="1000087" cy="1001899"/>
              </a:xfrm>
              <a:custGeom>
                <a:avLst/>
                <a:gdLst>
                  <a:gd name="T0" fmla="*/ 2147483646 w 552"/>
                  <a:gd name="T1" fmla="*/ 2147483646 h 553"/>
                  <a:gd name="T2" fmla="*/ 0 w 552"/>
                  <a:gd name="T3" fmla="*/ 2147483646 h 553"/>
                  <a:gd name="T4" fmla="*/ 0 w 552"/>
                  <a:gd name="T5" fmla="*/ 0 h 553"/>
                  <a:gd name="T6" fmla="*/ 2147483646 w 552"/>
                  <a:gd name="T7" fmla="*/ 0 h 553"/>
                  <a:gd name="T8" fmla="*/ 2147483646 w 552"/>
                  <a:gd name="T9" fmla="*/ 2147483646 h 553"/>
                  <a:gd name="T10" fmla="*/ 2147483646 w 552"/>
                  <a:gd name="T11" fmla="*/ 2147483646 h 5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2" h="553">
                    <a:moveTo>
                      <a:pt x="552" y="553"/>
                    </a:moveTo>
                    <a:lnTo>
                      <a:pt x="0" y="553"/>
                    </a:lnTo>
                    <a:lnTo>
                      <a:pt x="0" y="0"/>
                    </a:lnTo>
                    <a:lnTo>
                      <a:pt x="552" y="0"/>
                    </a:lnTo>
                    <a:lnTo>
                      <a:pt x="552" y="553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279" name="Freeform 165"/>
              <p:cNvSpPr>
                <a:spLocks noEditPoints="1"/>
              </p:cNvSpPr>
              <p:nvPr/>
            </p:nvSpPr>
            <p:spPr bwMode="auto">
              <a:xfrm>
                <a:off x="4339762" y="3722214"/>
                <a:ext cx="504578" cy="504578"/>
              </a:xfrm>
              <a:custGeom>
                <a:avLst/>
                <a:gdLst>
                  <a:gd name="T0" fmla="*/ 2147483646 w 66"/>
                  <a:gd name="T1" fmla="*/ 2147483646 h 66"/>
                  <a:gd name="T2" fmla="*/ 2147483646 w 66"/>
                  <a:gd name="T3" fmla="*/ 2147483646 h 66"/>
                  <a:gd name="T4" fmla="*/ 2147483646 w 66"/>
                  <a:gd name="T5" fmla="*/ 2147483646 h 66"/>
                  <a:gd name="T6" fmla="*/ 2147483646 w 66"/>
                  <a:gd name="T7" fmla="*/ 2147483646 h 66"/>
                  <a:gd name="T8" fmla="*/ 2147483646 w 66"/>
                  <a:gd name="T9" fmla="*/ 2147483646 h 66"/>
                  <a:gd name="T10" fmla="*/ 2147483646 w 66"/>
                  <a:gd name="T11" fmla="*/ 2147483646 h 66"/>
                  <a:gd name="T12" fmla="*/ 2147483646 w 66"/>
                  <a:gd name="T13" fmla="*/ 2147483646 h 66"/>
                  <a:gd name="T14" fmla="*/ 2147483646 w 66"/>
                  <a:gd name="T15" fmla="*/ 2147483646 h 66"/>
                  <a:gd name="T16" fmla="*/ 2147483646 w 66"/>
                  <a:gd name="T17" fmla="*/ 2147483646 h 66"/>
                  <a:gd name="T18" fmla="*/ 2147483646 w 66"/>
                  <a:gd name="T19" fmla="*/ 2147483646 h 66"/>
                  <a:gd name="T20" fmla="*/ 2147483646 w 66"/>
                  <a:gd name="T21" fmla="*/ 2147483646 h 66"/>
                  <a:gd name="T22" fmla="*/ 2147483646 w 66"/>
                  <a:gd name="T23" fmla="*/ 2147483646 h 66"/>
                  <a:gd name="T24" fmla="*/ 2147483646 w 66"/>
                  <a:gd name="T25" fmla="*/ 2147483646 h 66"/>
                  <a:gd name="T26" fmla="*/ 2147483646 w 66"/>
                  <a:gd name="T27" fmla="*/ 2147483646 h 66"/>
                  <a:gd name="T28" fmla="*/ 2147483646 w 66"/>
                  <a:gd name="T29" fmla="*/ 2147483646 h 66"/>
                  <a:gd name="T30" fmla="*/ 2147483646 w 66"/>
                  <a:gd name="T31" fmla="*/ 2147483646 h 66"/>
                  <a:gd name="T32" fmla="*/ 2147483646 w 66"/>
                  <a:gd name="T33" fmla="*/ 2147483646 h 66"/>
                  <a:gd name="T34" fmla="*/ 2147483646 w 66"/>
                  <a:gd name="T35" fmla="*/ 2147483646 h 66"/>
                  <a:gd name="T36" fmla="*/ 2147483646 w 66"/>
                  <a:gd name="T37" fmla="*/ 2147483646 h 66"/>
                  <a:gd name="T38" fmla="*/ 2147483646 w 66"/>
                  <a:gd name="T39" fmla="*/ 2147483646 h 66"/>
                  <a:gd name="T40" fmla="*/ 2147483646 w 66"/>
                  <a:gd name="T41" fmla="*/ 2147483646 h 66"/>
                  <a:gd name="T42" fmla="*/ 2147483646 w 66"/>
                  <a:gd name="T43" fmla="*/ 2147483646 h 66"/>
                  <a:gd name="T44" fmla="*/ 2147483646 w 66"/>
                  <a:gd name="T45" fmla="*/ 2147483646 h 66"/>
                  <a:gd name="T46" fmla="*/ 2147483646 w 66"/>
                  <a:gd name="T47" fmla="*/ 2147483646 h 66"/>
                  <a:gd name="T48" fmla="*/ 2147483646 w 66"/>
                  <a:gd name="T49" fmla="*/ 2147483646 h 66"/>
                  <a:gd name="T50" fmla="*/ 2147483646 w 66"/>
                  <a:gd name="T51" fmla="*/ 2147483646 h 66"/>
                  <a:gd name="T52" fmla="*/ 2147483646 w 66"/>
                  <a:gd name="T53" fmla="*/ 2147483646 h 66"/>
                  <a:gd name="T54" fmla="*/ 2147483646 w 66"/>
                  <a:gd name="T55" fmla="*/ 2147483646 h 66"/>
                  <a:gd name="T56" fmla="*/ 2147483646 w 66"/>
                  <a:gd name="T57" fmla="*/ 2147483646 h 66"/>
                  <a:gd name="T58" fmla="*/ 2147483646 w 66"/>
                  <a:gd name="T59" fmla="*/ 2147483646 h 66"/>
                  <a:gd name="T60" fmla="*/ 2147483646 w 66"/>
                  <a:gd name="T61" fmla="*/ 2147483646 h 66"/>
                  <a:gd name="T62" fmla="*/ 2147483646 w 66"/>
                  <a:gd name="T63" fmla="*/ 2147483646 h 66"/>
                  <a:gd name="T64" fmla="*/ 2147483646 w 66"/>
                  <a:gd name="T65" fmla="*/ 2147483646 h 66"/>
                  <a:gd name="T66" fmla="*/ 2147483646 w 66"/>
                  <a:gd name="T67" fmla="*/ 2147483646 h 66"/>
                  <a:gd name="T68" fmla="*/ 2147483646 w 66"/>
                  <a:gd name="T69" fmla="*/ 2147483646 h 66"/>
                  <a:gd name="T70" fmla="*/ 2147483646 w 66"/>
                  <a:gd name="T71" fmla="*/ 2147483646 h 66"/>
                  <a:gd name="T72" fmla="*/ 2147483646 w 66"/>
                  <a:gd name="T73" fmla="*/ 2147483646 h 66"/>
                  <a:gd name="T74" fmla="*/ 2147483646 w 66"/>
                  <a:gd name="T75" fmla="*/ 2147483646 h 66"/>
                  <a:gd name="T76" fmla="*/ 2147483646 w 66"/>
                  <a:gd name="T77" fmla="*/ 2147483646 h 66"/>
                  <a:gd name="T78" fmla="*/ 2147483646 w 66"/>
                  <a:gd name="T79" fmla="*/ 2147483646 h 66"/>
                  <a:gd name="T80" fmla="*/ 2147483646 w 66"/>
                  <a:gd name="T81" fmla="*/ 2147483646 h 66"/>
                  <a:gd name="T82" fmla="*/ 2147483646 w 66"/>
                  <a:gd name="T83" fmla="*/ 2147483646 h 66"/>
                  <a:gd name="T84" fmla="*/ 2147483646 w 66"/>
                  <a:gd name="T85" fmla="*/ 2147483646 h 66"/>
                  <a:gd name="T86" fmla="*/ 2147483646 w 66"/>
                  <a:gd name="T87" fmla="*/ 2147483646 h 66"/>
                  <a:gd name="T88" fmla="*/ 2147483646 w 66"/>
                  <a:gd name="T89" fmla="*/ 2147483646 h 6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6" h="66">
                    <a:moveTo>
                      <a:pt x="46" y="19"/>
                    </a:moveTo>
                    <a:cubicBezTo>
                      <a:pt x="48" y="20"/>
                      <a:pt x="51" y="21"/>
                      <a:pt x="53" y="23"/>
                    </a:cubicBezTo>
                    <a:cubicBezTo>
                      <a:pt x="57" y="15"/>
                      <a:pt x="57" y="15"/>
                      <a:pt x="57" y="15"/>
                    </a:cubicBezTo>
                    <a:cubicBezTo>
                      <a:pt x="57" y="26"/>
                      <a:pt x="57" y="26"/>
                      <a:pt x="57" y="26"/>
                    </a:cubicBezTo>
                    <a:cubicBezTo>
                      <a:pt x="59" y="28"/>
                      <a:pt x="61" y="30"/>
                      <a:pt x="62" y="33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5" y="33"/>
                      <a:pt x="66" y="34"/>
                      <a:pt x="66" y="35"/>
                    </a:cubicBezTo>
                    <a:cubicBezTo>
                      <a:pt x="66" y="45"/>
                      <a:pt x="66" y="45"/>
                      <a:pt x="66" y="45"/>
                    </a:cubicBezTo>
                    <a:cubicBezTo>
                      <a:pt x="66" y="46"/>
                      <a:pt x="65" y="47"/>
                      <a:pt x="64" y="47"/>
                    </a:cubicBezTo>
                    <a:cubicBezTo>
                      <a:pt x="61" y="47"/>
                      <a:pt x="61" y="47"/>
                      <a:pt x="61" y="47"/>
                    </a:cubicBezTo>
                    <a:cubicBezTo>
                      <a:pt x="58" y="51"/>
                      <a:pt x="55" y="55"/>
                      <a:pt x="50" y="57"/>
                    </a:cubicBezTo>
                    <a:cubicBezTo>
                      <a:pt x="49" y="59"/>
                      <a:pt x="48" y="62"/>
                      <a:pt x="48" y="66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0" y="63"/>
                      <a:pt x="38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29" y="61"/>
                      <a:pt x="27" y="63"/>
                      <a:pt x="26" y="66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9" y="62"/>
                      <a:pt x="18" y="59"/>
                      <a:pt x="17" y="57"/>
                    </a:cubicBezTo>
                    <a:cubicBezTo>
                      <a:pt x="11" y="54"/>
                      <a:pt x="6" y="49"/>
                      <a:pt x="5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6" y="29"/>
                      <a:pt x="12" y="22"/>
                      <a:pt x="21" y="19"/>
                    </a:cubicBezTo>
                    <a:cubicBezTo>
                      <a:pt x="24" y="23"/>
                      <a:pt x="28" y="26"/>
                      <a:pt x="33" y="26"/>
                    </a:cubicBezTo>
                    <a:cubicBezTo>
                      <a:pt x="39" y="26"/>
                      <a:pt x="43" y="23"/>
                      <a:pt x="46" y="19"/>
                    </a:cubicBezTo>
                    <a:close/>
                    <a:moveTo>
                      <a:pt x="33" y="0"/>
                    </a:moveTo>
                    <a:cubicBezTo>
                      <a:pt x="27" y="0"/>
                      <a:pt x="22" y="5"/>
                      <a:pt x="22" y="11"/>
                    </a:cubicBezTo>
                    <a:cubicBezTo>
                      <a:pt x="22" y="17"/>
                      <a:pt x="27" y="22"/>
                      <a:pt x="33" y="22"/>
                    </a:cubicBezTo>
                    <a:cubicBezTo>
                      <a:pt x="40" y="22"/>
                      <a:pt x="45" y="17"/>
                      <a:pt x="45" y="11"/>
                    </a:cubicBezTo>
                    <a:cubicBezTo>
                      <a:pt x="45" y="5"/>
                      <a:pt x="40" y="0"/>
                      <a:pt x="33" y="0"/>
                    </a:cubicBezTo>
                    <a:close/>
                    <a:moveTo>
                      <a:pt x="30" y="17"/>
                    </a:move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0" y="15"/>
                      <a:pt x="30" y="15"/>
                      <a:pt x="30" y="15"/>
                    </a:cubicBezTo>
                    <a:lnTo>
                      <a:pt x="30" y="1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1275" name="组合 49"/>
            <p:cNvGrpSpPr/>
            <p:nvPr/>
          </p:nvGrpSpPr>
          <p:grpSpPr bwMode="auto">
            <a:xfrm>
              <a:off x="5088018" y="2262536"/>
              <a:ext cx="942333" cy="940841"/>
              <a:chOff x="5275081" y="2386672"/>
              <a:chExt cx="1001898" cy="1000087"/>
            </a:xfrm>
          </p:grpSpPr>
          <p:sp>
            <p:nvSpPr>
              <p:cNvPr id="11276" name="Freeform 14"/>
              <p:cNvSpPr/>
              <p:nvPr/>
            </p:nvSpPr>
            <p:spPr bwMode="auto">
              <a:xfrm>
                <a:off x="5275081" y="2386672"/>
                <a:ext cx="1001898" cy="1000087"/>
              </a:xfrm>
              <a:custGeom>
                <a:avLst/>
                <a:gdLst>
                  <a:gd name="T0" fmla="*/ 2147483646 w 553"/>
                  <a:gd name="T1" fmla="*/ 2147483646 h 552"/>
                  <a:gd name="T2" fmla="*/ 0 w 553"/>
                  <a:gd name="T3" fmla="*/ 2147483646 h 552"/>
                  <a:gd name="T4" fmla="*/ 0 w 553"/>
                  <a:gd name="T5" fmla="*/ 0 h 552"/>
                  <a:gd name="T6" fmla="*/ 2147483646 w 553"/>
                  <a:gd name="T7" fmla="*/ 0 h 552"/>
                  <a:gd name="T8" fmla="*/ 2147483646 w 553"/>
                  <a:gd name="T9" fmla="*/ 2147483646 h 552"/>
                  <a:gd name="T10" fmla="*/ 2147483646 w 553"/>
                  <a:gd name="T11" fmla="*/ 2147483646 h 5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53" h="552">
                    <a:moveTo>
                      <a:pt x="553" y="552"/>
                    </a:moveTo>
                    <a:lnTo>
                      <a:pt x="0" y="552"/>
                    </a:lnTo>
                    <a:lnTo>
                      <a:pt x="0" y="0"/>
                    </a:lnTo>
                    <a:lnTo>
                      <a:pt x="553" y="0"/>
                    </a:lnTo>
                    <a:lnTo>
                      <a:pt x="553" y="552"/>
                    </a:lnTo>
                    <a:close/>
                  </a:path>
                </a:pathLst>
              </a:custGeom>
              <a:solidFill>
                <a:srgbClr val="477B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58" name="组合 57"/>
              <p:cNvGrpSpPr/>
              <p:nvPr/>
            </p:nvGrpSpPr>
            <p:grpSpPr>
              <a:xfrm>
                <a:off x="5675935" y="2635584"/>
                <a:ext cx="200190" cy="502263"/>
                <a:chOff x="4268788" y="2411413"/>
                <a:chExt cx="177800" cy="446087"/>
              </a:xfrm>
              <a:solidFill>
                <a:schemeClr val="bg1"/>
              </a:solidFill>
            </p:grpSpPr>
            <p:sp>
              <p:nvSpPr>
                <p:cNvPr id="59" name="Freeform 61"/>
                <p:cNvSpPr/>
                <p:nvPr/>
              </p:nvSpPr>
              <p:spPr bwMode="auto">
                <a:xfrm>
                  <a:off x="4268788" y="2489200"/>
                  <a:ext cx="177800" cy="368300"/>
                </a:xfrm>
                <a:custGeom>
                  <a:avLst/>
                  <a:gdLst>
                    <a:gd name="T0" fmla="*/ 1198 w 30"/>
                    <a:gd name="T1" fmla="*/ 0 h 62"/>
                    <a:gd name="T2" fmla="*/ 418 w 30"/>
                    <a:gd name="T3" fmla="*/ 0 h 62"/>
                    <a:gd name="T4" fmla="*/ 0 w 30"/>
                    <a:gd name="T5" fmla="*/ 307 h 62"/>
                    <a:gd name="T6" fmla="*/ 0 w 30"/>
                    <a:gd name="T7" fmla="*/ 307 h 62"/>
                    <a:gd name="T8" fmla="*/ 0 w 30"/>
                    <a:gd name="T9" fmla="*/ 363 h 62"/>
                    <a:gd name="T10" fmla="*/ 0 w 30"/>
                    <a:gd name="T11" fmla="*/ 1471 h 62"/>
                    <a:gd name="T12" fmla="*/ 97 w 30"/>
                    <a:gd name="T13" fmla="*/ 1568 h 62"/>
                    <a:gd name="T14" fmla="*/ 265 w 30"/>
                    <a:gd name="T15" fmla="*/ 1471 h 62"/>
                    <a:gd name="T16" fmla="*/ 265 w 30"/>
                    <a:gd name="T17" fmla="*/ 516 h 62"/>
                    <a:gd name="T18" fmla="*/ 362 w 30"/>
                    <a:gd name="T19" fmla="*/ 516 h 62"/>
                    <a:gd name="T20" fmla="*/ 362 w 30"/>
                    <a:gd name="T21" fmla="*/ 1414 h 62"/>
                    <a:gd name="T22" fmla="*/ 362 w 30"/>
                    <a:gd name="T23" fmla="*/ 1471 h 62"/>
                    <a:gd name="T24" fmla="*/ 362 w 30"/>
                    <a:gd name="T25" fmla="*/ 3095 h 62"/>
                    <a:gd name="T26" fmla="*/ 571 w 30"/>
                    <a:gd name="T27" fmla="*/ 3248 h 62"/>
                    <a:gd name="T28" fmla="*/ 724 w 30"/>
                    <a:gd name="T29" fmla="*/ 3095 h 62"/>
                    <a:gd name="T30" fmla="*/ 724 w 30"/>
                    <a:gd name="T31" fmla="*/ 1624 h 62"/>
                    <a:gd name="T32" fmla="*/ 836 w 30"/>
                    <a:gd name="T33" fmla="*/ 1624 h 62"/>
                    <a:gd name="T34" fmla="*/ 836 w 30"/>
                    <a:gd name="T35" fmla="*/ 3095 h 62"/>
                    <a:gd name="T36" fmla="*/ 989 w 30"/>
                    <a:gd name="T37" fmla="*/ 3248 h 62"/>
                    <a:gd name="T38" fmla="*/ 1198 w 30"/>
                    <a:gd name="T39" fmla="*/ 3095 h 62"/>
                    <a:gd name="T40" fmla="*/ 1198 w 30"/>
                    <a:gd name="T41" fmla="*/ 1414 h 62"/>
                    <a:gd name="T42" fmla="*/ 1198 w 30"/>
                    <a:gd name="T43" fmla="*/ 1414 h 62"/>
                    <a:gd name="T44" fmla="*/ 1198 w 30"/>
                    <a:gd name="T45" fmla="*/ 516 h 62"/>
                    <a:gd name="T46" fmla="*/ 1295 w 30"/>
                    <a:gd name="T47" fmla="*/ 516 h 62"/>
                    <a:gd name="T48" fmla="*/ 1295 w 30"/>
                    <a:gd name="T49" fmla="*/ 1471 h 62"/>
                    <a:gd name="T50" fmla="*/ 1407 w 30"/>
                    <a:gd name="T51" fmla="*/ 1568 h 62"/>
                    <a:gd name="T52" fmla="*/ 1561 w 30"/>
                    <a:gd name="T53" fmla="*/ 1471 h 62"/>
                    <a:gd name="T54" fmla="*/ 1561 w 30"/>
                    <a:gd name="T55" fmla="*/ 363 h 62"/>
                    <a:gd name="T56" fmla="*/ 1561 w 30"/>
                    <a:gd name="T57" fmla="*/ 307 h 62"/>
                    <a:gd name="T58" fmla="*/ 1561 w 30"/>
                    <a:gd name="T59" fmla="*/ 266 h 62"/>
                    <a:gd name="T60" fmla="*/ 1198 w 30"/>
                    <a:gd name="T61" fmla="*/ 0 h 62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30" h="62">
                      <a:moveTo>
                        <a:pt x="23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2" y="0"/>
                        <a:pt x="0" y="4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29"/>
                        <a:pt x="1" y="30"/>
                        <a:pt x="2" y="30"/>
                      </a:cubicBezTo>
                      <a:cubicBezTo>
                        <a:pt x="4" y="30"/>
                        <a:pt x="5" y="29"/>
                        <a:pt x="5" y="28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7" y="27"/>
                        <a:pt x="7" y="27"/>
                        <a:pt x="7" y="27"/>
                      </a:cubicBezTo>
                      <a:cubicBezTo>
                        <a:pt x="7" y="27"/>
                        <a:pt x="7" y="28"/>
                        <a:pt x="7" y="28"/>
                      </a:cubicBezTo>
                      <a:cubicBezTo>
                        <a:pt x="7" y="59"/>
                        <a:pt x="7" y="59"/>
                        <a:pt x="7" y="59"/>
                      </a:cubicBezTo>
                      <a:cubicBezTo>
                        <a:pt x="7" y="61"/>
                        <a:pt x="9" y="62"/>
                        <a:pt x="11" y="62"/>
                      </a:cubicBezTo>
                      <a:cubicBezTo>
                        <a:pt x="13" y="62"/>
                        <a:pt x="14" y="61"/>
                        <a:pt x="14" y="59"/>
                      </a:cubicBezTo>
                      <a:cubicBezTo>
                        <a:pt x="14" y="31"/>
                        <a:pt x="14" y="31"/>
                        <a:pt x="14" y="31"/>
                      </a:cubicBezTo>
                      <a:cubicBezTo>
                        <a:pt x="16" y="31"/>
                        <a:pt x="16" y="31"/>
                        <a:pt x="16" y="31"/>
                      </a:cubicBez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6" y="61"/>
                        <a:pt x="17" y="62"/>
                        <a:pt x="19" y="62"/>
                      </a:cubicBezTo>
                      <a:cubicBezTo>
                        <a:pt x="21" y="62"/>
                        <a:pt x="23" y="61"/>
                        <a:pt x="23" y="59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25" y="28"/>
                        <a:pt x="25" y="28"/>
                        <a:pt x="25" y="28"/>
                      </a:cubicBezTo>
                      <a:cubicBezTo>
                        <a:pt x="25" y="29"/>
                        <a:pt x="26" y="30"/>
                        <a:pt x="27" y="30"/>
                      </a:cubicBezTo>
                      <a:cubicBezTo>
                        <a:pt x="29" y="30"/>
                        <a:pt x="30" y="29"/>
                        <a:pt x="30" y="28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4"/>
                        <a:pt x="28" y="0"/>
                        <a:pt x="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60" name="Oval 62"/>
                <p:cNvSpPr>
                  <a:spLocks noChangeArrowheads="1"/>
                </p:cNvSpPr>
                <p:nvPr/>
              </p:nvSpPr>
              <p:spPr bwMode="auto">
                <a:xfrm>
                  <a:off x="4322763" y="2411413"/>
                  <a:ext cx="71438" cy="7143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zh-CN" altLang="en-US">
                    <a:solidFill>
                      <a:prstClr val="black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</p:grpSp>
      <p:sp>
        <p:nvSpPr>
          <p:cNvPr id="11268" name="Freeform 20"/>
          <p:cNvSpPr/>
          <p:nvPr/>
        </p:nvSpPr>
        <p:spPr bwMode="auto">
          <a:xfrm>
            <a:off x="6099175" y="2262188"/>
            <a:ext cx="1949450" cy="1966912"/>
          </a:xfrm>
          <a:custGeom>
            <a:avLst/>
            <a:gdLst>
              <a:gd name="T0" fmla="*/ 2147483646 w 1201"/>
              <a:gd name="T1" fmla="*/ 2147483646 h 1184"/>
              <a:gd name="T2" fmla="*/ 0 w 1201"/>
              <a:gd name="T3" fmla="*/ 2147483646 h 1184"/>
              <a:gd name="T4" fmla="*/ 0 w 1201"/>
              <a:gd name="T5" fmla="*/ 0 h 1184"/>
              <a:gd name="T6" fmla="*/ 2147483646 w 1201"/>
              <a:gd name="T7" fmla="*/ 0 h 1184"/>
              <a:gd name="T8" fmla="*/ 2147483646 w 1201"/>
              <a:gd name="T9" fmla="*/ 2147483646 h 1184"/>
              <a:gd name="T10" fmla="*/ 2147483646 w 1201"/>
              <a:gd name="T11" fmla="*/ 2147483646 h 11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01" h="1184">
                <a:moveTo>
                  <a:pt x="1201" y="1184"/>
                </a:moveTo>
                <a:lnTo>
                  <a:pt x="0" y="1184"/>
                </a:lnTo>
                <a:lnTo>
                  <a:pt x="0" y="0"/>
                </a:lnTo>
                <a:lnTo>
                  <a:pt x="1201" y="0"/>
                </a:lnTo>
                <a:lnTo>
                  <a:pt x="1201" y="1184"/>
                </a:lnTo>
                <a:close/>
              </a:path>
            </a:pathLst>
          </a:cu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11269" name="Picture 2" descr="C:\Documents and Settings\Administrator\桌面\2.pn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2"/>
          <a:stretch>
            <a:fillRect/>
          </a:stretch>
        </p:blipFill>
        <p:spPr bwMode="auto">
          <a:xfrm>
            <a:off x="6248400" y="2417763"/>
            <a:ext cx="1630363" cy="181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5"/>
          <p:cNvSpPr/>
          <p:nvPr/>
        </p:nvSpPr>
        <p:spPr bwMode="auto">
          <a:xfrm>
            <a:off x="2987675" y="720725"/>
            <a:ext cx="5262563" cy="3867150"/>
          </a:xfrm>
          <a:prstGeom prst="rect">
            <a:avLst/>
          </a:prstGeom>
          <a:solidFill>
            <a:srgbClr val="32879E">
              <a:alpha val="50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/>
          <a:lstStyle/>
          <a:p>
            <a:pPr algn="ctr" defTabSz="91313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 err="1">
              <a:gradFill>
                <a:gsLst>
                  <a:gs pos="1250">
                    <a:srgbClr val="EFEFEF"/>
                  </a:gs>
                  <a:gs pos="10417">
                    <a:srgbClr val="EFEFEF"/>
                  </a:gs>
                </a:gsLst>
                <a:lin ang="5400000" scaled="0"/>
              </a:gradFill>
            </a:endParaRPr>
          </a:p>
        </p:txBody>
      </p:sp>
      <p:grpSp>
        <p:nvGrpSpPr>
          <p:cNvPr id="13315" name="组合 57"/>
          <p:cNvGrpSpPr/>
          <p:nvPr/>
        </p:nvGrpSpPr>
        <p:grpSpPr bwMode="auto">
          <a:xfrm>
            <a:off x="3276600" y="725488"/>
            <a:ext cx="4725988" cy="3867150"/>
            <a:chOff x="3431338" y="897951"/>
            <a:chExt cx="4725089" cy="3867770"/>
          </a:xfrm>
        </p:grpSpPr>
        <p:cxnSp>
          <p:nvCxnSpPr>
            <p:cNvPr id="59" name="直接连接符 58"/>
            <p:cNvCxnSpPr/>
            <p:nvPr/>
          </p:nvCxnSpPr>
          <p:spPr>
            <a:xfrm>
              <a:off x="3855120" y="1263135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388" name="组合 52"/>
            <p:cNvGrpSpPr/>
            <p:nvPr/>
          </p:nvGrpSpPr>
          <p:grpSpPr bwMode="auto">
            <a:xfrm>
              <a:off x="3783185" y="897951"/>
              <a:ext cx="130924" cy="3546573"/>
              <a:chOff x="3563888" y="624501"/>
              <a:chExt cx="144016" cy="3901231"/>
            </a:xfrm>
          </p:grpSpPr>
          <p:cxnSp>
            <p:nvCxnSpPr>
              <p:cNvPr id="83" name="直接连接符 82"/>
              <p:cNvCxnSpPr/>
              <p:nvPr/>
            </p:nvCxnSpPr>
            <p:spPr>
              <a:xfrm>
                <a:off x="3636033" y="771210"/>
                <a:ext cx="0" cy="3755041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等腰三角形 83"/>
              <p:cNvSpPr/>
              <p:nvPr/>
            </p:nvSpPr>
            <p:spPr>
              <a:xfrm>
                <a:off x="3564450" y="624501"/>
                <a:ext cx="143165" cy="14496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3389" name="组合 54"/>
            <p:cNvGrpSpPr/>
            <p:nvPr/>
          </p:nvGrpSpPr>
          <p:grpSpPr bwMode="auto">
            <a:xfrm rot="5400000">
              <a:off x="5930725" y="2281756"/>
              <a:ext cx="130924" cy="4320480"/>
              <a:chOff x="3563888" y="624501"/>
              <a:chExt cx="144016" cy="4752528"/>
            </a:xfrm>
          </p:grpSpPr>
          <p:cxnSp>
            <p:nvCxnSpPr>
              <p:cNvPr id="81" name="直接连接符 80"/>
              <p:cNvCxnSpPr/>
              <p:nvPr/>
            </p:nvCxnSpPr>
            <p:spPr>
              <a:xfrm rot="16200000" flipH="1">
                <a:off x="1332836" y="3074023"/>
                <a:ext cx="4605731" cy="0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等腰三角形 81"/>
              <p:cNvSpPr/>
              <p:nvPr/>
            </p:nvSpPr>
            <p:spPr>
              <a:xfrm>
                <a:off x="3564094" y="629739"/>
                <a:ext cx="143215" cy="14491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62" name="直接连接符 61"/>
            <p:cNvCxnSpPr/>
            <p:nvPr/>
          </p:nvCxnSpPr>
          <p:spPr>
            <a:xfrm>
              <a:off x="3855120" y="3911509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62"/>
            <p:cNvCxnSpPr/>
            <p:nvPr/>
          </p:nvCxnSpPr>
          <p:spPr>
            <a:xfrm>
              <a:off x="3855120" y="3317689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接连接符 63"/>
            <p:cNvCxnSpPr/>
            <p:nvPr/>
          </p:nvCxnSpPr>
          <p:spPr>
            <a:xfrm>
              <a:off x="3855120" y="2668297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直接连接符 64"/>
            <p:cNvCxnSpPr/>
            <p:nvPr/>
          </p:nvCxnSpPr>
          <p:spPr>
            <a:xfrm>
              <a:off x="3855120" y="1964922"/>
              <a:ext cx="424892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65"/>
            <p:cNvCxnSpPr/>
            <p:nvPr/>
          </p:nvCxnSpPr>
          <p:spPr>
            <a:xfrm flipV="1">
              <a:off x="4493174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直接连接符 66"/>
            <p:cNvCxnSpPr/>
            <p:nvPr/>
          </p:nvCxnSpPr>
          <p:spPr>
            <a:xfrm flipV="1">
              <a:off x="5169320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/>
            <p:cNvCxnSpPr/>
            <p:nvPr/>
          </p:nvCxnSpPr>
          <p:spPr>
            <a:xfrm flipV="1">
              <a:off x="5878797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接连接符 68"/>
            <p:cNvCxnSpPr/>
            <p:nvPr/>
          </p:nvCxnSpPr>
          <p:spPr>
            <a:xfrm flipV="1">
              <a:off x="6559706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连接符 69"/>
            <p:cNvCxnSpPr/>
            <p:nvPr/>
          </p:nvCxnSpPr>
          <p:spPr>
            <a:xfrm flipV="1">
              <a:off x="7250136" y="1263135"/>
              <a:ext cx="0" cy="3192974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99" name="TextBox 107"/>
            <p:cNvSpPr txBox="1">
              <a:spLocks noChangeArrowheads="1"/>
            </p:cNvSpPr>
            <p:nvPr/>
          </p:nvSpPr>
          <p:spPr bwMode="auto">
            <a:xfrm>
              <a:off x="379266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0" name="TextBox 108"/>
            <p:cNvSpPr txBox="1">
              <a:spLocks noChangeArrowheads="1"/>
            </p:cNvSpPr>
            <p:nvPr/>
          </p:nvSpPr>
          <p:spPr bwMode="auto">
            <a:xfrm>
              <a:off x="6516299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4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1" name="TextBox 110"/>
            <p:cNvSpPr txBox="1">
              <a:spLocks noChangeArrowheads="1"/>
            </p:cNvSpPr>
            <p:nvPr/>
          </p:nvSpPr>
          <p:spPr bwMode="auto">
            <a:xfrm>
              <a:off x="5876181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2" name="TextBox 111"/>
            <p:cNvSpPr txBox="1">
              <a:spLocks noChangeArrowheads="1"/>
            </p:cNvSpPr>
            <p:nvPr/>
          </p:nvSpPr>
          <p:spPr bwMode="auto">
            <a:xfrm>
              <a:off x="5164893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3" name="TextBox 112"/>
            <p:cNvSpPr txBox="1">
              <a:spLocks noChangeArrowheads="1"/>
            </p:cNvSpPr>
            <p:nvPr/>
          </p:nvSpPr>
          <p:spPr bwMode="auto">
            <a:xfrm>
              <a:off x="4482874" y="4488722"/>
              <a:ext cx="8526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r>
                <a:rPr lang="zh-CN" altLang="en-US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4" name="TextBox 113"/>
            <p:cNvSpPr txBox="1">
              <a:spLocks noChangeArrowheads="1"/>
            </p:cNvSpPr>
            <p:nvPr/>
          </p:nvSpPr>
          <p:spPr bwMode="auto">
            <a:xfrm>
              <a:off x="3431338" y="3792491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5" name="TextBox 114"/>
            <p:cNvSpPr txBox="1">
              <a:spLocks noChangeArrowheads="1"/>
            </p:cNvSpPr>
            <p:nvPr/>
          </p:nvSpPr>
          <p:spPr bwMode="auto">
            <a:xfrm>
              <a:off x="3431338" y="3186668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6" name="TextBox 115"/>
            <p:cNvSpPr txBox="1">
              <a:spLocks noChangeArrowheads="1"/>
            </p:cNvSpPr>
            <p:nvPr/>
          </p:nvSpPr>
          <p:spPr bwMode="auto">
            <a:xfrm>
              <a:off x="3431338" y="253476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7" name="TextBox 116"/>
            <p:cNvSpPr txBox="1">
              <a:spLocks noChangeArrowheads="1"/>
            </p:cNvSpPr>
            <p:nvPr/>
          </p:nvSpPr>
          <p:spPr bwMode="auto">
            <a:xfrm>
              <a:off x="3431338" y="1853054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08" name="TextBox 117"/>
            <p:cNvSpPr txBox="1">
              <a:spLocks noChangeArrowheads="1"/>
            </p:cNvSpPr>
            <p:nvPr/>
          </p:nvSpPr>
          <p:spPr bwMode="auto">
            <a:xfrm>
              <a:off x="3431338" y="1143516"/>
              <a:ext cx="4173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</a:t>
              </a:r>
              <a:endParaRPr lang="zh-CN" alt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5" name="任意多边形 84"/>
          <p:cNvSpPr/>
          <p:nvPr/>
        </p:nvSpPr>
        <p:spPr>
          <a:xfrm>
            <a:off x="3700463" y="2492375"/>
            <a:ext cx="461962" cy="17557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8000" h="1930400">
                <a:moveTo>
                  <a:pt x="0" y="1930400"/>
                </a:moveTo>
                <a:lnTo>
                  <a:pt x="50800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6" name="任意多边形 85"/>
          <p:cNvSpPr/>
          <p:nvPr/>
        </p:nvSpPr>
        <p:spPr>
          <a:xfrm>
            <a:off x="4171950" y="2501900"/>
            <a:ext cx="420688" cy="88900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92100 w 292100"/>
              <a:gd name="connsiteY0-2" fmla="*/ 1254125 h 1254125"/>
              <a:gd name="connsiteX1-3" fmla="*/ 0 w 292100"/>
              <a:gd name="connsiteY1-4" fmla="*/ 0 h 1254125"/>
              <a:gd name="connsiteX0-5" fmla="*/ 530225 w 530225"/>
              <a:gd name="connsiteY0-6" fmla="*/ 1225550 h 1225550"/>
              <a:gd name="connsiteX1-7" fmla="*/ 0 w 530225"/>
              <a:gd name="connsiteY1-8" fmla="*/ 0 h 1225550"/>
              <a:gd name="connsiteX0-9" fmla="*/ 463550 w 463550"/>
              <a:gd name="connsiteY0-10" fmla="*/ 977900 h 977900"/>
              <a:gd name="connsiteX1-11" fmla="*/ 0 w 463550"/>
              <a:gd name="connsiteY1-12" fmla="*/ 0 h 9779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463550" h="977900">
                <a:moveTo>
                  <a:pt x="463550" y="9779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任意多边形 86"/>
          <p:cNvSpPr/>
          <p:nvPr/>
        </p:nvSpPr>
        <p:spPr>
          <a:xfrm>
            <a:off x="4594225" y="1462088"/>
            <a:ext cx="331788" cy="1936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2130425 h 2130425"/>
              <a:gd name="connsiteX1-3" fmla="*/ 365125 w 365125"/>
              <a:gd name="connsiteY1-4" fmla="*/ 0 h 21304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2130425">
                <a:moveTo>
                  <a:pt x="0" y="21304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8" name="任意多边形 87"/>
          <p:cNvSpPr/>
          <p:nvPr/>
        </p:nvSpPr>
        <p:spPr>
          <a:xfrm>
            <a:off x="4935538" y="1463675"/>
            <a:ext cx="587375" cy="1616075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644525 w 644525"/>
              <a:gd name="connsiteY0-14" fmla="*/ 1778000 h 1778000"/>
              <a:gd name="connsiteX1-15" fmla="*/ 0 w 644525"/>
              <a:gd name="connsiteY1-16" fmla="*/ 0 h 177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644525" h="1778000">
                <a:moveTo>
                  <a:pt x="644525" y="17780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9" name="任意多边形 88"/>
          <p:cNvSpPr/>
          <p:nvPr/>
        </p:nvSpPr>
        <p:spPr>
          <a:xfrm>
            <a:off x="5522913" y="2301875"/>
            <a:ext cx="331787" cy="7937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365125"/>
              <a:gd name="connsiteY0-2" fmla="*/ 873125 h 873125"/>
              <a:gd name="connsiteX1-3" fmla="*/ 365125 w 365125"/>
              <a:gd name="connsiteY1-4" fmla="*/ 0 h 87312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365125" h="873125">
                <a:moveTo>
                  <a:pt x="0" y="873125"/>
                </a:moveTo>
                <a:lnTo>
                  <a:pt x="365125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任意多边形 89"/>
          <p:cNvSpPr/>
          <p:nvPr/>
        </p:nvSpPr>
        <p:spPr>
          <a:xfrm>
            <a:off x="5854700" y="2290763"/>
            <a:ext cx="187325" cy="300037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73025 w 73025"/>
              <a:gd name="connsiteY0-2" fmla="*/ 1520825 h 1520825"/>
              <a:gd name="connsiteX1-3" fmla="*/ 0 w 73025"/>
              <a:gd name="connsiteY1-4" fmla="*/ 0 h 1520825"/>
              <a:gd name="connsiteX0-5" fmla="*/ 692150 w 692150"/>
              <a:gd name="connsiteY0-6" fmla="*/ 1520825 h 1520825"/>
              <a:gd name="connsiteX1-7" fmla="*/ 0 w 692150"/>
              <a:gd name="connsiteY1-8" fmla="*/ 0 h 1520825"/>
              <a:gd name="connsiteX0-9" fmla="*/ 511175 w 511175"/>
              <a:gd name="connsiteY0-10" fmla="*/ 1568450 h 1568450"/>
              <a:gd name="connsiteX1-11" fmla="*/ 0 w 511175"/>
              <a:gd name="connsiteY1-12" fmla="*/ 0 h 1568450"/>
              <a:gd name="connsiteX0-13" fmla="*/ 206375 w 206375"/>
              <a:gd name="connsiteY0-14" fmla="*/ 330200 h 330200"/>
              <a:gd name="connsiteX1-15" fmla="*/ 0 w 206375"/>
              <a:gd name="connsiteY1-16" fmla="*/ 0 h 3302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06375" h="330200">
                <a:moveTo>
                  <a:pt x="206375" y="3302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1" name="任意多边形 90"/>
          <p:cNvSpPr/>
          <p:nvPr/>
        </p:nvSpPr>
        <p:spPr>
          <a:xfrm>
            <a:off x="6705600" y="1136650"/>
            <a:ext cx="230188" cy="222250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254000 w 254000"/>
              <a:gd name="connsiteY0-2" fmla="*/ 244475 h 244475"/>
              <a:gd name="connsiteX1-3" fmla="*/ 0 w 254000"/>
              <a:gd name="connsiteY1-4" fmla="*/ 0 h 244475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254000" h="244475">
                <a:moveTo>
                  <a:pt x="254000" y="244475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2" name="任意多边形 91"/>
          <p:cNvSpPr/>
          <p:nvPr/>
        </p:nvSpPr>
        <p:spPr>
          <a:xfrm>
            <a:off x="6042025" y="1174750"/>
            <a:ext cx="690563" cy="1446213"/>
          </a:xfrm>
          <a:custGeom>
            <a:avLst/>
            <a:gdLst>
              <a:gd name="connsiteX0" fmla="*/ 0 w 508000"/>
              <a:gd name="connsiteY0" fmla="*/ 1930400 h 1930400"/>
              <a:gd name="connsiteX1" fmla="*/ 508000 w 508000"/>
              <a:gd name="connsiteY1" fmla="*/ 0 h 1930400"/>
              <a:gd name="connsiteX0-1" fmla="*/ 0 w 298450"/>
              <a:gd name="connsiteY0-2" fmla="*/ 1349375 h 1349375"/>
              <a:gd name="connsiteX1-3" fmla="*/ 298450 w 298450"/>
              <a:gd name="connsiteY1-4" fmla="*/ 0 h 1349375"/>
              <a:gd name="connsiteX0-5" fmla="*/ 0 w 374650"/>
              <a:gd name="connsiteY0-6" fmla="*/ 1682750 h 1682750"/>
              <a:gd name="connsiteX1-7" fmla="*/ 374650 w 374650"/>
              <a:gd name="connsiteY1-8" fmla="*/ 0 h 1682750"/>
              <a:gd name="connsiteX0-9" fmla="*/ 0 w 760222"/>
              <a:gd name="connsiteY0-10" fmla="*/ 1590548 h 1590548"/>
              <a:gd name="connsiteX1-11" fmla="*/ 760222 w 760222"/>
              <a:gd name="connsiteY1-12" fmla="*/ 0 h 159054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</a:cxnLst>
            <a:rect l="l" t="t" r="r" b="b"/>
            <a:pathLst>
              <a:path w="760222" h="1590548">
                <a:moveTo>
                  <a:pt x="0" y="1590548"/>
                </a:moveTo>
                <a:lnTo>
                  <a:pt x="760222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3324" name="TextBox 92"/>
          <p:cNvSpPr txBox="1">
            <a:spLocks noChangeArrowheads="1"/>
          </p:cNvSpPr>
          <p:nvPr/>
        </p:nvSpPr>
        <p:spPr bwMode="auto">
          <a:xfrm>
            <a:off x="3841750" y="2136775"/>
            <a:ext cx="8429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5" name="TextBox 93"/>
          <p:cNvSpPr txBox="1">
            <a:spLocks noChangeArrowheads="1"/>
          </p:cNvSpPr>
          <p:nvPr/>
        </p:nvSpPr>
        <p:spPr bwMode="auto">
          <a:xfrm>
            <a:off x="4273550" y="3522663"/>
            <a:ext cx="84296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6" name="TextBox 94"/>
          <p:cNvSpPr txBox="1">
            <a:spLocks noChangeArrowheads="1"/>
          </p:cNvSpPr>
          <p:nvPr/>
        </p:nvSpPr>
        <p:spPr bwMode="auto">
          <a:xfrm>
            <a:off x="4564063" y="1096963"/>
            <a:ext cx="8429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7" name="TextBox 95"/>
          <p:cNvSpPr txBox="1">
            <a:spLocks noChangeArrowheads="1"/>
          </p:cNvSpPr>
          <p:nvPr/>
        </p:nvSpPr>
        <p:spPr bwMode="auto">
          <a:xfrm>
            <a:off x="5199063" y="3240088"/>
            <a:ext cx="8429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8" name="TextBox 96"/>
          <p:cNvSpPr txBox="1">
            <a:spLocks noChangeArrowheads="1"/>
          </p:cNvSpPr>
          <p:nvPr/>
        </p:nvSpPr>
        <p:spPr bwMode="auto">
          <a:xfrm>
            <a:off x="5703888" y="2746375"/>
            <a:ext cx="8445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29" name="TextBox 97"/>
          <p:cNvSpPr txBox="1">
            <a:spLocks noChangeArrowheads="1"/>
          </p:cNvSpPr>
          <p:nvPr/>
        </p:nvSpPr>
        <p:spPr bwMode="auto">
          <a:xfrm>
            <a:off x="6361113" y="792163"/>
            <a:ext cx="8429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1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zh-CN" altLang="en-US" sz="11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330" name="组合 98"/>
          <p:cNvGrpSpPr/>
          <p:nvPr/>
        </p:nvGrpSpPr>
        <p:grpSpPr bwMode="auto">
          <a:xfrm>
            <a:off x="865188" y="3833813"/>
            <a:ext cx="2316162" cy="739775"/>
            <a:chOff x="183758" y="3792491"/>
            <a:chExt cx="2316215" cy="739566"/>
          </a:xfrm>
        </p:grpSpPr>
        <p:sp>
          <p:nvSpPr>
            <p:cNvPr id="100" name="Pentagon 25"/>
            <p:cNvSpPr/>
            <p:nvPr/>
          </p:nvSpPr>
          <p:spPr bwMode="auto">
            <a:xfrm>
              <a:off x="183758" y="3792491"/>
              <a:ext cx="2316215" cy="739566"/>
            </a:xfrm>
            <a:prstGeom prst="homePlat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3383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4090810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84" name="组合 2076"/>
            <p:cNvGrpSpPr/>
            <p:nvPr/>
          </p:nvGrpSpPr>
          <p:grpSpPr bwMode="auto">
            <a:xfrm>
              <a:off x="323461" y="3994045"/>
              <a:ext cx="336558" cy="336455"/>
              <a:chOff x="1987362" y="-1926186"/>
              <a:chExt cx="960235" cy="959942"/>
            </a:xfrm>
          </p:grpSpPr>
          <p:sp>
            <p:nvSpPr>
              <p:cNvPr id="103" name="Oval 56"/>
              <p:cNvSpPr>
                <a:spLocks noChangeArrowheads="1"/>
              </p:cNvSpPr>
              <p:nvPr/>
            </p:nvSpPr>
            <p:spPr bwMode="auto">
              <a:xfrm>
                <a:off x="1987362" y="-1926183"/>
                <a:ext cx="960235" cy="959942"/>
              </a:xfrm>
              <a:prstGeom prst="ellipse">
                <a:avLst/>
              </a:prstGeom>
              <a:solidFill>
                <a:srgbClr val="FBB04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386" name="Freeform 59"/>
              <p:cNvSpPr>
                <a:spLocks noEditPoints="1"/>
              </p:cNvSpPr>
              <p:nvPr/>
            </p:nvSpPr>
            <p:spPr bwMode="auto">
              <a:xfrm>
                <a:off x="2300287" y="-1685925"/>
                <a:ext cx="338138" cy="479425"/>
              </a:xfrm>
              <a:custGeom>
                <a:avLst/>
                <a:gdLst>
                  <a:gd name="T0" fmla="*/ 2147483646 w 90"/>
                  <a:gd name="T1" fmla="*/ 2147483646 h 128"/>
                  <a:gd name="T2" fmla="*/ 2147483646 w 90"/>
                  <a:gd name="T3" fmla="*/ 2147483646 h 128"/>
                  <a:gd name="T4" fmla="*/ 0 w 90"/>
                  <a:gd name="T5" fmla="*/ 2147483646 h 128"/>
                  <a:gd name="T6" fmla="*/ 0 w 90"/>
                  <a:gd name="T7" fmla="*/ 2147483646 h 128"/>
                  <a:gd name="T8" fmla="*/ 2147483646 w 90"/>
                  <a:gd name="T9" fmla="*/ 0 h 128"/>
                  <a:gd name="T10" fmla="*/ 2147483646 w 90"/>
                  <a:gd name="T11" fmla="*/ 0 h 128"/>
                  <a:gd name="T12" fmla="*/ 2147483646 w 90"/>
                  <a:gd name="T13" fmla="*/ 2147483646 h 128"/>
                  <a:gd name="T14" fmla="*/ 2147483646 w 90"/>
                  <a:gd name="T15" fmla="*/ 2147483646 h 128"/>
                  <a:gd name="T16" fmla="*/ 2147483646 w 90"/>
                  <a:gd name="T17" fmla="*/ 2147483646 h 128"/>
                  <a:gd name="T18" fmla="*/ 2147483646 w 90"/>
                  <a:gd name="T19" fmla="*/ 2147483646 h 128"/>
                  <a:gd name="T20" fmla="*/ 2147483646 w 90"/>
                  <a:gd name="T21" fmla="*/ 2147483646 h 128"/>
                  <a:gd name="T22" fmla="*/ 2147483646 w 90"/>
                  <a:gd name="T23" fmla="*/ 2147483646 h 128"/>
                  <a:gd name="T24" fmla="*/ 2147483646 w 90"/>
                  <a:gd name="T25" fmla="*/ 2147483646 h 128"/>
                  <a:gd name="T26" fmla="*/ 2147483646 w 90"/>
                  <a:gd name="T27" fmla="*/ 2147483646 h 128"/>
                  <a:gd name="T28" fmla="*/ 2147483646 w 90"/>
                  <a:gd name="T29" fmla="*/ 2147483646 h 128"/>
                  <a:gd name="T30" fmla="*/ 2147483646 w 90"/>
                  <a:gd name="T31" fmla="*/ 2147483646 h 128"/>
                  <a:gd name="T32" fmla="*/ 2147483646 w 90"/>
                  <a:gd name="T33" fmla="*/ 2147483646 h 128"/>
                  <a:gd name="T34" fmla="*/ 2147483646 w 90"/>
                  <a:gd name="T35" fmla="*/ 2147483646 h 128"/>
                  <a:gd name="T36" fmla="*/ 2147483646 w 90"/>
                  <a:gd name="T37" fmla="*/ 2147483646 h 128"/>
                  <a:gd name="T38" fmla="*/ 2147483646 w 90"/>
                  <a:gd name="T39" fmla="*/ 2147483646 h 12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0" h="128">
                    <a:moveTo>
                      <a:pt x="57" y="128"/>
                    </a:moveTo>
                    <a:cubicBezTo>
                      <a:pt x="57" y="93"/>
                      <a:pt x="57" y="93"/>
                      <a:pt x="57" y="93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90" y="80"/>
                      <a:pt x="90" y="80"/>
                      <a:pt x="90" y="80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73" y="93"/>
                      <a:pt x="73" y="93"/>
                      <a:pt x="73" y="93"/>
                    </a:cubicBezTo>
                    <a:cubicBezTo>
                      <a:pt x="73" y="128"/>
                      <a:pt x="73" y="128"/>
                      <a:pt x="73" y="128"/>
                    </a:cubicBezTo>
                    <a:lnTo>
                      <a:pt x="57" y="128"/>
                    </a:lnTo>
                    <a:close/>
                    <a:moveTo>
                      <a:pt x="57" y="80"/>
                    </a:moveTo>
                    <a:cubicBezTo>
                      <a:pt x="57" y="37"/>
                      <a:pt x="57" y="37"/>
                      <a:pt x="57" y="37"/>
                    </a:cubicBezTo>
                    <a:cubicBezTo>
                      <a:pt x="57" y="30"/>
                      <a:pt x="57" y="23"/>
                      <a:pt x="58" y="17"/>
                    </a:cubicBezTo>
                    <a:cubicBezTo>
                      <a:pt x="57" y="17"/>
                      <a:pt x="57" y="17"/>
                      <a:pt x="57" y="17"/>
                    </a:cubicBezTo>
                    <a:cubicBezTo>
                      <a:pt x="53" y="24"/>
                      <a:pt x="50" y="30"/>
                      <a:pt x="47" y="36"/>
                    </a:cubicBezTo>
                    <a:cubicBezTo>
                      <a:pt x="17" y="79"/>
                      <a:pt x="17" y="79"/>
                      <a:pt x="17" y="79"/>
                    </a:cubicBezTo>
                    <a:cubicBezTo>
                      <a:pt x="17" y="80"/>
                      <a:pt x="17" y="80"/>
                      <a:pt x="17" y="80"/>
                    </a:cubicBezTo>
                    <a:lnTo>
                      <a:pt x="57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331" name="组合 106"/>
          <p:cNvGrpSpPr/>
          <p:nvPr/>
        </p:nvGrpSpPr>
        <p:grpSpPr bwMode="auto">
          <a:xfrm>
            <a:off x="892175" y="725488"/>
            <a:ext cx="2316163" cy="739775"/>
            <a:chOff x="183758" y="1333005"/>
            <a:chExt cx="2316215" cy="739566"/>
          </a:xfrm>
        </p:grpSpPr>
        <p:sp>
          <p:nvSpPr>
            <p:cNvPr id="108" name="Pentagon 12"/>
            <p:cNvSpPr/>
            <p:nvPr/>
          </p:nvSpPr>
          <p:spPr bwMode="auto">
            <a:xfrm>
              <a:off x="183758" y="1333005"/>
              <a:ext cx="2316215" cy="739566"/>
            </a:xfrm>
            <a:prstGeom prst="homePlat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78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1631323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79" name="组合 2075"/>
            <p:cNvGrpSpPr/>
            <p:nvPr/>
          </p:nvGrpSpPr>
          <p:grpSpPr bwMode="auto">
            <a:xfrm>
              <a:off x="323461" y="1534560"/>
              <a:ext cx="336558" cy="336455"/>
              <a:chOff x="728475" y="-1926183"/>
              <a:chExt cx="960237" cy="959942"/>
            </a:xfrm>
          </p:grpSpPr>
          <p:sp>
            <p:nvSpPr>
              <p:cNvPr id="111" name="Oval 60"/>
              <p:cNvSpPr>
                <a:spLocks noChangeArrowheads="1"/>
              </p:cNvSpPr>
              <p:nvPr/>
            </p:nvSpPr>
            <p:spPr bwMode="auto">
              <a:xfrm>
                <a:off x="728475" y="-1926183"/>
                <a:ext cx="960237" cy="959942"/>
              </a:xfrm>
              <a:prstGeom prst="ellipse">
                <a:avLst/>
              </a:prstGeom>
              <a:solidFill>
                <a:srgbClr val="40BDB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381" name="Freeform 64"/>
              <p:cNvSpPr/>
              <p:nvPr/>
            </p:nvSpPr>
            <p:spPr bwMode="auto">
              <a:xfrm>
                <a:off x="1085850" y="-1685925"/>
                <a:ext cx="153988" cy="479425"/>
              </a:xfrm>
              <a:custGeom>
                <a:avLst/>
                <a:gdLst>
                  <a:gd name="T0" fmla="*/ 2147483646 w 97"/>
                  <a:gd name="T1" fmla="*/ 2147483646 h 302"/>
                  <a:gd name="T2" fmla="*/ 2147483646 w 97"/>
                  <a:gd name="T3" fmla="*/ 2147483646 h 302"/>
                  <a:gd name="T4" fmla="*/ 2147483646 w 97"/>
                  <a:gd name="T5" fmla="*/ 2147483646 h 302"/>
                  <a:gd name="T6" fmla="*/ 0 w 97"/>
                  <a:gd name="T7" fmla="*/ 2147483646 h 302"/>
                  <a:gd name="T8" fmla="*/ 2147483646 w 97"/>
                  <a:gd name="T9" fmla="*/ 0 h 302"/>
                  <a:gd name="T10" fmla="*/ 2147483646 w 97"/>
                  <a:gd name="T11" fmla="*/ 0 h 302"/>
                  <a:gd name="T12" fmla="*/ 2147483646 w 97"/>
                  <a:gd name="T13" fmla="*/ 2147483646 h 302"/>
                  <a:gd name="T14" fmla="*/ 2147483646 w 97"/>
                  <a:gd name="T15" fmla="*/ 2147483646 h 302"/>
                  <a:gd name="T16" fmla="*/ 2147483646 w 97"/>
                  <a:gd name="T17" fmla="*/ 2147483646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7" h="302">
                    <a:moveTo>
                      <a:pt x="59" y="38"/>
                    </a:moveTo>
                    <a:lnTo>
                      <a:pt x="59" y="38"/>
                    </a:lnTo>
                    <a:lnTo>
                      <a:pt x="10" y="66"/>
                    </a:lnTo>
                    <a:lnTo>
                      <a:pt x="0" y="35"/>
                    </a:lnTo>
                    <a:lnTo>
                      <a:pt x="64" y="0"/>
                    </a:lnTo>
                    <a:lnTo>
                      <a:pt x="97" y="0"/>
                    </a:lnTo>
                    <a:lnTo>
                      <a:pt x="97" y="302"/>
                    </a:lnTo>
                    <a:lnTo>
                      <a:pt x="59" y="302"/>
                    </a:lnTo>
                    <a:lnTo>
                      <a:pt x="59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332" name="组合 115"/>
          <p:cNvGrpSpPr/>
          <p:nvPr/>
        </p:nvGrpSpPr>
        <p:grpSpPr bwMode="auto">
          <a:xfrm>
            <a:off x="852488" y="1760538"/>
            <a:ext cx="2316162" cy="739775"/>
            <a:chOff x="193603" y="2149899"/>
            <a:chExt cx="2316215" cy="739566"/>
          </a:xfrm>
        </p:grpSpPr>
        <p:sp>
          <p:nvSpPr>
            <p:cNvPr id="117" name="Pentagon 32"/>
            <p:cNvSpPr/>
            <p:nvPr/>
          </p:nvSpPr>
          <p:spPr bwMode="auto">
            <a:xfrm>
              <a:off x="193603" y="2149899"/>
              <a:ext cx="2316215" cy="739566"/>
            </a:xfrm>
            <a:prstGeom prst="homePlat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3373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2448217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74" name="组合 2074"/>
            <p:cNvGrpSpPr/>
            <p:nvPr/>
          </p:nvGrpSpPr>
          <p:grpSpPr bwMode="auto">
            <a:xfrm>
              <a:off x="323781" y="2351454"/>
              <a:ext cx="336558" cy="336455"/>
              <a:chOff x="-1789975" y="-1926183"/>
              <a:chExt cx="960237" cy="959942"/>
            </a:xfrm>
          </p:grpSpPr>
          <p:sp>
            <p:nvSpPr>
              <p:cNvPr id="120" name="Oval 65"/>
              <p:cNvSpPr>
                <a:spLocks noChangeArrowheads="1"/>
              </p:cNvSpPr>
              <p:nvPr/>
            </p:nvSpPr>
            <p:spPr bwMode="auto">
              <a:xfrm>
                <a:off x="-1789975" y="-1926183"/>
                <a:ext cx="960237" cy="959942"/>
              </a:xfrm>
              <a:prstGeom prst="ellipse">
                <a:avLst/>
              </a:prstGeom>
              <a:solidFill>
                <a:srgbClr val="2B7EA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376" name="Freeform 68"/>
              <p:cNvSpPr/>
              <p:nvPr/>
            </p:nvSpPr>
            <p:spPr bwMode="auto">
              <a:xfrm>
                <a:off x="-1455738" y="-1685925"/>
                <a:ext cx="292100" cy="479425"/>
              </a:xfrm>
              <a:custGeom>
                <a:avLst/>
                <a:gdLst>
                  <a:gd name="T0" fmla="*/ 0 w 78"/>
                  <a:gd name="T1" fmla="*/ 2147483646 h 128"/>
                  <a:gd name="T2" fmla="*/ 0 w 78"/>
                  <a:gd name="T3" fmla="*/ 2147483646 h 128"/>
                  <a:gd name="T4" fmla="*/ 2147483646 w 78"/>
                  <a:gd name="T5" fmla="*/ 2147483646 h 128"/>
                  <a:gd name="T6" fmla="*/ 2147483646 w 78"/>
                  <a:gd name="T7" fmla="*/ 2147483646 h 128"/>
                  <a:gd name="T8" fmla="*/ 2147483646 w 78"/>
                  <a:gd name="T9" fmla="*/ 2147483646 h 128"/>
                  <a:gd name="T10" fmla="*/ 2147483646 w 78"/>
                  <a:gd name="T11" fmla="*/ 2147483646 h 128"/>
                  <a:gd name="T12" fmla="*/ 2147483646 w 78"/>
                  <a:gd name="T13" fmla="*/ 2147483646 h 128"/>
                  <a:gd name="T14" fmla="*/ 2147483646 w 78"/>
                  <a:gd name="T15" fmla="*/ 0 h 128"/>
                  <a:gd name="T16" fmla="*/ 2147483646 w 78"/>
                  <a:gd name="T17" fmla="*/ 2147483646 h 128"/>
                  <a:gd name="T18" fmla="*/ 2147483646 w 78"/>
                  <a:gd name="T19" fmla="*/ 2147483646 h 128"/>
                  <a:gd name="T20" fmla="*/ 2147483646 w 78"/>
                  <a:gd name="T21" fmla="*/ 2147483646 h 128"/>
                  <a:gd name="T22" fmla="*/ 2147483646 w 78"/>
                  <a:gd name="T23" fmla="*/ 2147483646 h 128"/>
                  <a:gd name="T24" fmla="*/ 2147483646 w 78"/>
                  <a:gd name="T25" fmla="*/ 2147483646 h 128"/>
                  <a:gd name="T26" fmla="*/ 2147483646 w 78"/>
                  <a:gd name="T27" fmla="*/ 2147483646 h 128"/>
                  <a:gd name="T28" fmla="*/ 0 w 78"/>
                  <a:gd name="T29" fmla="*/ 2147483646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8" h="128">
                    <a:moveTo>
                      <a:pt x="0" y="128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13" y="105"/>
                      <a:pt x="13" y="105"/>
                      <a:pt x="13" y="105"/>
                    </a:cubicBezTo>
                    <a:cubicBezTo>
                      <a:pt x="44" y="74"/>
                      <a:pt x="58" y="58"/>
                      <a:pt x="58" y="39"/>
                    </a:cubicBezTo>
                    <a:cubicBezTo>
                      <a:pt x="58" y="26"/>
                      <a:pt x="52" y="14"/>
                      <a:pt x="34" y="14"/>
                    </a:cubicBezTo>
                    <a:cubicBezTo>
                      <a:pt x="23" y="14"/>
                      <a:pt x="14" y="20"/>
                      <a:pt x="8" y="25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1" y="5"/>
                      <a:pt x="23" y="0"/>
                      <a:pt x="38" y="0"/>
                    </a:cubicBezTo>
                    <a:cubicBezTo>
                      <a:pt x="64" y="0"/>
                      <a:pt x="75" y="19"/>
                      <a:pt x="75" y="37"/>
                    </a:cubicBezTo>
                    <a:cubicBezTo>
                      <a:pt x="75" y="60"/>
                      <a:pt x="59" y="79"/>
                      <a:pt x="33" y="104"/>
                    </a:cubicBezTo>
                    <a:cubicBezTo>
                      <a:pt x="23" y="113"/>
                      <a:pt x="23" y="113"/>
                      <a:pt x="23" y="113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8" y="128"/>
                      <a:pt x="78" y="128"/>
                      <a:pt x="78" y="128"/>
                    </a:cubicBez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333" name="组合 123"/>
          <p:cNvGrpSpPr/>
          <p:nvPr/>
        </p:nvGrpSpPr>
        <p:grpSpPr bwMode="auto">
          <a:xfrm>
            <a:off x="860425" y="2797175"/>
            <a:ext cx="2316163" cy="739775"/>
            <a:chOff x="183760" y="2975597"/>
            <a:chExt cx="2316214" cy="739566"/>
          </a:xfrm>
        </p:grpSpPr>
        <p:sp>
          <p:nvSpPr>
            <p:cNvPr id="125" name="Pentagon 20"/>
            <p:cNvSpPr/>
            <p:nvPr/>
          </p:nvSpPr>
          <p:spPr bwMode="auto">
            <a:xfrm>
              <a:off x="183760" y="2975597"/>
              <a:ext cx="2316214" cy="739566"/>
            </a:xfrm>
            <a:prstGeom prst="homePlate">
              <a:avLst/>
            </a:prstGeom>
            <a:solidFill>
              <a:srgbClr val="C7636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dirty="0">
                  <a:solidFill>
                    <a:prstClr val="white"/>
                  </a:solidFill>
                </a:rPr>
                <a:t>添加标题</a:t>
              </a:r>
              <a:endParaRPr lang="en-US" altLang="zh-CN" dirty="0">
                <a:solidFill>
                  <a:prstClr val="white"/>
                </a:solidFill>
              </a:endParaRPr>
            </a:p>
          </p:txBody>
        </p:sp>
        <p:sp>
          <p:nvSpPr>
            <p:cNvPr id="13367" name="Freeform 51"/>
            <p:cNvSpPr>
              <a:spLocks noEditPoints="1"/>
            </p:cNvSpPr>
            <p:nvPr/>
          </p:nvSpPr>
          <p:spPr bwMode="auto">
            <a:xfrm rot="10800000" flipH="1" flipV="1">
              <a:off x="1907723" y="3273915"/>
              <a:ext cx="157714" cy="142929"/>
            </a:xfrm>
            <a:custGeom>
              <a:avLst/>
              <a:gdLst>
                <a:gd name="T0" fmla="*/ 2147483646 w 160"/>
                <a:gd name="T1" fmla="*/ 0 h 145"/>
                <a:gd name="T2" fmla="*/ 2147483646 w 160"/>
                <a:gd name="T3" fmla="*/ 2147483646 h 145"/>
                <a:gd name="T4" fmla="*/ 2147483646 w 160"/>
                <a:gd name="T5" fmla="*/ 2147483646 h 145"/>
                <a:gd name="T6" fmla="*/ 2147483646 w 160"/>
                <a:gd name="T7" fmla="*/ 2147483646 h 145"/>
                <a:gd name="T8" fmla="*/ 2147483646 w 160"/>
                <a:gd name="T9" fmla="*/ 2147483646 h 145"/>
                <a:gd name="T10" fmla="*/ 2147483646 w 160"/>
                <a:gd name="T11" fmla="*/ 2147483646 h 145"/>
                <a:gd name="T12" fmla="*/ 2147483646 w 160"/>
                <a:gd name="T13" fmla="*/ 0 h 145"/>
                <a:gd name="T14" fmla="*/ 2147483646 w 160"/>
                <a:gd name="T15" fmla="*/ 0 h 145"/>
                <a:gd name="T16" fmla="*/ 2147483646 w 160"/>
                <a:gd name="T17" fmla="*/ 2147483646 h 145"/>
                <a:gd name="T18" fmla="*/ 2147483646 w 160"/>
                <a:gd name="T19" fmla="*/ 2147483646 h 145"/>
                <a:gd name="T20" fmla="*/ 2147483646 w 160"/>
                <a:gd name="T21" fmla="*/ 2147483646 h 145"/>
                <a:gd name="T22" fmla="*/ 2147483646 w 160"/>
                <a:gd name="T23" fmla="*/ 2147483646 h 145"/>
                <a:gd name="T24" fmla="*/ 2147483646 w 160"/>
                <a:gd name="T25" fmla="*/ 2147483646 h 145"/>
                <a:gd name="T26" fmla="*/ 2147483646 w 160"/>
                <a:gd name="T27" fmla="*/ 0 h 145"/>
                <a:gd name="T28" fmla="*/ 2147483646 w 160"/>
                <a:gd name="T29" fmla="*/ 0 h 145"/>
                <a:gd name="T30" fmla="*/ 0 w 160"/>
                <a:gd name="T31" fmla="*/ 2147483646 h 145"/>
                <a:gd name="T32" fmla="*/ 2147483646 w 160"/>
                <a:gd name="T33" fmla="*/ 2147483646 h 145"/>
                <a:gd name="T34" fmla="*/ 0 w 160"/>
                <a:gd name="T35" fmla="*/ 2147483646 h 145"/>
                <a:gd name="T36" fmla="*/ 2147483646 w 160"/>
                <a:gd name="T37" fmla="*/ 2147483646 h 145"/>
                <a:gd name="T38" fmla="*/ 2147483646 w 160"/>
                <a:gd name="T39" fmla="*/ 2147483646 h 145"/>
                <a:gd name="T40" fmla="*/ 2147483646 w 160"/>
                <a:gd name="T41" fmla="*/ 0 h 14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60" h="145">
                  <a:moveTo>
                    <a:pt x="92" y="0"/>
                  </a:moveTo>
                  <a:lnTo>
                    <a:pt x="76" y="15"/>
                  </a:lnTo>
                  <a:lnTo>
                    <a:pt x="137" y="76"/>
                  </a:lnTo>
                  <a:lnTo>
                    <a:pt x="76" y="137"/>
                  </a:lnTo>
                  <a:lnTo>
                    <a:pt x="92" y="145"/>
                  </a:lnTo>
                  <a:lnTo>
                    <a:pt x="160" y="76"/>
                  </a:lnTo>
                  <a:lnTo>
                    <a:pt x="92" y="0"/>
                  </a:lnTo>
                  <a:close/>
                  <a:moveTo>
                    <a:pt x="54" y="0"/>
                  </a:moveTo>
                  <a:lnTo>
                    <a:pt x="38" y="15"/>
                  </a:lnTo>
                  <a:lnTo>
                    <a:pt x="99" y="76"/>
                  </a:lnTo>
                  <a:lnTo>
                    <a:pt x="38" y="137"/>
                  </a:lnTo>
                  <a:lnTo>
                    <a:pt x="54" y="145"/>
                  </a:lnTo>
                  <a:lnTo>
                    <a:pt x="122" y="76"/>
                  </a:lnTo>
                  <a:lnTo>
                    <a:pt x="54" y="0"/>
                  </a:lnTo>
                  <a:close/>
                  <a:moveTo>
                    <a:pt x="8" y="0"/>
                  </a:moveTo>
                  <a:lnTo>
                    <a:pt x="0" y="15"/>
                  </a:lnTo>
                  <a:lnTo>
                    <a:pt x="61" y="76"/>
                  </a:lnTo>
                  <a:lnTo>
                    <a:pt x="0" y="137"/>
                  </a:lnTo>
                  <a:lnTo>
                    <a:pt x="8" y="145"/>
                  </a:lnTo>
                  <a:lnTo>
                    <a:pt x="84" y="7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13368" name="组合 2073"/>
            <p:cNvGrpSpPr/>
            <p:nvPr/>
          </p:nvGrpSpPr>
          <p:grpSpPr bwMode="auto">
            <a:xfrm>
              <a:off x="324083" y="3175674"/>
              <a:ext cx="339413" cy="339413"/>
              <a:chOff x="-2120900" y="2405063"/>
              <a:chExt cx="968375" cy="968375"/>
            </a:xfrm>
          </p:grpSpPr>
          <p:sp>
            <p:nvSpPr>
              <p:cNvPr id="13369" name="AutoShape 71"/>
              <p:cNvSpPr>
                <a:spLocks noChangeAspect="1" noChangeArrowheads="1" noTextEdit="1"/>
              </p:cNvSpPr>
              <p:nvPr/>
            </p:nvSpPr>
            <p:spPr bwMode="auto">
              <a:xfrm>
                <a:off x="-2120900" y="2405063"/>
                <a:ext cx="968375" cy="96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9" name="Oval 73"/>
              <p:cNvSpPr>
                <a:spLocks noChangeArrowheads="1"/>
              </p:cNvSpPr>
              <p:nvPr/>
            </p:nvSpPr>
            <p:spPr bwMode="auto">
              <a:xfrm>
                <a:off x="-2118138" y="2409282"/>
                <a:ext cx="960226" cy="959935"/>
              </a:xfrm>
              <a:prstGeom prst="ellipse">
                <a:avLst/>
              </a:prstGeom>
              <a:solidFill>
                <a:srgbClr val="8CC63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371" name="Freeform 78"/>
              <p:cNvSpPr/>
              <p:nvPr/>
            </p:nvSpPr>
            <p:spPr bwMode="auto">
              <a:xfrm>
                <a:off x="-1779588" y="2641601"/>
                <a:ext cx="285750" cy="495300"/>
              </a:xfrm>
              <a:custGeom>
                <a:avLst/>
                <a:gdLst>
                  <a:gd name="T0" fmla="*/ 2147483646 w 76"/>
                  <a:gd name="T1" fmla="*/ 2147483646 h 132"/>
                  <a:gd name="T2" fmla="*/ 2147483646 w 76"/>
                  <a:gd name="T3" fmla="*/ 2147483646 h 132"/>
                  <a:gd name="T4" fmla="*/ 2147483646 w 76"/>
                  <a:gd name="T5" fmla="*/ 2147483646 h 132"/>
                  <a:gd name="T6" fmla="*/ 2147483646 w 76"/>
                  <a:gd name="T7" fmla="*/ 2147483646 h 132"/>
                  <a:gd name="T8" fmla="*/ 2147483646 w 76"/>
                  <a:gd name="T9" fmla="*/ 2147483646 h 132"/>
                  <a:gd name="T10" fmla="*/ 2147483646 w 76"/>
                  <a:gd name="T11" fmla="*/ 2147483646 h 132"/>
                  <a:gd name="T12" fmla="*/ 2147483646 w 76"/>
                  <a:gd name="T13" fmla="*/ 2147483646 h 132"/>
                  <a:gd name="T14" fmla="*/ 2147483646 w 76"/>
                  <a:gd name="T15" fmla="*/ 2147483646 h 132"/>
                  <a:gd name="T16" fmla="*/ 2147483646 w 76"/>
                  <a:gd name="T17" fmla="*/ 2147483646 h 132"/>
                  <a:gd name="T18" fmla="*/ 2147483646 w 76"/>
                  <a:gd name="T19" fmla="*/ 2147483646 h 132"/>
                  <a:gd name="T20" fmla="*/ 2147483646 w 76"/>
                  <a:gd name="T21" fmla="*/ 2147483646 h 132"/>
                  <a:gd name="T22" fmla="*/ 2147483646 w 76"/>
                  <a:gd name="T23" fmla="*/ 0 h 132"/>
                  <a:gd name="T24" fmla="*/ 2147483646 w 76"/>
                  <a:gd name="T25" fmla="*/ 2147483646 h 132"/>
                  <a:gd name="T26" fmla="*/ 2147483646 w 76"/>
                  <a:gd name="T27" fmla="*/ 2147483646 h 132"/>
                  <a:gd name="T28" fmla="*/ 2147483646 w 76"/>
                  <a:gd name="T29" fmla="*/ 2147483646 h 132"/>
                  <a:gd name="T30" fmla="*/ 2147483646 w 76"/>
                  <a:gd name="T31" fmla="*/ 2147483646 h 132"/>
                  <a:gd name="T32" fmla="*/ 2147483646 w 76"/>
                  <a:gd name="T33" fmla="*/ 2147483646 h 132"/>
                  <a:gd name="T34" fmla="*/ 0 w 76"/>
                  <a:gd name="T35" fmla="*/ 2147483646 h 132"/>
                  <a:gd name="T36" fmla="*/ 2147483646 w 76"/>
                  <a:gd name="T37" fmla="*/ 2147483646 h 13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6" h="132">
                    <a:moveTo>
                      <a:pt x="4" y="110"/>
                    </a:moveTo>
                    <a:cubicBezTo>
                      <a:pt x="9" y="113"/>
                      <a:pt x="20" y="118"/>
                      <a:pt x="31" y="118"/>
                    </a:cubicBezTo>
                    <a:cubicBezTo>
                      <a:pt x="53" y="118"/>
                      <a:pt x="59" y="104"/>
                      <a:pt x="59" y="93"/>
                    </a:cubicBezTo>
                    <a:cubicBezTo>
                      <a:pt x="59" y="75"/>
                      <a:pt x="43" y="68"/>
                      <a:pt x="2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40" y="55"/>
                      <a:pt x="55" y="48"/>
                      <a:pt x="55" y="33"/>
                    </a:cubicBezTo>
                    <a:cubicBezTo>
                      <a:pt x="55" y="23"/>
                      <a:pt x="49" y="14"/>
                      <a:pt x="33" y="14"/>
                    </a:cubicBezTo>
                    <a:cubicBezTo>
                      <a:pt x="24" y="14"/>
                      <a:pt x="14" y="18"/>
                      <a:pt x="9" y="2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1" y="5"/>
                      <a:pt x="23" y="0"/>
                      <a:pt x="36" y="0"/>
                    </a:cubicBezTo>
                    <a:cubicBezTo>
                      <a:pt x="61" y="0"/>
                      <a:pt x="72" y="15"/>
                      <a:pt x="72" y="30"/>
                    </a:cubicBezTo>
                    <a:cubicBezTo>
                      <a:pt x="72" y="44"/>
                      <a:pt x="64" y="55"/>
                      <a:pt x="49" y="61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64" y="64"/>
                      <a:pt x="76" y="76"/>
                      <a:pt x="76" y="94"/>
                    </a:cubicBezTo>
                    <a:cubicBezTo>
                      <a:pt x="76" y="114"/>
                      <a:pt x="61" y="132"/>
                      <a:pt x="32" y="132"/>
                    </a:cubicBezTo>
                    <a:cubicBezTo>
                      <a:pt x="18" y="132"/>
                      <a:pt x="6" y="127"/>
                      <a:pt x="0" y="123"/>
                    </a:cubicBezTo>
                    <a:lnTo>
                      <a:pt x="4" y="1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grpSp>
        <p:nvGrpSpPr>
          <p:cNvPr id="13334" name="组合 133"/>
          <p:cNvGrpSpPr/>
          <p:nvPr/>
        </p:nvGrpSpPr>
        <p:grpSpPr bwMode="auto">
          <a:xfrm>
            <a:off x="3992563" y="2393950"/>
            <a:ext cx="336550" cy="334963"/>
            <a:chOff x="730250" y="-1925638"/>
            <a:chExt cx="958850" cy="958850"/>
          </a:xfrm>
        </p:grpSpPr>
        <p:sp>
          <p:nvSpPr>
            <p:cNvPr id="135" name="Oval 60"/>
            <p:cNvSpPr>
              <a:spLocks noChangeArrowheads="1"/>
            </p:cNvSpPr>
            <p:nvPr/>
          </p:nvSpPr>
          <p:spPr bwMode="auto">
            <a:xfrm>
              <a:off x="730250" y="-1925638"/>
              <a:ext cx="958850" cy="958850"/>
            </a:xfrm>
            <a:prstGeom prst="ellipse">
              <a:avLst/>
            </a:prstGeom>
            <a:solidFill>
              <a:srgbClr val="40BDB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65" name="Freeform 64"/>
            <p:cNvSpPr/>
            <p:nvPr/>
          </p:nvSpPr>
          <p:spPr bwMode="auto">
            <a:xfrm>
              <a:off x="1085849" y="-1685924"/>
              <a:ext cx="153989" cy="479425"/>
            </a:xfrm>
            <a:custGeom>
              <a:avLst/>
              <a:gdLst>
                <a:gd name="T0" fmla="*/ 2147483646 w 97"/>
                <a:gd name="T1" fmla="*/ 2147483646 h 302"/>
                <a:gd name="T2" fmla="*/ 2147483646 w 97"/>
                <a:gd name="T3" fmla="*/ 2147483646 h 302"/>
                <a:gd name="T4" fmla="*/ 2147483646 w 97"/>
                <a:gd name="T5" fmla="*/ 2147483646 h 302"/>
                <a:gd name="T6" fmla="*/ 0 w 97"/>
                <a:gd name="T7" fmla="*/ 2147483646 h 302"/>
                <a:gd name="T8" fmla="*/ 2147483646 w 97"/>
                <a:gd name="T9" fmla="*/ 0 h 302"/>
                <a:gd name="T10" fmla="*/ 2147483646 w 97"/>
                <a:gd name="T11" fmla="*/ 0 h 302"/>
                <a:gd name="T12" fmla="*/ 2147483646 w 97"/>
                <a:gd name="T13" fmla="*/ 2147483646 h 302"/>
                <a:gd name="T14" fmla="*/ 2147483646 w 97"/>
                <a:gd name="T15" fmla="*/ 2147483646 h 302"/>
                <a:gd name="T16" fmla="*/ 2147483646 w 97"/>
                <a:gd name="T17" fmla="*/ 2147483646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7" h="302">
                  <a:moveTo>
                    <a:pt x="59" y="38"/>
                  </a:moveTo>
                  <a:lnTo>
                    <a:pt x="59" y="38"/>
                  </a:lnTo>
                  <a:lnTo>
                    <a:pt x="10" y="66"/>
                  </a:lnTo>
                  <a:lnTo>
                    <a:pt x="0" y="35"/>
                  </a:lnTo>
                  <a:lnTo>
                    <a:pt x="64" y="0"/>
                  </a:lnTo>
                  <a:lnTo>
                    <a:pt x="97" y="0"/>
                  </a:lnTo>
                  <a:lnTo>
                    <a:pt x="97" y="302"/>
                  </a:lnTo>
                  <a:lnTo>
                    <a:pt x="59" y="302"/>
                  </a:lnTo>
                  <a:lnTo>
                    <a:pt x="59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35" name="组合 139"/>
          <p:cNvGrpSpPr/>
          <p:nvPr/>
        </p:nvGrpSpPr>
        <p:grpSpPr bwMode="auto">
          <a:xfrm>
            <a:off x="4398963" y="3236913"/>
            <a:ext cx="336550" cy="336550"/>
            <a:chOff x="-1789113" y="-1925638"/>
            <a:chExt cx="958850" cy="958850"/>
          </a:xfrm>
        </p:grpSpPr>
        <p:sp>
          <p:nvSpPr>
            <p:cNvPr id="141" name="Oval 65"/>
            <p:cNvSpPr>
              <a:spLocks noChangeArrowheads="1"/>
            </p:cNvSpPr>
            <p:nvPr/>
          </p:nvSpPr>
          <p:spPr bwMode="auto">
            <a:xfrm>
              <a:off x="-1789113" y="-1925638"/>
              <a:ext cx="958850" cy="958850"/>
            </a:xfrm>
            <a:prstGeom prst="ellipse">
              <a:avLst/>
            </a:prstGeom>
            <a:solidFill>
              <a:srgbClr val="2B7EA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63" name="Freeform 68"/>
            <p:cNvSpPr/>
            <p:nvPr/>
          </p:nvSpPr>
          <p:spPr bwMode="auto">
            <a:xfrm>
              <a:off x="-1455738" y="-1685925"/>
              <a:ext cx="292100" cy="479425"/>
            </a:xfrm>
            <a:custGeom>
              <a:avLst/>
              <a:gdLst>
                <a:gd name="T0" fmla="*/ 0 w 78"/>
                <a:gd name="T1" fmla="*/ 2147483646 h 128"/>
                <a:gd name="T2" fmla="*/ 0 w 78"/>
                <a:gd name="T3" fmla="*/ 2147483646 h 128"/>
                <a:gd name="T4" fmla="*/ 2147483646 w 78"/>
                <a:gd name="T5" fmla="*/ 2147483646 h 128"/>
                <a:gd name="T6" fmla="*/ 2147483646 w 78"/>
                <a:gd name="T7" fmla="*/ 2147483646 h 128"/>
                <a:gd name="T8" fmla="*/ 2147483646 w 78"/>
                <a:gd name="T9" fmla="*/ 2147483646 h 128"/>
                <a:gd name="T10" fmla="*/ 2147483646 w 78"/>
                <a:gd name="T11" fmla="*/ 2147483646 h 128"/>
                <a:gd name="T12" fmla="*/ 2147483646 w 78"/>
                <a:gd name="T13" fmla="*/ 2147483646 h 128"/>
                <a:gd name="T14" fmla="*/ 2147483646 w 78"/>
                <a:gd name="T15" fmla="*/ 0 h 128"/>
                <a:gd name="T16" fmla="*/ 2147483646 w 78"/>
                <a:gd name="T17" fmla="*/ 2147483646 h 128"/>
                <a:gd name="T18" fmla="*/ 2147483646 w 78"/>
                <a:gd name="T19" fmla="*/ 2147483646 h 128"/>
                <a:gd name="T20" fmla="*/ 2147483646 w 78"/>
                <a:gd name="T21" fmla="*/ 2147483646 h 128"/>
                <a:gd name="T22" fmla="*/ 2147483646 w 78"/>
                <a:gd name="T23" fmla="*/ 2147483646 h 128"/>
                <a:gd name="T24" fmla="*/ 2147483646 w 78"/>
                <a:gd name="T25" fmla="*/ 2147483646 h 128"/>
                <a:gd name="T26" fmla="*/ 2147483646 w 78"/>
                <a:gd name="T27" fmla="*/ 2147483646 h 128"/>
                <a:gd name="T28" fmla="*/ 0 w 78"/>
                <a:gd name="T29" fmla="*/ 2147483646 h 1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8" h="128">
                  <a:moveTo>
                    <a:pt x="0" y="12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44" y="74"/>
                    <a:pt x="58" y="58"/>
                    <a:pt x="58" y="39"/>
                  </a:cubicBezTo>
                  <a:cubicBezTo>
                    <a:pt x="58" y="26"/>
                    <a:pt x="52" y="14"/>
                    <a:pt x="34" y="14"/>
                  </a:cubicBezTo>
                  <a:cubicBezTo>
                    <a:pt x="23" y="14"/>
                    <a:pt x="14" y="20"/>
                    <a:pt x="8" y="2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1" y="5"/>
                    <a:pt x="23" y="0"/>
                    <a:pt x="38" y="0"/>
                  </a:cubicBezTo>
                  <a:cubicBezTo>
                    <a:pt x="64" y="0"/>
                    <a:pt x="75" y="19"/>
                    <a:pt x="75" y="37"/>
                  </a:cubicBezTo>
                  <a:cubicBezTo>
                    <a:pt x="75" y="60"/>
                    <a:pt x="59" y="79"/>
                    <a:pt x="33" y="104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28"/>
                    <a:pt x="78" y="128"/>
                    <a:pt x="78" y="128"/>
                  </a:cubicBezTo>
                  <a:lnTo>
                    <a:pt x="0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36" name="组合 144"/>
          <p:cNvGrpSpPr/>
          <p:nvPr/>
        </p:nvGrpSpPr>
        <p:grpSpPr bwMode="auto">
          <a:xfrm>
            <a:off x="4754563" y="1362075"/>
            <a:ext cx="339725" cy="339725"/>
            <a:chOff x="-2120900" y="2405063"/>
            <a:chExt cx="968375" cy="968375"/>
          </a:xfrm>
        </p:grpSpPr>
        <p:sp>
          <p:nvSpPr>
            <p:cNvPr id="13357" name="AutoShape 71"/>
            <p:cNvSpPr>
              <a:spLocks noChangeAspect="1" noChangeArrowheads="1" noTextEdit="1"/>
            </p:cNvSpPr>
            <p:nvPr/>
          </p:nvSpPr>
          <p:spPr bwMode="auto">
            <a:xfrm>
              <a:off x="-2120900" y="2405063"/>
              <a:ext cx="968375" cy="968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7" name="Oval 73"/>
            <p:cNvSpPr>
              <a:spLocks noChangeArrowheads="1"/>
            </p:cNvSpPr>
            <p:nvPr/>
          </p:nvSpPr>
          <p:spPr bwMode="auto">
            <a:xfrm>
              <a:off x="-2116373" y="2409587"/>
              <a:ext cx="959325" cy="959325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008FBA">
                  <a:satMod val="300000"/>
                </a:srgbClr>
              </a:contourClr>
            </a:sp3d>
          </p:spPr>
          <p:txBody>
            <a:bodyPr lIns="186423" tIns="93212" rIns="186423" bIns="93212" anchor="b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3361" name="Freeform 78"/>
            <p:cNvSpPr/>
            <p:nvPr/>
          </p:nvSpPr>
          <p:spPr bwMode="auto">
            <a:xfrm>
              <a:off x="-1779588" y="2641601"/>
              <a:ext cx="285750" cy="495300"/>
            </a:xfrm>
            <a:custGeom>
              <a:avLst/>
              <a:gdLst>
                <a:gd name="T0" fmla="*/ 2147483646 w 76"/>
                <a:gd name="T1" fmla="*/ 2147483646 h 132"/>
                <a:gd name="T2" fmla="*/ 2147483646 w 76"/>
                <a:gd name="T3" fmla="*/ 2147483646 h 132"/>
                <a:gd name="T4" fmla="*/ 2147483646 w 76"/>
                <a:gd name="T5" fmla="*/ 2147483646 h 132"/>
                <a:gd name="T6" fmla="*/ 2147483646 w 76"/>
                <a:gd name="T7" fmla="*/ 2147483646 h 132"/>
                <a:gd name="T8" fmla="*/ 2147483646 w 76"/>
                <a:gd name="T9" fmla="*/ 2147483646 h 132"/>
                <a:gd name="T10" fmla="*/ 2147483646 w 76"/>
                <a:gd name="T11" fmla="*/ 2147483646 h 132"/>
                <a:gd name="T12" fmla="*/ 2147483646 w 76"/>
                <a:gd name="T13" fmla="*/ 2147483646 h 132"/>
                <a:gd name="T14" fmla="*/ 2147483646 w 76"/>
                <a:gd name="T15" fmla="*/ 2147483646 h 132"/>
                <a:gd name="T16" fmla="*/ 2147483646 w 76"/>
                <a:gd name="T17" fmla="*/ 2147483646 h 132"/>
                <a:gd name="T18" fmla="*/ 2147483646 w 76"/>
                <a:gd name="T19" fmla="*/ 2147483646 h 132"/>
                <a:gd name="T20" fmla="*/ 2147483646 w 76"/>
                <a:gd name="T21" fmla="*/ 2147483646 h 132"/>
                <a:gd name="T22" fmla="*/ 2147483646 w 76"/>
                <a:gd name="T23" fmla="*/ 0 h 132"/>
                <a:gd name="T24" fmla="*/ 2147483646 w 76"/>
                <a:gd name="T25" fmla="*/ 2147483646 h 132"/>
                <a:gd name="T26" fmla="*/ 2147483646 w 76"/>
                <a:gd name="T27" fmla="*/ 2147483646 h 132"/>
                <a:gd name="T28" fmla="*/ 2147483646 w 76"/>
                <a:gd name="T29" fmla="*/ 2147483646 h 132"/>
                <a:gd name="T30" fmla="*/ 2147483646 w 76"/>
                <a:gd name="T31" fmla="*/ 2147483646 h 132"/>
                <a:gd name="T32" fmla="*/ 2147483646 w 76"/>
                <a:gd name="T33" fmla="*/ 2147483646 h 132"/>
                <a:gd name="T34" fmla="*/ 0 w 76"/>
                <a:gd name="T35" fmla="*/ 2147483646 h 132"/>
                <a:gd name="T36" fmla="*/ 2147483646 w 76"/>
                <a:gd name="T37" fmla="*/ 2147483646 h 1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6" h="132">
                  <a:moveTo>
                    <a:pt x="4" y="110"/>
                  </a:moveTo>
                  <a:cubicBezTo>
                    <a:pt x="9" y="113"/>
                    <a:pt x="20" y="118"/>
                    <a:pt x="31" y="118"/>
                  </a:cubicBezTo>
                  <a:cubicBezTo>
                    <a:pt x="53" y="118"/>
                    <a:pt x="59" y="104"/>
                    <a:pt x="59" y="93"/>
                  </a:cubicBezTo>
                  <a:cubicBezTo>
                    <a:pt x="59" y="75"/>
                    <a:pt x="43" y="68"/>
                    <a:pt x="27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40" y="55"/>
                    <a:pt x="55" y="48"/>
                    <a:pt x="55" y="33"/>
                  </a:cubicBezTo>
                  <a:cubicBezTo>
                    <a:pt x="55" y="23"/>
                    <a:pt x="49" y="14"/>
                    <a:pt x="33" y="14"/>
                  </a:cubicBezTo>
                  <a:cubicBezTo>
                    <a:pt x="24" y="14"/>
                    <a:pt x="14" y="18"/>
                    <a:pt x="9" y="2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5"/>
                    <a:pt x="23" y="0"/>
                    <a:pt x="36" y="0"/>
                  </a:cubicBezTo>
                  <a:cubicBezTo>
                    <a:pt x="61" y="0"/>
                    <a:pt x="72" y="15"/>
                    <a:pt x="72" y="30"/>
                  </a:cubicBezTo>
                  <a:cubicBezTo>
                    <a:pt x="72" y="44"/>
                    <a:pt x="64" y="55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64" y="64"/>
                    <a:pt x="76" y="76"/>
                    <a:pt x="76" y="94"/>
                  </a:cubicBezTo>
                  <a:cubicBezTo>
                    <a:pt x="76" y="114"/>
                    <a:pt x="61" y="132"/>
                    <a:pt x="32" y="132"/>
                  </a:cubicBezTo>
                  <a:cubicBezTo>
                    <a:pt x="18" y="132"/>
                    <a:pt x="6" y="127"/>
                    <a:pt x="0" y="123"/>
                  </a:cubicBezTo>
                  <a:lnTo>
                    <a:pt x="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37" name="组合 151"/>
          <p:cNvGrpSpPr/>
          <p:nvPr/>
        </p:nvGrpSpPr>
        <p:grpSpPr bwMode="auto">
          <a:xfrm>
            <a:off x="5351463" y="2846388"/>
            <a:ext cx="336550" cy="334962"/>
            <a:chOff x="1989137" y="-1925638"/>
            <a:chExt cx="960438" cy="958850"/>
          </a:xfrm>
        </p:grpSpPr>
        <p:sp>
          <p:nvSpPr>
            <p:cNvPr id="153" name="Oval 56"/>
            <p:cNvSpPr>
              <a:spLocks noChangeArrowheads="1"/>
            </p:cNvSpPr>
            <p:nvPr/>
          </p:nvSpPr>
          <p:spPr bwMode="auto">
            <a:xfrm>
              <a:off x="1989137" y="-1925638"/>
              <a:ext cx="960438" cy="958850"/>
            </a:xfrm>
            <a:prstGeom prst="ellipse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56" name="Freeform 59"/>
            <p:cNvSpPr>
              <a:spLocks noEditPoints="1"/>
            </p:cNvSpPr>
            <p:nvPr/>
          </p:nvSpPr>
          <p:spPr bwMode="auto">
            <a:xfrm>
              <a:off x="2300287" y="-1685925"/>
              <a:ext cx="338138" cy="479425"/>
            </a:xfrm>
            <a:custGeom>
              <a:avLst/>
              <a:gdLst>
                <a:gd name="T0" fmla="*/ 2147483646 w 90"/>
                <a:gd name="T1" fmla="*/ 2147483646 h 128"/>
                <a:gd name="T2" fmla="*/ 2147483646 w 90"/>
                <a:gd name="T3" fmla="*/ 2147483646 h 128"/>
                <a:gd name="T4" fmla="*/ 0 w 90"/>
                <a:gd name="T5" fmla="*/ 2147483646 h 128"/>
                <a:gd name="T6" fmla="*/ 0 w 90"/>
                <a:gd name="T7" fmla="*/ 2147483646 h 128"/>
                <a:gd name="T8" fmla="*/ 2147483646 w 90"/>
                <a:gd name="T9" fmla="*/ 0 h 128"/>
                <a:gd name="T10" fmla="*/ 2147483646 w 90"/>
                <a:gd name="T11" fmla="*/ 0 h 128"/>
                <a:gd name="T12" fmla="*/ 2147483646 w 90"/>
                <a:gd name="T13" fmla="*/ 2147483646 h 128"/>
                <a:gd name="T14" fmla="*/ 2147483646 w 90"/>
                <a:gd name="T15" fmla="*/ 2147483646 h 128"/>
                <a:gd name="T16" fmla="*/ 2147483646 w 90"/>
                <a:gd name="T17" fmla="*/ 2147483646 h 128"/>
                <a:gd name="T18" fmla="*/ 2147483646 w 90"/>
                <a:gd name="T19" fmla="*/ 2147483646 h 128"/>
                <a:gd name="T20" fmla="*/ 2147483646 w 90"/>
                <a:gd name="T21" fmla="*/ 2147483646 h 128"/>
                <a:gd name="T22" fmla="*/ 2147483646 w 90"/>
                <a:gd name="T23" fmla="*/ 2147483646 h 128"/>
                <a:gd name="T24" fmla="*/ 2147483646 w 90"/>
                <a:gd name="T25" fmla="*/ 2147483646 h 128"/>
                <a:gd name="T26" fmla="*/ 2147483646 w 90"/>
                <a:gd name="T27" fmla="*/ 2147483646 h 128"/>
                <a:gd name="T28" fmla="*/ 2147483646 w 90"/>
                <a:gd name="T29" fmla="*/ 2147483646 h 128"/>
                <a:gd name="T30" fmla="*/ 2147483646 w 90"/>
                <a:gd name="T31" fmla="*/ 2147483646 h 128"/>
                <a:gd name="T32" fmla="*/ 2147483646 w 90"/>
                <a:gd name="T33" fmla="*/ 2147483646 h 128"/>
                <a:gd name="T34" fmla="*/ 2147483646 w 90"/>
                <a:gd name="T35" fmla="*/ 2147483646 h 128"/>
                <a:gd name="T36" fmla="*/ 2147483646 w 90"/>
                <a:gd name="T37" fmla="*/ 2147483646 h 128"/>
                <a:gd name="T38" fmla="*/ 2147483646 w 90"/>
                <a:gd name="T39" fmla="*/ 2147483646 h 1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0" h="128">
                  <a:moveTo>
                    <a:pt x="57" y="128"/>
                  </a:moveTo>
                  <a:cubicBezTo>
                    <a:pt x="57" y="93"/>
                    <a:pt x="57" y="93"/>
                    <a:pt x="57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93"/>
                    <a:pt x="90" y="93"/>
                    <a:pt x="90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128"/>
                    <a:pt x="73" y="128"/>
                    <a:pt x="73" y="128"/>
                  </a:cubicBezTo>
                  <a:lnTo>
                    <a:pt x="57" y="128"/>
                  </a:lnTo>
                  <a:close/>
                  <a:moveTo>
                    <a:pt x="57" y="80"/>
                  </a:moveTo>
                  <a:cubicBezTo>
                    <a:pt x="57" y="37"/>
                    <a:pt x="57" y="37"/>
                    <a:pt x="57" y="37"/>
                  </a:cubicBezTo>
                  <a:cubicBezTo>
                    <a:pt x="57" y="30"/>
                    <a:pt x="57" y="23"/>
                    <a:pt x="58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3" y="24"/>
                    <a:pt x="50" y="30"/>
                    <a:pt x="47" y="36"/>
                  </a:cubicBezTo>
                  <a:cubicBezTo>
                    <a:pt x="17" y="79"/>
                    <a:pt x="17" y="79"/>
                    <a:pt x="17" y="79"/>
                  </a:cubicBezTo>
                  <a:cubicBezTo>
                    <a:pt x="17" y="80"/>
                    <a:pt x="17" y="80"/>
                    <a:pt x="17" y="80"/>
                  </a:cubicBezTo>
                  <a:lnTo>
                    <a:pt x="5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38" name="组合 156"/>
          <p:cNvGrpSpPr/>
          <p:nvPr/>
        </p:nvGrpSpPr>
        <p:grpSpPr bwMode="auto">
          <a:xfrm>
            <a:off x="5700713" y="2112963"/>
            <a:ext cx="306387" cy="304800"/>
            <a:chOff x="4205288" y="-1533525"/>
            <a:chExt cx="958850" cy="958850"/>
          </a:xfrm>
        </p:grpSpPr>
        <p:sp>
          <p:nvSpPr>
            <p:cNvPr id="13352" name="AutoShape 81"/>
            <p:cNvSpPr>
              <a:spLocks noChangeAspect="1" noChangeArrowheads="1" noTextEdit="1"/>
            </p:cNvSpPr>
            <p:nvPr/>
          </p:nvSpPr>
          <p:spPr bwMode="auto">
            <a:xfrm>
              <a:off x="4208463" y="-1530350"/>
              <a:ext cx="955675" cy="955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59" name="Oval 83"/>
            <p:cNvSpPr>
              <a:spLocks noChangeArrowheads="1"/>
            </p:cNvSpPr>
            <p:nvPr/>
          </p:nvSpPr>
          <p:spPr bwMode="auto">
            <a:xfrm>
              <a:off x="4205288" y="-1533525"/>
              <a:ext cx="958850" cy="958850"/>
            </a:xfrm>
            <a:prstGeom prst="ellipse">
              <a:avLst/>
            </a:prstGeom>
            <a:solidFill>
              <a:srgbClr val="8CC63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54" name="Freeform 86"/>
            <p:cNvSpPr/>
            <p:nvPr/>
          </p:nvSpPr>
          <p:spPr bwMode="auto">
            <a:xfrm>
              <a:off x="4541838" y="-1293813"/>
              <a:ext cx="284163" cy="479425"/>
            </a:xfrm>
            <a:custGeom>
              <a:avLst/>
              <a:gdLst>
                <a:gd name="T0" fmla="*/ 2147483646 w 76"/>
                <a:gd name="T1" fmla="*/ 2147483646 h 128"/>
                <a:gd name="T2" fmla="*/ 2147483646 w 76"/>
                <a:gd name="T3" fmla="*/ 2147483646 h 128"/>
                <a:gd name="T4" fmla="*/ 2147483646 w 76"/>
                <a:gd name="T5" fmla="*/ 2147483646 h 128"/>
                <a:gd name="T6" fmla="*/ 2147483646 w 76"/>
                <a:gd name="T7" fmla="*/ 2147483646 h 128"/>
                <a:gd name="T8" fmla="*/ 2147483646 w 76"/>
                <a:gd name="T9" fmla="*/ 2147483646 h 128"/>
                <a:gd name="T10" fmla="*/ 2147483646 w 76"/>
                <a:gd name="T11" fmla="*/ 2147483646 h 128"/>
                <a:gd name="T12" fmla="*/ 2147483646 w 76"/>
                <a:gd name="T13" fmla="*/ 2147483646 h 128"/>
                <a:gd name="T14" fmla="*/ 0 w 76"/>
                <a:gd name="T15" fmla="*/ 2147483646 h 128"/>
                <a:gd name="T16" fmla="*/ 2147483646 w 76"/>
                <a:gd name="T17" fmla="*/ 2147483646 h 128"/>
                <a:gd name="T18" fmla="*/ 2147483646 w 76"/>
                <a:gd name="T19" fmla="*/ 2147483646 h 128"/>
                <a:gd name="T20" fmla="*/ 2147483646 w 76"/>
                <a:gd name="T21" fmla="*/ 2147483646 h 128"/>
                <a:gd name="T22" fmla="*/ 2147483646 w 76"/>
                <a:gd name="T23" fmla="*/ 2147483646 h 128"/>
                <a:gd name="T24" fmla="*/ 2147483646 w 76"/>
                <a:gd name="T25" fmla="*/ 2147483646 h 128"/>
                <a:gd name="T26" fmla="*/ 2147483646 w 76"/>
                <a:gd name="T27" fmla="*/ 0 h 128"/>
                <a:gd name="T28" fmla="*/ 2147483646 w 76"/>
                <a:gd name="T29" fmla="*/ 0 h 128"/>
                <a:gd name="T30" fmla="*/ 2147483646 w 76"/>
                <a:gd name="T31" fmla="*/ 2147483646 h 1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6" h="128">
                  <a:moveTo>
                    <a:pt x="74" y="14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5" y="46"/>
                    <a:pt x="28" y="46"/>
                    <a:pt x="32" y="46"/>
                  </a:cubicBezTo>
                  <a:cubicBezTo>
                    <a:pt x="42" y="46"/>
                    <a:pt x="51" y="48"/>
                    <a:pt x="59" y="53"/>
                  </a:cubicBezTo>
                  <a:cubicBezTo>
                    <a:pt x="68" y="58"/>
                    <a:pt x="76" y="69"/>
                    <a:pt x="76" y="85"/>
                  </a:cubicBezTo>
                  <a:cubicBezTo>
                    <a:pt x="76" y="110"/>
                    <a:pt x="57" y="128"/>
                    <a:pt x="30" y="128"/>
                  </a:cubicBezTo>
                  <a:cubicBezTo>
                    <a:pt x="17" y="128"/>
                    <a:pt x="6" y="124"/>
                    <a:pt x="0" y="120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9" y="110"/>
                    <a:pt x="19" y="114"/>
                    <a:pt x="30" y="114"/>
                  </a:cubicBezTo>
                  <a:cubicBezTo>
                    <a:pt x="46" y="114"/>
                    <a:pt x="59" y="104"/>
                    <a:pt x="59" y="87"/>
                  </a:cubicBezTo>
                  <a:cubicBezTo>
                    <a:pt x="59" y="71"/>
                    <a:pt x="49" y="59"/>
                    <a:pt x="24" y="59"/>
                  </a:cubicBezTo>
                  <a:cubicBezTo>
                    <a:pt x="17" y="59"/>
                    <a:pt x="12" y="60"/>
                    <a:pt x="7" y="6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39" name="组合 162"/>
          <p:cNvGrpSpPr/>
          <p:nvPr/>
        </p:nvGrpSpPr>
        <p:grpSpPr bwMode="auto">
          <a:xfrm>
            <a:off x="7642225" y="3878263"/>
            <a:ext cx="306388" cy="306387"/>
            <a:chOff x="1754188" y="-1558926"/>
            <a:chExt cx="960438" cy="960438"/>
          </a:xfrm>
        </p:grpSpPr>
        <p:sp>
          <p:nvSpPr>
            <p:cNvPr id="13350" name="Oval 91"/>
            <p:cNvSpPr>
              <a:spLocks noChangeArrowheads="1"/>
            </p:cNvSpPr>
            <p:nvPr/>
          </p:nvSpPr>
          <p:spPr bwMode="auto">
            <a:xfrm>
              <a:off x="1754188" y="-1558926"/>
              <a:ext cx="960438" cy="960438"/>
            </a:xfrm>
            <a:prstGeom prst="ellipse">
              <a:avLst/>
            </a:prstGeom>
            <a:solidFill>
              <a:srgbClr val="EC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51" name="Freeform 95"/>
            <p:cNvSpPr>
              <a:spLocks noEditPoints="1"/>
            </p:cNvSpPr>
            <p:nvPr/>
          </p:nvSpPr>
          <p:spPr bwMode="auto">
            <a:xfrm>
              <a:off x="2081213" y="-1319213"/>
              <a:ext cx="307975" cy="481013"/>
            </a:xfrm>
            <a:custGeom>
              <a:avLst/>
              <a:gdLst>
                <a:gd name="T0" fmla="*/ 2147483646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2147483646 h 128"/>
                <a:gd name="T10" fmla="*/ 2147483646 w 82"/>
                <a:gd name="T11" fmla="*/ 2147483646 h 128"/>
                <a:gd name="T12" fmla="*/ 0 w 82"/>
                <a:gd name="T13" fmla="*/ 2147483646 h 128"/>
                <a:gd name="T14" fmla="*/ 2147483646 w 82"/>
                <a:gd name="T15" fmla="*/ 0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2147483646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82" h="128">
                  <a:moveTo>
                    <a:pt x="10" y="114"/>
                  </a:moveTo>
                  <a:cubicBezTo>
                    <a:pt x="14" y="115"/>
                    <a:pt x="18" y="114"/>
                    <a:pt x="24" y="114"/>
                  </a:cubicBezTo>
                  <a:cubicBezTo>
                    <a:pt x="33" y="112"/>
                    <a:pt x="42" y="108"/>
                    <a:pt x="49" y="102"/>
                  </a:cubicBezTo>
                  <a:cubicBezTo>
                    <a:pt x="57" y="94"/>
                    <a:pt x="63" y="83"/>
                    <a:pt x="65" y="69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58" y="77"/>
                    <a:pt x="48" y="82"/>
                    <a:pt x="36" y="82"/>
                  </a:cubicBezTo>
                  <a:cubicBezTo>
                    <a:pt x="14" y="82"/>
                    <a:pt x="0" y="65"/>
                    <a:pt x="0" y="44"/>
                  </a:cubicBezTo>
                  <a:cubicBezTo>
                    <a:pt x="0" y="21"/>
                    <a:pt x="17" y="0"/>
                    <a:pt x="42" y="0"/>
                  </a:cubicBezTo>
                  <a:cubicBezTo>
                    <a:pt x="67" y="0"/>
                    <a:pt x="82" y="21"/>
                    <a:pt x="82" y="52"/>
                  </a:cubicBezTo>
                  <a:cubicBezTo>
                    <a:pt x="82" y="80"/>
                    <a:pt x="73" y="99"/>
                    <a:pt x="61" y="110"/>
                  </a:cubicBezTo>
                  <a:cubicBezTo>
                    <a:pt x="52" y="120"/>
                    <a:pt x="39" y="125"/>
                    <a:pt x="25" y="127"/>
                  </a:cubicBezTo>
                  <a:cubicBezTo>
                    <a:pt x="19" y="128"/>
                    <a:pt x="14" y="128"/>
                    <a:pt x="10" y="128"/>
                  </a:cubicBezTo>
                  <a:lnTo>
                    <a:pt x="10" y="114"/>
                  </a:lnTo>
                  <a:close/>
                  <a:moveTo>
                    <a:pt x="16" y="43"/>
                  </a:moveTo>
                  <a:cubicBezTo>
                    <a:pt x="16" y="58"/>
                    <a:pt x="25" y="69"/>
                    <a:pt x="40" y="69"/>
                  </a:cubicBezTo>
                  <a:cubicBezTo>
                    <a:pt x="51" y="69"/>
                    <a:pt x="60" y="64"/>
                    <a:pt x="64" y="56"/>
                  </a:cubicBezTo>
                  <a:cubicBezTo>
                    <a:pt x="65" y="55"/>
                    <a:pt x="65" y="53"/>
                    <a:pt x="65" y="50"/>
                  </a:cubicBezTo>
                  <a:cubicBezTo>
                    <a:pt x="65" y="29"/>
                    <a:pt x="58" y="13"/>
                    <a:pt x="40" y="13"/>
                  </a:cubicBezTo>
                  <a:cubicBezTo>
                    <a:pt x="26" y="13"/>
                    <a:pt x="16" y="25"/>
                    <a:pt x="16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40" name="组合 168"/>
          <p:cNvGrpSpPr/>
          <p:nvPr/>
        </p:nvGrpSpPr>
        <p:grpSpPr bwMode="auto">
          <a:xfrm>
            <a:off x="7300913" y="3878263"/>
            <a:ext cx="306387" cy="306387"/>
            <a:chOff x="495300" y="-1558926"/>
            <a:chExt cx="958850" cy="960438"/>
          </a:xfrm>
        </p:grpSpPr>
        <p:sp>
          <p:nvSpPr>
            <p:cNvPr id="13348" name="Oval 96"/>
            <p:cNvSpPr>
              <a:spLocks noChangeArrowheads="1"/>
            </p:cNvSpPr>
            <p:nvPr/>
          </p:nvSpPr>
          <p:spPr bwMode="auto">
            <a:xfrm>
              <a:off x="495300" y="-1558926"/>
              <a:ext cx="958850" cy="960438"/>
            </a:xfrm>
            <a:prstGeom prst="ellipse">
              <a:avLst/>
            </a:prstGeom>
            <a:solidFill>
              <a:srgbClr val="BF43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49" name="Freeform 99"/>
            <p:cNvSpPr>
              <a:spLocks noEditPoints="1"/>
            </p:cNvSpPr>
            <p:nvPr/>
          </p:nvSpPr>
          <p:spPr bwMode="auto">
            <a:xfrm>
              <a:off x="820738" y="-1319213"/>
              <a:ext cx="307975" cy="481013"/>
            </a:xfrm>
            <a:custGeom>
              <a:avLst/>
              <a:gdLst>
                <a:gd name="T0" fmla="*/ 0 w 82"/>
                <a:gd name="T1" fmla="*/ 2147483646 h 128"/>
                <a:gd name="T2" fmla="*/ 2147483646 w 82"/>
                <a:gd name="T3" fmla="*/ 2147483646 h 128"/>
                <a:gd name="T4" fmla="*/ 2147483646 w 82"/>
                <a:gd name="T5" fmla="*/ 2147483646 h 128"/>
                <a:gd name="T6" fmla="*/ 2147483646 w 82"/>
                <a:gd name="T7" fmla="*/ 2147483646 h 128"/>
                <a:gd name="T8" fmla="*/ 2147483646 w 82"/>
                <a:gd name="T9" fmla="*/ 0 h 128"/>
                <a:gd name="T10" fmla="*/ 2147483646 w 82"/>
                <a:gd name="T11" fmla="*/ 2147483646 h 128"/>
                <a:gd name="T12" fmla="*/ 2147483646 w 82"/>
                <a:gd name="T13" fmla="*/ 2147483646 h 128"/>
                <a:gd name="T14" fmla="*/ 2147483646 w 82"/>
                <a:gd name="T15" fmla="*/ 2147483646 h 128"/>
                <a:gd name="T16" fmla="*/ 2147483646 w 82"/>
                <a:gd name="T17" fmla="*/ 2147483646 h 128"/>
                <a:gd name="T18" fmla="*/ 2147483646 w 82"/>
                <a:gd name="T19" fmla="*/ 2147483646 h 128"/>
                <a:gd name="T20" fmla="*/ 0 w 82"/>
                <a:gd name="T21" fmla="*/ 2147483646 h 128"/>
                <a:gd name="T22" fmla="*/ 2147483646 w 82"/>
                <a:gd name="T23" fmla="*/ 2147483646 h 128"/>
                <a:gd name="T24" fmla="*/ 2147483646 w 82"/>
                <a:gd name="T25" fmla="*/ 2147483646 h 128"/>
                <a:gd name="T26" fmla="*/ 2147483646 w 82"/>
                <a:gd name="T27" fmla="*/ 2147483646 h 128"/>
                <a:gd name="T28" fmla="*/ 2147483646 w 82"/>
                <a:gd name="T29" fmla="*/ 2147483646 h 128"/>
                <a:gd name="T30" fmla="*/ 2147483646 w 82"/>
                <a:gd name="T31" fmla="*/ 2147483646 h 128"/>
                <a:gd name="T32" fmla="*/ 2147483646 w 82"/>
                <a:gd name="T33" fmla="*/ 2147483646 h 128"/>
                <a:gd name="T34" fmla="*/ 2147483646 w 82"/>
                <a:gd name="T35" fmla="*/ 2147483646 h 128"/>
                <a:gd name="T36" fmla="*/ 2147483646 w 82"/>
                <a:gd name="T37" fmla="*/ 2147483646 h 128"/>
                <a:gd name="T38" fmla="*/ 2147483646 w 82"/>
                <a:gd name="T39" fmla="*/ 2147483646 h 128"/>
                <a:gd name="T40" fmla="*/ 2147483646 w 82"/>
                <a:gd name="T41" fmla="*/ 2147483646 h 1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2" h="128">
                  <a:moveTo>
                    <a:pt x="0" y="94"/>
                  </a:moveTo>
                  <a:cubicBezTo>
                    <a:pt x="0" y="79"/>
                    <a:pt x="9" y="68"/>
                    <a:pt x="24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0" y="54"/>
                    <a:pt x="4" y="44"/>
                    <a:pt x="4" y="33"/>
                  </a:cubicBezTo>
                  <a:cubicBezTo>
                    <a:pt x="4" y="13"/>
                    <a:pt x="21" y="0"/>
                    <a:pt x="42" y="0"/>
                  </a:cubicBezTo>
                  <a:cubicBezTo>
                    <a:pt x="66" y="0"/>
                    <a:pt x="78" y="15"/>
                    <a:pt x="78" y="30"/>
                  </a:cubicBezTo>
                  <a:cubicBezTo>
                    <a:pt x="78" y="41"/>
                    <a:pt x="73" y="52"/>
                    <a:pt x="58" y="59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73" y="66"/>
                    <a:pt x="82" y="77"/>
                    <a:pt x="82" y="92"/>
                  </a:cubicBezTo>
                  <a:cubicBezTo>
                    <a:pt x="82" y="114"/>
                    <a:pt x="64" y="128"/>
                    <a:pt x="41" y="128"/>
                  </a:cubicBezTo>
                  <a:cubicBezTo>
                    <a:pt x="15" y="128"/>
                    <a:pt x="0" y="113"/>
                    <a:pt x="0" y="94"/>
                  </a:cubicBezTo>
                  <a:close/>
                  <a:moveTo>
                    <a:pt x="66" y="94"/>
                  </a:moveTo>
                  <a:cubicBezTo>
                    <a:pt x="66" y="79"/>
                    <a:pt x="55" y="71"/>
                    <a:pt x="39" y="67"/>
                  </a:cubicBezTo>
                  <a:cubicBezTo>
                    <a:pt x="24" y="71"/>
                    <a:pt x="17" y="80"/>
                    <a:pt x="17" y="92"/>
                  </a:cubicBezTo>
                  <a:cubicBezTo>
                    <a:pt x="16" y="105"/>
                    <a:pt x="25" y="116"/>
                    <a:pt x="41" y="116"/>
                  </a:cubicBezTo>
                  <a:cubicBezTo>
                    <a:pt x="56" y="116"/>
                    <a:pt x="66" y="106"/>
                    <a:pt x="66" y="94"/>
                  </a:cubicBezTo>
                  <a:close/>
                  <a:moveTo>
                    <a:pt x="20" y="32"/>
                  </a:moveTo>
                  <a:cubicBezTo>
                    <a:pt x="20" y="44"/>
                    <a:pt x="29" y="51"/>
                    <a:pt x="43" y="55"/>
                  </a:cubicBezTo>
                  <a:cubicBezTo>
                    <a:pt x="54" y="51"/>
                    <a:pt x="62" y="43"/>
                    <a:pt x="62" y="32"/>
                  </a:cubicBezTo>
                  <a:cubicBezTo>
                    <a:pt x="62" y="22"/>
                    <a:pt x="56" y="12"/>
                    <a:pt x="41" y="12"/>
                  </a:cubicBezTo>
                  <a:cubicBezTo>
                    <a:pt x="28" y="12"/>
                    <a:pt x="20" y="21"/>
                    <a:pt x="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41" name="组合 173"/>
          <p:cNvGrpSpPr/>
          <p:nvPr/>
        </p:nvGrpSpPr>
        <p:grpSpPr bwMode="auto">
          <a:xfrm>
            <a:off x="6575425" y="1020763"/>
            <a:ext cx="304800" cy="304800"/>
            <a:chOff x="3014663" y="-2817813"/>
            <a:chExt cx="960438" cy="958850"/>
          </a:xfrm>
        </p:grpSpPr>
        <p:sp>
          <p:nvSpPr>
            <p:cNvPr id="13345" name="Oval 104"/>
            <p:cNvSpPr>
              <a:spLocks noChangeArrowheads="1"/>
            </p:cNvSpPr>
            <p:nvPr/>
          </p:nvSpPr>
          <p:spPr bwMode="auto">
            <a:xfrm>
              <a:off x="3014663" y="-2817813"/>
              <a:ext cx="960438" cy="958850"/>
            </a:xfrm>
            <a:prstGeom prst="ellipse">
              <a:avLst/>
            </a:prstGeom>
            <a:solidFill>
              <a:srgbClr val="FF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46" name="Freeform 107"/>
            <p:cNvSpPr/>
            <p:nvPr/>
          </p:nvSpPr>
          <p:spPr bwMode="auto">
            <a:xfrm>
              <a:off x="3348038" y="-2525713"/>
              <a:ext cx="225425" cy="153988"/>
            </a:xfrm>
            <a:custGeom>
              <a:avLst/>
              <a:gdLst>
                <a:gd name="T0" fmla="*/ 2147483646 w 142"/>
                <a:gd name="T1" fmla="*/ 0 h 97"/>
                <a:gd name="T2" fmla="*/ 0 w 142"/>
                <a:gd name="T3" fmla="*/ 0 h 97"/>
                <a:gd name="T4" fmla="*/ 2147483646 w 142"/>
                <a:gd name="T5" fmla="*/ 2147483646 h 97"/>
                <a:gd name="T6" fmla="*/ 2147483646 w 142"/>
                <a:gd name="T7" fmla="*/ 2147483646 h 97"/>
                <a:gd name="T8" fmla="*/ 2147483646 w 142"/>
                <a:gd name="T9" fmla="*/ 0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2" h="97">
                  <a:moveTo>
                    <a:pt x="142" y="0"/>
                  </a:moveTo>
                  <a:lnTo>
                    <a:pt x="0" y="0"/>
                  </a:lnTo>
                  <a:lnTo>
                    <a:pt x="97" y="97"/>
                  </a:lnTo>
                  <a:lnTo>
                    <a:pt x="142" y="2"/>
                  </a:lnTo>
                  <a:lnTo>
                    <a:pt x="1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347" name="Freeform 108"/>
            <p:cNvSpPr/>
            <p:nvPr/>
          </p:nvSpPr>
          <p:spPr bwMode="auto">
            <a:xfrm>
              <a:off x="3348038" y="-2578101"/>
              <a:ext cx="293688" cy="479425"/>
            </a:xfrm>
            <a:custGeom>
              <a:avLst/>
              <a:gdLst>
                <a:gd name="T0" fmla="*/ 2147483646 w 185"/>
                <a:gd name="T1" fmla="*/ 0 h 302"/>
                <a:gd name="T2" fmla="*/ 2147483646 w 185"/>
                <a:gd name="T3" fmla="*/ 2147483646 h 302"/>
                <a:gd name="T4" fmla="*/ 2147483646 w 185"/>
                <a:gd name="T5" fmla="*/ 2147483646 h 302"/>
                <a:gd name="T6" fmla="*/ 2147483646 w 185"/>
                <a:gd name="T7" fmla="*/ 2147483646 h 302"/>
                <a:gd name="T8" fmla="*/ 2147483646 w 185"/>
                <a:gd name="T9" fmla="*/ 2147483646 h 302"/>
                <a:gd name="T10" fmla="*/ 2147483646 w 185"/>
                <a:gd name="T11" fmla="*/ 2147483646 h 302"/>
                <a:gd name="T12" fmla="*/ 0 w 185"/>
                <a:gd name="T13" fmla="*/ 2147483646 h 302"/>
                <a:gd name="T14" fmla="*/ 0 w 185"/>
                <a:gd name="T15" fmla="*/ 0 h 302"/>
                <a:gd name="T16" fmla="*/ 2147483646 w 185"/>
                <a:gd name="T17" fmla="*/ 0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5" h="302">
                  <a:moveTo>
                    <a:pt x="185" y="0"/>
                  </a:moveTo>
                  <a:lnTo>
                    <a:pt x="185" y="26"/>
                  </a:lnTo>
                  <a:lnTo>
                    <a:pt x="57" y="302"/>
                  </a:lnTo>
                  <a:lnTo>
                    <a:pt x="17" y="302"/>
                  </a:lnTo>
                  <a:lnTo>
                    <a:pt x="142" y="35"/>
                  </a:lnTo>
                  <a:lnTo>
                    <a:pt x="142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3342" name="组合 179"/>
          <p:cNvGrpSpPr/>
          <p:nvPr/>
        </p:nvGrpSpPr>
        <p:grpSpPr bwMode="auto">
          <a:xfrm>
            <a:off x="5888038" y="2468563"/>
            <a:ext cx="306387" cy="304800"/>
            <a:chOff x="1754188" y="-2817813"/>
            <a:chExt cx="960438" cy="958850"/>
          </a:xfrm>
        </p:grpSpPr>
        <p:sp>
          <p:nvSpPr>
            <p:cNvPr id="13343" name="Oval 100"/>
            <p:cNvSpPr>
              <a:spLocks noChangeArrowheads="1"/>
            </p:cNvSpPr>
            <p:nvPr/>
          </p:nvSpPr>
          <p:spPr bwMode="auto">
            <a:xfrm>
              <a:off x="1754188" y="-2817813"/>
              <a:ext cx="960438" cy="958850"/>
            </a:xfrm>
            <a:prstGeom prst="ellipse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44" name="Freeform 103"/>
            <p:cNvSpPr>
              <a:spLocks noEditPoints="1"/>
            </p:cNvSpPr>
            <p:nvPr/>
          </p:nvSpPr>
          <p:spPr bwMode="auto">
            <a:xfrm>
              <a:off x="2078038" y="-2578101"/>
              <a:ext cx="314325" cy="479425"/>
            </a:xfrm>
            <a:custGeom>
              <a:avLst/>
              <a:gdLst>
                <a:gd name="T0" fmla="*/ 2147483646 w 84"/>
                <a:gd name="T1" fmla="*/ 2147483646 h 128"/>
                <a:gd name="T2" fmla="*/ 2147483646 w 84"/>
                <a:gd name="T3" fmla="*/ 2147483646 h 128"/>
                <a:gd name="T4" fmla="*/ 2147483646 w 84"/>
                <a:gd name="T5" fmla="*/ 2147483646 h 128"/>
                <a:gd name="T6" fmla="*/ 2147483646 w 84"/>
                <a:gd name="T7" fmla="*/ 2147483646 h 128"/>
                <a:gd name="T8" fmla="*/ 2147483646 w 84"/>
                <a:gd name="T9" fmla="*/ 2147483646 h 128"/>
                <a:gd name="T10" fmla="*/ 2147483646 w 84"/>
                <a:gd name="T11" fmla="*/ 2147483646 h 128"/>
                <a:gd name="T12" fmla="*/ 2147483646 w 84"/>
                <a:gd name="T13" fmla="*/ 2147483646 h 128"/>
                <a:gd name="T14" fmla="*/ 0 w 84"/>
                <a:gd name="T15" fmla="*/ 2147483646 h 128"/>
                <a:gd name="T16" fmla="*/ 2147483646 w 84"/>
                <a:gd name="T17" fmla="*/ 2147483646 h 128"/>
                <a:gd name="T18" fmla="*/ 2147483646 w 84"/>
                <a:gd name="T19" fmla="*/ 2147483646 h 128"/>
                <a:gd name="T20" fmla="*/ 2147483646 w 84"/>
                <a:gd name="T21" fmla="*/ 0 h 128"/>
                <a:gd name="T22" fmla="*/ 2147483646 w 84"/>
                <a:gd name="T23" fmla="*/ 2147483646 h 128"/>
                <a:gd name="T24" fmla="*/ 2147483646 w 84"/>
                <a:gd name="T25" fmla="*/ 2147483646 h 128"/>
                <a:gd name="T26" fmla="*/ 2147483646 w 84"/>
                <a:gd name="T27" fmla="*/ 2147483646 h 128"/>
                <a:gd name="T28" fmla="*/ 2147483646 w 84"/>
                <a:gd name="T29" fmla="*/ 2147483646 h 128"/>
                <a:gd name="T30" fmla="*/ 2147483646 w 84"/>
                <a:gd name="T31" fmla="*/ 2147483646 h 128"/>
                <a:gd name="T32" fmla="*/ 2147483646 w 84"/>
                <a:gd name="T33" fmla="*/ 2147483646 h 128"/>
                <a:gd name="T34" fmla="*/ 2147483646 w 84"/>
                <a:gd name="T35" fmla="*/ 2147483646 h 1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4" h="128">
                  <a:moveTo>
                    <a:pt x="72" y="14"/>
                  </a:moveTo>
                  <a:cubicBezTo>
                    <a:pt x="69" y="14"/>
                    <a:pt x="64" y="14"/>
                    <a:pt x="60" y="14"/>
                  </a:cubicBezTo>
                  <a:cubicBezTo>
                    <a:pt x="34" y="19"/>
                    <a:pt x="20" y="38"/>
                    <a:pt x="17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3" y="51"/>
                    <a:pt x="34" y="44"/>
                    <a:pt x="47" y="44"/>
                  </a:cubicBezTo>
                  <a:cubicBezTo>
                    <a:pt x="69" y="44"/>
                    <a:pt x="84" y="60"/>
                    <a:pt x="84" y="84"/>
                  </a:cubicBezTo>
                  <a:cubicBezTo>
                    <a:pt x="84" y="107"/>
                    <a:pt x="69" y="128"/>
                    <a:pt x="43" y="128"/>
                  </a:cubicBezTo>
                  <a:cubicBezTo>
                    <a:pt x="17" y="128"/>
                    <a:pt x="0" y="107"/>
                    <a:pt x="0" y="75"/>
                  </a:cubicBezTo>
                  <a:cubicBezTo>
                    <a:pt x="0" y="51"/>
                    <a:pt x="9" y="31"/>
                    <a:pt x="21" y="19"/>
                  </a:cubicBezTo>
                  <a:cubicBezTo>
                    <a:pt x="31" y="9"/>
                    <a:pt x="44" y="3"/>
                    <a:pt x="60" y="1"/>
                  </a:cubicBezTo>
                  <a:cubicBezTo>
                    <a:pt x="65" y="0"/>
                    <a:pt x="69" y="0"/>
                    <a:pt x="72" y="0"/>
                  </a:cubicBezTo>
                  <a:lnTo>
                    <a:pt x="72" y="14"/>
                  </a:lnTo>
                  <a:close/>
                  <a:moveTo>
                    <a:pt x="67" y="85"/>
                  </a:moveTo>
                  <a:cubicBezTo>
                    <a:pt x="67" y="68"/>
                    <a:pt x="57" y="57"/>
                    <a:pt x="42" y="57"/>
                  </a:cubicBezTo>
                  <a:cubicBezTo>
                    <a:pt x="32" y="57"/>
                    <a:pt x="23" y="63"/>
                    <a:pt x="18" y="72"/>
                  </a:cubicBezTo>
                  <a:cubicBezTo>
                    <a:pt x="17" y="74"/>
                    <a:pt x="16" y="76"/>
                    <a:pt x="16" y="80"/>
                  </a:cubicBezTo>
                  <a:cubicBezTo>
                    <a:pt x="17" y="100"/>
                    <a:pt x="26" y="115"/>
                    <a:pt x="43" y="115"/>
                  </a:cubicBezTo>
                  <a:cubicBezTo>
                    <a:pt x="58" y="115"/>
                    <a:pt x="67" y="103"/>
                    <a:pt x="67" y="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4"/>
          <p:cNvSpPr>
            <a:spLocks noChangeArrowheads="1"/>
          </p:cNvSpPr>
          <p:nvPr/>
        </p:nvSpPr>
        <p:spPr bwMode="auto">
          <a:xfrm>
            <a:off x="3319463" y="1008063"/>
            <a:ext cx="4960937" cy="3444875"/>
          </a:xfrm>
          <a:prstGeom prst="rect">
            <a:avLst/>
          </a:prstGeom>
          <a:solidFill>
            <a:srgbClr val="4395D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882650" y="3375025"/>
            <a:ext cx="2355850" cy="10604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grpSp>
        <p:nvGrpSpPr>
          <p:cNvPr id="14340" name="组合 13"/>
          <p:cNvGrpSpPr/>
          <p:nvPr/>
        </p:nvGrpSpPr>
        <p:grpSpPr bwMode="auto">
          <a:xfrm>
            <a:off x="892175" y="1008063"/>
            <a:ext cx="1135063" cy="1128712"/>
            <a:chOff x="891539" y="1008194"/>
            <a:chExt cx="1135685" cy="1128135"/>
          </a:xfrm>
        </p:grpSpPr>
        <p:sp>
          <p:nvSpPr>
            <p:cNvPr id="3" name="Rectangle 14"/>
            <p:cNvSpPr>
              <a:spLocks noChangeArrowheads="1"/>
            </p:cNvSpPr>
            <p:nvPr/>
          </p:nvSpPr>
          <p:spPr bwMode="auto">
            <a:xfrm>
              <a:off x="891539" y="1008194"/>
              <a:ext cx="1135685" cy="1128135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67" name="Freeform 69"/>
            <p:cNvSpPr>
              <a:spLocks noEditPoints="1"/>
            </p:cNvSpPr>
            <p:nvPr/>
          </p:nvSpPr>
          <p:spPr bwMode="auto">
            <a:xfrm>
              <a:off x="1182104" y="1337855"/>
              <a:ext cx="579953" cy="501115"/>
            </a:xfrm>
            <a:custGeom>
              <a:avLst/>
              <a:gdLst>
                <a:gd name="T0" fmla="*/ 2147483646 w 265"/>
                <a:gd name="T1" fmla="*/ 2147483646 h 252"/>
                <a:gd name="T2" fmla="*/ 2147483646 w 265"/>
                <a:gd name="T3" fmla="*/ 2147483646 h 252"/>
                <a:gd name="T4" fmla="*/ 2147483646 w 265"/>
                <a:gd name="T5" fmla="*/ 2147483646 h 252"/>
                <a:gd name="T6" fmla="*/ 2147483646 w 265"/>
                <a:gd name="T7" fmla="*/ 2147483646 h 252"/>
                <a:gd name="T8" fmla="*/ 2147483646 w 265"/>
                <a:gd name="T9" fmla="*/ 2147483646 h 252"/>
                <a:gd name="T10" fmla="*/ 2147483646 w 265"/>
                <a:gd name="T11" fmla="*/ 2147483646 h 252"/>
                <a:gd name="T12" fmla="*/ 2147483646 w 265"/>
                <a:gd name="T13" fmla="*/ 2147483646 h 252"/>
                <a:gd name="T14" fmla="*/ 2147483646 w 265"/>
                <a:gd name="T15" fmla="*/ 2147483646 h 252"/>
                <a:gd name="T16" fmla="*/ 2147483646 w 265"/>
                <a:gd name="T17" fmla="*/ 2147483646 h 252"/>
                <a:gd name="T18" fmla="*/ 2147483646 w 265"/>
                <a:gd name="T19" fmla="*/ 2147483646 h 252"/>
                <a:gd name="T20" fmla="*/ 2147483646 w 265"/>
                <a:gd name="T21" fmla="*/ 2147483646 h 252"/>
                <a:gd name="T22" fmla="*/ 2147483646 w 265"/>
                <a:gd name="T23" fmla="*/ 2147483646 h 252"/>
                <a:gd name="T24" fmla="*/ 2147483646 w 265"/>
                <a:gd name="T25" fmla="*/ 2147483646 h 252"/>
                <a:gd name="T26" fmla="*/ 2147483646 w 265"/>
                <a:gd name="T27" fmla="*/ 2147483646 h 252"/>
                <a:gd name="T28" fmla="*/ 2147483646 w 265"/>
                <a:gd name="T29" fmla="*/ 2147483646 h 252"/>
                <a:gd name="T30" fmla="*/ 2147483646 w 265"/>
                <a:gd name="T31" fmla="*/ 2147483646 h 252"/>
                <a:gd name="T32" fmla="*/ 2147483646 w 265"/>
                <a:gd name="T33" fmla="*/ 2147483646 h 252"/>
                <a:gd name="T34" fmla="*/ 2147483646 w 265"/>
                <a:gd name="T35" fmla="*/ 2147483646 h 252"/>
                <a:gd name="T36" fmla="*/ 2147483646 w 265"/>
                <a:gd name="T37" fmla="*/ 2147483646 h 252"/>
                <a:gd name="T38" fmla="*/ 2147483646 w 265"/>
                <a:gd name="T39" fmla="*/ 2147483646 h 252"/>
                <a:gd name="T40" fmla="*/ 2147483646 w 265"/>
                <a:gd name="T41" fmla="*/ 2147483646 h 252"/>
                <a:gd name="T42" fmla="*/ 2147483646 w 265"/>
                <a:gd name="T43" fmla="*/ 2147483646 h 252"/>
                <a:gd name="T44" fmla="*/ 2147483646 w 265"/>
                <a:gd name="T45" fmla="*/ 2147483646 h 252"/>
                <a:gd name="T46" fmla="*/ 2147483646 w 265"/>
                <a:gd name="T47" fmla="*/ 2147483646 h 252"/>
                <a:gd name="T48" fmla="*/ 2147483646 w 265"/>
                <a:gd name="T49" fmla="*/ 2147483646 h 252"/>
                <a:gd name="T50" fmla="*/ 2147483646 w 265"/>
                <a:gd name="T51" fmla="*/ 2147483646 h 252"/>
                <a:gd name="T52" fmla="*/ 2147483646 w 265"/>
                <a:gd name="T53" fmla="*/ 2147483646 h 252"/>
                <a:gd name="T54" fmla="*/ 2147483646 w 265"/>
                <a:gd name="T55" fmla="*/ 2147483646 h 252"/>
                <a:gd name="T56" fmla="*/ 2147483646 w 265"/>
                <a:gd name="T57" fmla="*/ 2147483646 h 252"/>
                <a:gd name="T58" fmla="*/ 2147483646 w 265"/>
                <a:gd name="T59" fmla="*/ 2147483646 h 252"/>
                <a:gd name="T60" fmla="*/ 2147483646 w 265"/>
                <a:gd name="T61" fmla="*/ 2147483646 h 252"/>
                <a:gd name="T62" fmla="*/ 2147483646 w 265"/>
                <a:gd name="T63" fmla="*/ 2147483646 h 252"/>
                <a:gd name="T64" fmla="*/ 2147483646 w 265"/>
                <a:gd name="T65" fmla="*/ 2147483646 h 252"/>
                <a:gd name="T66" fmla="*/ 2147483646 w 265"/>
                <a:gd name="T67" fmla="*/ 2147483646 h 252"/>
                <a:gd name="T68" fmla="*/ 2147483646 w 265"/>
                <a:gd name="T69" fmla="*/ 2147483646 h 252"/>
                <a:gd name="T70" fmla="*/ 2147483646 w 265"/>
                <a:gd name="T71" fmla="*/ 2147483646 h 252"/>
                <a:gd name="T72" fmla="*/ 2147483646 w 265"/>
                <a:gd name="T73" fmla="*/ 2147483646 h 252"/>
                <a:gd name="T74" fmla="*/ 2147483646 w 265"/>
                <a:gd name="T75" fmla="*/ 2147483646 h 252"/>
                <a:gd name="T76" fmla="*/ 2147483646 w 265"/>
                <a:gd name="T77" fmla="*/ 2147483646 h 252"/>
                <a:gd name="T78" fmla="*/ 2147483646 w 265"/>
                <a:gd name="T79" fmla="*/ 2147483646 h 252"/>
                <a:gd name="T80" fmla="*/ 2147483646 w 265"/>
                <a:gd name="T81" fmla="*/ 2147483646 h 252"/>
                <a:gd name="T82" fmla="*/ 2147483646 w 265"/>
                <a:gd name="T83" fmla="*/ 2147483646 h 252"/>
                <a:gd name="T84" fmla="*/ 2147483646 w 265"/>
                <a:gd name="T85" fmla="*/ 2147483646 h 252"/>
                <a:gd name="T86" fmla="*/ 2147483646 w 265"/>
                <a:gd name="T87" fmla="*/ 2147483646 h 252"/>
                <a:gd name="T88" fmla="*/ 2147483646 w 265"/>
                <a:gd name="T89" fmla="*/ 2147483646 h 252"/>
                <a:gd name="T90" fmla="*/ 2147483646 w 265"/>
                <a:gd name="T91" fmla="*/ 2147483646 h 252"/>
                <a:gd name="T92" fmla="*/ 2147483646 w 265"/>
                <a:gd name="T93" fmla="*/ 2147483646 h 252"/>
                <a:gd name="T94" fmla="*/ 2147483646 w 265"/>
                <a:gd name="T95" fmla="*/ 2147483646 h 252"/>
                <a:gd name="T96" fmla="*/ 2147483646 w 265"/>
                <a:gd name="T97" fmla="*/ 2147483646 h 252"/>
                <a:gd name="T98" fmla="*/ 2147483646 w 265"/>
                <a:gd name="T99" fmla="*/ 2147483646 h 252"/>
                <a:gd name="T100" fmla="*/ 2147483646 w 265"/>
                <a:gd name="T101" fmla="*/ 2147483646 h 252"/>
                <a:gd name="T102" fmla="*/ 2147483646 w 265"/>
                <a:gd name="T103" fmla="*/ 2147483646 h 252"/>
                <a:gd name="T104" fmla="*/ 2147483646 w 265"/>
                <a:gd name="T105" fmla="*/ 2147483646 h 252"/>
                <a:gd name="T106" fmla="*/ 2147483646 w 265"/>
                <a:gd name="T107" fmla="*/ 2147483646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5" h="252">
                  <a:moveTo>
                    <a:pt x="234" y="107"/>
                  </a:moveTo>
                  <a:cubicBezTo>
                    <a:pt x="235" y="101"/>
                    <a:pt x="236" y="94"/>
                    <a:pt x="236" y="87"/>
                  </a:cubicBezTo>
                  <a:cubicBezTo>
                    <a:pt x="247" y="86"/>
                    <a:pt x="259" y="81"/>
                    <a:pt x="261" y="98"/>
                  </a:cubicBezTo>
                  <a:cubicBezTo>
                    <a:pt x="265" y="122"/>
                    <a:pt x="261" y="126"/>
                    <a:pt x="229" y="129"/>
                  </a:cubicBezTo>
                  <a:cubicBezTo>
                    <a:pt x="229" y="152"/>
                    <a:pt x="230" y="175"/>
                    <a:pt x="229" y="198"/>
                  </a:cubicBezTo>
                  <a:cubicBezTo>
                    <a:pt x="228" y="206"/>
                    <a:pt x="222" y="214"/>
                    <a:pt x="219" y="222"/>
                  </a:cubicBezTo>
                  <a:cubicBezTo>
                    <a:pt x="217" y="225"/>
                    <a:pt x="213" y="227"/>
                    <a:pt x="214" y="229"/>
                  </a:cubicBezTo>
                  <a:cubicBezTo>
                    <a:pt x="214" y="252"/>
                    <a:pt x="198" y="249"/>
                    <a:pt x="186" y="246"/>
                  </a:cubicBezTo>
                  <a:cubicBezTo>
                    <a:pt x="179" y="245"/>
                    <a:pt x="173" y="235"/>
                    <a:pt x="166" y="229"/>
                  </a:cubicBezTo>
                  <a:cubicBezTo>
                    <a:pt x="167" y="228"/>
                    <a:pt x="168" y="226"/>
                    <a:pt x="170" y="224"/>
                  </a:cubicBezTo>
                  <a:cubicBezTo>
                    <a:pt x="145" y="224"/>
                    <a:pt x="121" y="224"/>
                    <a:pt x="96" y="224"/>
                  </a:cubicBezTo>
                  <a:cubicBezTo>
                    <a:pt x="89" y="246"/>
                    <a:pt x="82" y="251"/>
                    <a:pt x="62" y="247"/>
                  </a:cubicBezTo>
                  <a:cubicBezTo>
                    <a:pt x="59" y="246"/>
                    <a:pt x="56" y="246"/>
                    <a:pt x="55" y="244"/>
                  </a:cubicBezTo>
                  <a:cubicBezTo>
                    <a:pt x="48" y="229"/>
                    <a:pt x="38" y="214"/>
                    <a:pt x="36" y="198"/>
                  </a:cubicBezTo>
                  <a:cubicBezTo>
                    <a:pt x="33" y="176"/>
                    <a:pt x="35" y="153"/>
                    <a:pt x="35" y="131"/>
                  </a:cubicBezTo>
                  <a:cubicBezTo>
                    <a:pt x="3" y="123"/>
                    <a:pt x="0" y="120"/>
                    <a:pt x="3" y="98"/>
                  </a:cubicBezTo>
                  <a:cubicBezTo>
                    <a:pt x="5" y="86"/>
                    <a:pt x="7" y="85"/>
                    <a:pt x="28" y="87"/>
                  </a:cubicBezTo>
                  <a:cubicBezTo>
                    <a:pt x="29" y="94"/>
                    <a:pt x="30" y="101"/>
                    <a:pt x="31" y="107"/>
                  </a:cubicBezTo>
                  <a:cubicBezTo>
                    <a:pt x="32" y="107"/>
                    <a:pt x="34" y="107"/>
                    <a:pt x="35" y="107"/>
                  </a:cubicBezTo>
                  <a:cubicBezTo>
                    <a:pt x="35" y="88"/>
                    <a:pt x="36" y="68"/>
                    <a:pt x="35" y="49"/>
                  </a:cubicBezTo>
                  <a:cubicBezTo>
                    <a:pt x="34" y="35"/>
                    <a:pt x="41" y="27"/>
                    <a:pt x="53" y="22"/>
                  </a:cubicBezTo>
                  <a:cubicBezTo>
                    <a:pt x="106" y="1"/>
                    <a:pt x="158" y="0"/>
                    <a:pt x="211" y="20"/>
                  </a:cubicBezTo>
                  <a:cubicBezTo>
                    <a:pt x="225" y="25"/>
                    <a:pt x="230" y="32"/>
                    <a:pt x="229" y="46"/>
                  </a:cubicBezTo>
                  <a:cubicBezTo>
                    <a:pt x="229" y="67"/>
                    <a:pt x="229" y="87"/>
                    <a:pt x="229" y="107"/>
                  </a:cubicBezTo>
                  <a:cubicBezTo>
                    <a:pt x="231" y="107"/>
                    <a:pt x="233" y="107"/>
                    <a:pt x="234" y="107"/>
                  </a:cubicBezTo>
                  <a:close/>
                  <a:moveTo>
                    <a:pt x="176" y="127"/>
                  </a:moveTo>
                  <a:cubicBezTo>
                    <a:pt x="215" y="125"/>
                    <a:pt x="211" y="129"/>
                    <a:pt x="211" y="90"/>
                  </a:cubicBezTo>
                  <a:cubicBezTo>
                    <a:pt x="211" y="87"/>
                    <a:pt x="211" y="84"/>
                    <a:pt x="211" y="80"/>
                  </a:cubicBezTo>
                  <a:cubicBezTo>
                    <a:pt x="212" y="70"/>
                    <a:pt x="209" y="62"/>
                    <a:pt x="197" y="64"/>
                  </a:cubicBezTo>
                  <a:cubicBezTo>
                    <a:pt x="179" y="67"/>
                    <a:pt x="154" y="52"/>
                    <a:pt x="143" y="73"/>
                  </a:cubicBezTo>
                  <a:cubicBezTo>
                    <a:pt x="136" y="85"/>
                    <a:pt x="140" y="106"/>
                    <a:pt x="145" y="121"/>
                  </a:cubicBezTo>
                  <a:cubicBezTo>
                    <a:pt x="146" y="126"/>
                    <a:pt x="165" y="125"/>
                    <a:pt x="176" y="127"/>
                  </a:cubicBezTo>
                  <a:close/>
                  <a:moveTo>
                    <a:pt x="86" y="126"/>
                  </a:moveTo>
                  <a:cubicBezTo>
                    <a:pt x="91" y="126"/>
                    <a:pt x="97" y="125"/>
                    <a:pt x="102" y="126"/>
                  </a:cubicBezTo>
                  <a:cubicBezTo>
                    <a:pt x="119" y="128"/>
                    <a:pt x="125" y="121"/>
                    <a:pt x="123" y="104"/>
                  </a:cubicBezTo>
                  <a:cubicBezTo>
                    <a:pt x="123" y="96"/>
                    <a:pt x="123" y="87"/>
                    <a:pt x="123" y="78"/>
                  </a:cubicBezTo>
                  <a:cubicBezTo>
                    <a:pt x="123" y="58"/>
                    <a:pt x="107" y="62"/>
                    <a:pt x="98" y="64"/>
                  </a:cubicBezTo>
                  <a:cubicBezTo>
                    <a:pt x="83" y="68"/>
                    <a:pt x="59" y="49"/>
                    <a:pt x="54" y="78"/>
                  </a:cubicBezTo>
                  <a:cubicBezTo>
                    <a:pt x="52" y="88"/>
                    <a:pt x="53" y="99"/>
                    <a:pt x="53" y="110"/>
                  </a:cubicBezTo>
                  <a:cubicBezTo>
                    <a:pt x="53" y="121"/>
                    <a:pt x="57" y="126"/>
                    <a:pt x="68" y="126"/>
                  </a:cubicBezTo>
                  <a:cubicBezTo>
                    <a:pt x="74" y="125"/>
                    <a:pt x="80" y="126"/>
                    <a:pt x="86" y="126"/>
                  </a:cubicBezTo>
                  <a:close/>
                  <a:moveTo>
                    <a:pt x="93" y="31"/>
                  </a:moveTo>
                  <a:cubicBezTo>
                    <a:pt x="111" y="41"/>
                    <a:pt x="159" y="40"/>
                    <a:pt x="170" y="30"/>
                  </a:cubicBezTo>
                  <a:cubicBezTo>
                    <a:pt x="156" y="21"/>
                    <a:pt x="109" y="20"/>
                    <a:pt x="93" y="31"/>
                  </a:cubicBezTo>
                  <a:close/>
                  <a:moveTo>
                    <a:pt x="218" y="178"/>
                  </a:moveTo>
                  <a:cubicBezTo>
                    <a:pt x="206" y="170"/>
                    <a:pt x="199" y="161"/>
                    <a:pt x="192" y="161"/>
                  </a:cubicBezTo>
                  <a:cubicBezTo>
                    <a:pt x="186" y="161"/>
                    <a:pt x="180" y="172"/>
                    <a:pt x="174" y="178"/>
                  </a:cubicBezTo>
                  <a:cubicBezTo>
                    <a:pt x="180" y="184"/>
                    <a:pt x="186" y="194"/>
                    <a:pt x="193" y="196"/>
                  </a:cubicBezTo>
                  <a:cubicBezTo>
                    <a:pt x="199" y="197"/>
                    <a:pt x="206" y="187"/>
                    <a:pt x="218" y="178"/>
                  </a:cubicBezTo>
                  <a:close/>
                  <a:moveTo>
                    <a:pt x="98" y="177"/>
                  </a:moveTo>
                  <a:cubicBezTo>
                    <a:pt x="86" y="169"/>
                    <a:pt x="78" y="161"/>
                    <a:pt x="71" y="161"/>
                  </a:cubicBezTo>
                  <a:cubicBezTo>
                    <a:pt x="65" y="162"/>
                    <a:pt x="59" y="173"/>
                    <a:pt x="54" y="179"/>
                  </a:cubicBezTo>
                  <a:cubicBezTo>
                    <a:pt x="60" y="185"/>
                    <a:pt x="66" y="195"/>
                    <a:pt x="74" y="196"/>
                  </a:cubicBezTo>
                  <a:cubicBezTo>
                    <a:pt x="80" y="196"/>
                    <a:pt x="87" y="186"/>
                    <a:pt x="98" y="1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4341" name="组合 30"/>
          <p:cNvGrpSpPr/>
          <p:nvPr/>
        </p:nvGrpSpPr>
        <p:grpSpPr bwMode="auto">
          <a:xfrm>
            <a:off x="2101850" y="1008063"/>
            <a:ext cx="1136650" cy="1128712"/>
            <a:chOff x="2102406" y="1008194"/>
            <a:chExt cx="1135685" cy="1128135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2102406" y="1008194"/>
              <a:ext cx="1135685" cy="1128135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65" name="Freeform 80"/>
            <p:cNvSpPr/>
            <p:nvPr/>
          </p:nvSpPr>
          <p:spPr bwMode="auto">
            <a:xfrm>
              <a:off x="2420204" y="1337855"/>
              <a:ext cx="562772" cy="480013"/>
            </a:xfrm>
            <a:custGeom>
              <a:avLst/>
              <a:gdLst>
                <a:gd name="T0" fmla="*/ 1004144095 w 248"/>
                <a:gd name="T1" fmla="*/ 1076693833 h 214"/>
                <a:gd name="T2" fmla="*/ 746671366 w 248"/>
                <a:gd name="T3" fmla="*/ 1076693833 h 214"/>
                <a:gd name="T4" fmla="*/ 746671366 w 248"/>
                <a:gd name="T5" fmla="*/ 729534524 h 214"/>
                <a:gd name="T6" fmla="*/ 504647637 w 248"/>
                <a:gd name="T7" fmla="*/ 729534524 h 214"/>
                <a:gd name="T8" fmla="*/ 504647637 w 248"/>
                <a:gd name="T9" fmla="*/ 1076693833 h 214"/>
                <a:gd name="T10" fmla="*/ 252323819 w 248"/>
                <a:gd name="T11" fmla="*/ 1076693833 h 214"/>
                <a:gd name="T12" fmla="*/ 252323819 w 248"/>
                <a:gd name="T13" fmla="*/ 644004731 h 214"/>
                <a:gd name="T14" fmla="*/ 169932182 w 248"/>
                <a:gd name="T15" fmla="*/ 709409867 h 214"/>
                <a:gd name="T16" fmla="*/ 36046908 w 248"/>
                <a:gd name="T17" fmla="*/ 689285210 h 214"/>
                <a:gd name="T18" fmla="*/ 20597909 w 248"/>
                <a:gd name="T19" fmla="*/ 563503859 h 214"/>
                <a:gd name="T20" fmla="*/ 545843455 w 248"/>
                <a:gd name="T21" fmla="*/ 50313886 h 214"/>
                <a:gd name="T22" fmla="*/ 736373547 w 248"/>
                <a:gd name="T23" fmla="*/ 75469707 h 214"/>
                <a:gd name="T24" fmla="*/ 1199823096 w 248"/>
                <a:gd name="T25" fmla="*/ 528283466 h 214"/>
                <a:gd name="T26" fmla="*/ 1215272095 w 248"/>
                <a:gd name="T27" fmla="*/ 694316374 h 214"/>
                <a:gd name="T28" fmla="*/ 1050488823 w 248"/>
                <a:gd name="T29" fmla="*/ 684254045 h 214"/>
                <a:gd name="T30" fmla="*/ 1004144095 w 248"/>
                <a:gd name="T31" fmla="*/ 644004731 h 214"/>
                <a:gd name="T32" fmla="*/ 1004144095 w 248"/>
                <a:gd name="T33" fmla="*/ 1076693833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8" h="214">
                  <a:moveTo>
                    <a:pt x="195" y="214"/>
                  </a:moveTo>
                  <a:cubicBezTo>
                    <a:pt x="176" y="214"/>
                    <a:pt x="161" y="214"/>
                    <a:pt x="145" y="214"/>
                  </a:cubicBezTo>
                  <a:cubicBezTo>
                    <a:pt x="145" y="191"/>
                    <a:pt x="145" y="169"/>
                    <a:pt x="145" y="145"/>
                  </a:cubicBezTo>
                  <a:cubicBezTo>
                    <a:pt x="129" y="145"/>
                    <a:pt x="115" y="145"/>
                    <a:pt x="98" y="145"/>
                  </a:cubicBezTo>
                  <a:cubicBezTo>
                    <a:pt x="98" y="167"/>
                    <a:pt x="98" y="190"/>
                    <a:pt x="98" y="214"/>
                  </a:cubicBezTo>
                  <a:cubicBezTo>
                    <a:pt x="81" y="214"/>
                    <a:pt x="66" y="214"/>
                    <a:pt x="49" y="214"/>
                  </a:cubicBezTo>
                  <a:cubicBezTo>
                    <a:pt x="49" y="187"/>
                    <a:pt x="49" y="160"/>
                    <a:pt x="49" y="128"/>
                  </a:cubicBezTo>
                  <a:cubicBezTo>
                    <a:pt x="41" y="135"/>
                    <a:pt x="37" y="141"/>
                    <a:pt x="33" y="141"/>
                  </a:cubicBezTo>
                  <a:cubicBezTo>
                    <a:pt x="24" y="142"/>
                    <a:pt x="12" y="143"/>
                    <a:pt x="7" y="137"/>
                  </a:cubicBezTo>
                  <a:cubicBezTo>
                    <a:pt x="2" y="132"/>
                    <a:pt x="0" y="117"/>
                    <a:pt x="4" y="112"/>
                  </a:cubicBezTo>
                  <a:cubicBezTo>
                    <a:pt x="37" y="77"/>
                    <a:pt x="71" y="43"/>
                    <a:pt x="106" y="10"/>
                  </a:cubicBezTo>
                  <a:cubicBezTo>
                    <a:pt x="117" y="0"/>
                    <a:pt x="132" y="3"/>
                    <a:pt x="143" y="15"/>
                  </a:cubicBezTo>
                  <a:cubicBezTo>
                    <a:pt x="173" y="45"/>
                    <a:pt x="203" y="75"/>
                    <a:pt x="233" y="105"/>
                  </a:cubicBezTo>
                  <a:cubicBezTo>
                    <a:pt x="244" y="115"/>
                    <a:pt x="248" y="126"/>
                    <a:pt x="236" y="138"/>
                  </a:cubicBezTo>
                  <a:cubicBezTo>
                    <a:pt x="225" y="150"/>
                    <a:pt x="214" y="148"/>
                    <a:pt x="204" y="136"/>
                  </a:cubicBezTo>
                  <a:cubicBezTo>
                    <a:pt x="202" y="135"/>
                    <a:pt x="200" y="133"/>
                    <a:pt x="195" y="128"/>
                  </a:cubicBezTo>
                  <a:cubicBezTo>
                    <a:pt x="195" y="159"/>
                    <a:pt x="195" y="186"/>
                    <a:pt x="195" y="2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4342" name="组合 3"/>
          <p:cNvGrpSpPr/>
          <p:nvPr/>
        </p:nvGrpSpPr>
        <p:grpSpPr bwMode="auto">
          <a:xfrm>
            <a:off x="892175" y="2190750"/>
            <a:ext cx="2519363" cy="1128713"/>
            <a:chOff x="891539" y="2191140"/>
            <a:chExt cx="2519825" cy="1128135"/>
          </a:xfrm>
        </p:grpSpPr>
        <p:sp>
          <p:nvSpPr>
            <p:cNvPr id="14358" name="Rectangle 14"/>
            <p:cNvSpPr>
              <a:spLocks noChangeArrowheads="1"/>
            </p:cNvSpPr>
            <p:nvPr/>
          </p:nvSpPr>
          <p:spPr bwMode="auto">
            <a:xfrm>
              <a:off x="891539" y="2191140"/>
              <a:ext cx="2346552" cy="1128135"/>
            </a:xfrm>
            <a:prstGeom prst="rect">
              <a:avLst/>
            </a:prstGeom>
            <a:solidFill>
              <a:srgbClr val="00B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000000"/>
                </a:solidFill>
              </a:endParaRPr>
            </a:p>
          </p:txBody>
        </p:sp>
        <p:grpSp>
          <p:nvGrpSpPr>
            <p:cNvPr id="14359" name="组合 8"/>
            <p:cNvGrpSpPr/>
            <p:nvPr/>
          </p:nvGrpSpPr>
          <p:grpSpPr bwMode="auto">
            <a:xfrm>
              <a:off x="1245306" y="2530441"/>
              <a:ext cx="453547" cy="449530"/>
              <a:chOff x="3176006" y="3601259"/>
              <a:chExt cx="453547" cy="449530"/>
            </a:xfrm>
          </p:grpSpPr>
          <p:sp>
            <p:nvSpPr>
              <p:cNvPr id="14361" name="Freeform 279"/>
              <p:cNvSpPr>
                <a:spLocks noEditPoints="1"/>
              </p:cNvSpPr>
              <p:nvPr/>
            </p:nvSpPr>
            <p:spPr bwMode="auto">
              <a:xfrm>
                <a:off x="3176006" y="3747359"/>
                <a:ext cx="312694" cy="303430"/>
              </a:xfrm>
              <a:custGeom>
                <a:avLst/>
                <a:gdLst>
                  <a:gd name="T0" fmla="*/ 2080373141 w 47"/>
                  <a:gd name="T1" fmla="*/ 1087783357 h 46"/>
                  <a:gd name="T2" fmla="*/ 1991847474 w 47"/>
                  <a:gd name="T3" fmla="*/ 870224047 h 46"/>
                  <a:gd name="T4" fmla="*/ 1814796139 w 47"/>
                  <a:gd name="T5" fmla="*/ 783199004 h 46"/>
                  <a:gd name="T6" fmla="*/ 1726263819 w 47"/>
                  <a:gd name="T7" fmla="*/ 522137067 h 46"/>
                  <a:gd name="T8" fmla="*/ 1814796139 w 47"/>
                  <a:gd name="T9" fmla="*/ 348086980 h 46"/>
                  <a:gd name="T10" fmla="*/ 1637738152 w 47"/>
                  <a:gd name="T11" fmla="*/ 217559310 h 46"/>
                  <a:gd name="T12" fmla="*/ 1416423983 w 47"/>
                  <a:gd name="T13" fmla="*/ 348086980 h 46"/>
                  <a:gd name="T14" fmla="*/ 1195109815 w 47"/>
                  <a:gd name="T15" fmla="*/ 174043490 h 46"/>
                  <a:gd name="T16" fmla="*/ 1106584148 w 47"/>
                  <a:gd name="T17" fmla="*/ 0 h 46"/>
                  <a:gd name="T18" fmla="*/ 885263326 w 47"/>
                  <a:gd name="T19" fmla="*/ 43509223 h 46"/>
                  <a:gd name="T20" fmla="*/ 841000493 w 47"/>
                  <a:gd name="T21" fmla="*/ 261068533 h 46"/>
                  <a:gd name="T22" fmla="*/ 531160657 w 47"/>
                  <a:gd name="T23" fmla="*/ 304577757 h 46"/>
                  <a:gd name="T24" fmla="*/ 354109322 w 47"/>
                  <a:gd name="T25" fmla="*/ 217559310 h 46"/>
                  <a:gd name="T26" fmla="*/ 265577002 w 47"/>
                  <a:gd name="T27" fmla="*/ 435112024 h 46"/>
                  <a:gd name="T28" fmla="*/ 354109322 w 47"/>
                  <a:gd name="T29" fmla="*/ 609155514 h 46"/>
                  <a:gd name="T30" fmla="*/ 221314168 w 47"/>
                  <a:gd name="T31" fmla="*/ 870224047 h 46"/>
                  <a:gd name="T32" fmla="*/ 0 w 47"/>
                  <a:gd name="T33" fmla="*/ 913733271 h 46"/>
                  <a:gd name="T34" fmla="*/ 44262834 w 47"/>
                  <a:gd name="T35" fmla="*/ 1131292581 h 46"/>
                  <a:gd name="T36" fmla="*/ 265577002 w 47"/>
                  <a:gd name="T37" fmla="*/ 1174801804 h 46"/>
                  <a:gd name="T38" fmla="*/ 354109322 w 47"/>
                  <a:gd name="T39" fmla="*/ 1479379561 h 46"/>
                  <a:gd name="T40" fmla="*/ 265577002 w 47"/>
                  <a:gd name="T41" fmla="*/ 1653429648 h 46"/>
                  <a:gd name="T42" fmla="*/ 442634990 w 47"/>
                  <a:gd name="T43" fmla="*/ 1783957318 h 46"/>
                  <a:gd name="T44" fmla="*/ 663949158 w 47"/>
                  <a:gd name="T45" fmla="*/ 1653429648 h 46"/>
                  <a:gd name="T46" fmla="*/ 885263326 w 47"/>
                  <a:gd name="T47" fmla="*/ 1827473138 h 46"/>
                  <a:gd name="T48" fmla="*/ 973788994 w 47"/>
                  <a:gd name="T49" fmla="*/ 2001516628 h 46"/>
                  <a:gd name="T50" fmla="*/ 1195109815 w 47"/>
                  <a:gd name="T51" fmla="*/ 1958007405 h 46"/>
                  <a:gd name="T52" fmla="*/ 1239372649 w 47"/>
                  <a:gd name="T53" fmla="*/ 1740448095 h 46"/>
                  <a:gd name="T54" fmla="*/ 1504949651 w 47"/>
                  <a:gd name="T55" fmla="*/ 1653429648 h 46"/>
                  <a:gd name="T56" fmla="*/ 1726263819 w 47"/>
                  <a:gd name="T57" fmla="*/ 1783957318 h 46"/>
                  <a:gd name="T58" fmla="*/ 1814796139 w 47"/>
                  <a:gd name="T59" fmla="*/ 1566404605 h 46"/>
                  <a:gd name="T60" fmla="*/ 1726263819 w 47"/>
                  <a:gd name="T61" fmla="*/ 1392361114 h 46"/>
                  <a:gd name="T62" fmla="*/ 1859058973 w 47"/>
                  <a:gd name="T63" fmla="*/ 1131292581 h 46"/>
                  <a:gd name="T64" fmla="*/ 1018051827 w 47"/>
                  <a:gd name="T65" fmla="*/ 1479379561 h 46"/>
                  <a:gd name="T66" fmla="*/ 575423491 w 47"/>
                  <a:gd name="T67" fmla="*/ 1000758314 h 46"/>
                  <a:gd name="T68" fmla="*/ 1504949651 w 47"/>
                  <a:gd name="T69" fmla="*/ 1000758314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7" h="46">
                    <a:moveTo>
                      <a:pt x="45" y="26"/>
                    </a:moveTo>
                    <a:cubicBezTo>
                      <a:pt x="46" y="26"/>
                      <a:pt x="47" y="25"/>
                      <a:pt x="47" y="2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20"/>
                      <a:pt x="46" y="20"/>
                      <a:pt x="45" y="20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8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3"/>
                      <a:pt x="38" y="12"/>
                      <a:pt x="39" y="12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2" y="9"/>
                      <a:pt x="42" y="8"/>
                      <a:pt x="41" y="8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7" y="5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3" y="8"/>
                      <a:pt x="32" y="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0"/>
                      <a:pt x="20" y="1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5"/>
                      <a:pt x="20" y="6"/>
                      <a:pt x="19" y="6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4" y="8"/>
                      <a:pt x="13" y="8"/>
                      <a:pt x="12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5"/>
                      <a:pt x="8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9" y="13"/>
                      <a:pt x="8" y="14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26"/>
                      <a:pt x="6" y="27"/>
                      <a:pt x="6" y="2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8" y="33"/>
                      <a:pt x="8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5" y="37"/>
                      <a:pt x="5" y="38"/>
                      <a:pt x="6" y="38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9" y="41"/>
                      <a:pt x="10" y="41"/>
                      <a:pt x="10" y="41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3" y="38"/>
                      <a:pt x="14" y="38"/>
                      <a:pt x="15" y="38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0" y="40"/>
                      <a:pt x="20" y="41"/>
                      <a:pt x="20" y="42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0" y="46"/>
                      <a:pt x="21" y="46"/>
                      <a:pt x="22" y="46"/>
                    </a:cubicBezTo>
                    <a:cubicBezTo>
                      <a:pt x="25" y="46"/>
                      <a:pt x="25" y="46"/>
                      <a:pt x="25" y="46"/>
                    </a:cubicBezTo>
                    <a:cubicBezTo>
                      <a:pt x="26" y="46"/>
                      <a:pt x="27" y="46"/>
                      <a:pt x="27" y="45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1"/>
                      <a:pt x="27" y="40"/>
                      <a:pt x="28" y="40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3" y="38"/>
                      <a:pt x="34" y="38"/>
                      <a:pt x="34" y="38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7" y="41"/>
                      <a:pt x="38" y="41"/>
                      <a:pt x="39" y="41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8" y="33"/>
                      <a:pt x="38" y="32"/>
                      <a:pt x="39" y="32"/>
                    </a:cubicBezTo>
                    <a:cubicBezTo>
                      <a:pt x="41" y="27"/>
                      <a:pt x="41" y="27"/>
                      <a:pt x="41" y="27"/>
                    </a:cubicBezTo>
                    <a:cubicBezTo>
                      <a:pt x="41" y="27"/>
                      <a:pt x="42" y="26"/>
                      <a:pt x="42" y="26"/>
                    </a:cubicBezTo>
                    <a:cubicBezTo>
                      <a:pt x="45" y="26"/>
                      <a:pt x="45" y="26"/>
                      <a:pt x="45" y="26"/>
                    </a:cubicBezTo>
                    <a:close/>
                    <a:moveTo>
                      <a:pt x="23" y="34"/>
                    </a:moveTo>
                    <a:cubicBezTo>
                      <a:pt x="23" y="34"/>
                      <a:pt x="23" y="34"/>
                      <a:pt x="23" y="34"/>
                    </a:cubicBezTo>
                    <a:cubicBezTo>
                      <a:pt x="18" y="34"/>
                      <a:pt x="13" y="29"/>
                      <a:pt x="13" y="23"/>
                    </a:cubicBezTo>
                    <a:cubicBezTo>
                      <a:pt x="13" y="17"/>
                      <a:pt x="18" y="12"/>
                      <a:pt x="23" y="12"/>
                    </a:cubicBezTo>
                    <a:cubicBezTo>
                      <a:pt x="29" y="12"/>
                      <a:pt x="34" y="17"/>
                      <a:pt x="34" y="23"/>
                    </a:cubicBezTo>
                    <a:cubicBezTo>
                      <a:pt x="34" y="29"/>
                      <a:pt x="29" y="34"/>
                      <a:pt x="2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2" name="Freeform 280"/>
              <p:cNvSpPr>
                <a:spLocks noEditPoints="1"/>
              </p:cNvSpPr>
              <p:nvPr/>
            </p:nvSpPr>
            <p:spPr bwMode="auto">
              <a:xfrm>
                <a:off x="3387283" y="3601259"/>
                <a:ext cx="174655" cy="177003"/>
              </a:xfrm>
              <a:custGeom>
                <a:avLst/>
                <a:gdLst>
                  <a:gd name="T0" fmla="*/ 1173244963 w 26"/>
                  <a:gd name="T1" fmla="*/ 644651482 h 27"/>
                  <a:gd name="T2" fmla="*/ 1128123515 w 26"/>
                  <a:gd name="T3" fmla="*/ 515721185 h 27"/>
                  <a:gd name="T4" fmla="*/ 1037873903 w 26"/>
                  <a:gd name="T5" fmla="*/ 472742235 h 27"/>
                  <a:gd name="T6" fmla="*/ 992745738 w 26"/>
                  <a:gd name="T7" fmla="*/ 300839543 h 27"/>
                  <a:gd name="T8" fmla="*/ 1037873903 w 26"/>
                  <a:gd name="T9" fmla="*/ 214881642 h 27"/>
                  <a:gd name="T10" fmla="*/ 902496125 w 26"/>
                  <a:gd name="T11" fmla="*/ 171909247 h 27"/>
                  <a:gd name="T12" fmla="*/ 812246513 w 26"/>
                  <a:gd name="T13" fmla="*/ 214881642 h 27"/>
                  <a:gd name="T14" fmla="*/ 676875453 w 26"/>
                  <a:gd name="T15" fmla="*/ 128930296 h 27"/>
                  <a:gd name="T16" fmla="*/ 631747288 w 26"/>
                  <a:gd name="T17" fmla="*/ 0 h 27"/>
                  <a:gd name="T18" fmla="*/ 496376228 w 26"/>
                  <a:gd name="T19" fmla="*/ 42978951 h 27"/>
                  <a:gd name="T20" fmla="*/ 451248063 w 26"/>
                  <a:gd name="T21" fmla="*/ 171909247 h 27"/>
                  <a:gd name="T22" fmla="*/ 315877003 w 26"/>
                  <a:gd name="T23" fmla="*/ 214881642 h 27"/>
                  <a:gd name="T24" fmla="*/ 180499225 w 26"/>
                  <a:gd name="T25" fmla="*/ 171909247 h 27"/>
                  <a:gd name="T26" fmla="*/ 135377778 w 26"/>
                  <a:gd name="T27" fmla="*/ 257860593 h 27"/>
                  <a:gd name="T28" fmla="*/ 180499225 w 26"/>
                  <a:gd name="T29" fmla="*/ 386790889 h 27"/>
                  <a:gd name="T30" fmla="*/ 90249613 w 26"/>
                  <a:gd name="T31" fmla="*/ 515721185 h 27"/>
                  <a:gd name="T32" fmla="*/ 0 w 26"/>
                  <a:gd name="T33" fmla="*/ 558700136 h 27"/>
                  <a:gd name="T34" fmla="*/ 45128165 w 26"/>
                  <a:gd name="T35" fmla="*/ 644651482 h 27"/>
                  <a:gd name="T36" fmla="*/ 135377778 w 26"/>
                  <a:gd name="T37" fmla="*/ 687630432 h 27"/>
                  <a:gd name="T38" fmla="*/ 180499225 w 26"/>
                  <a:gd name="T39" fmla="*/ 859533124 h 27"/>
                  <a:gd name="T40" fmla="*/ 135377778 w 26"/>
                  <a:gd name="T41" fmla="*/ 945491025 h 27"/>
                  <a:gd name="T42" fmla="*/ 270748838 w 26"/>
                  <a:gd name="T43" fmla="*/ 1031442371 h 27"/>
                  <a:gd name="T44" fmla="*/ 360998450 w 26"/>
                  <a:gd name="T45" fmla="*/ 945491025 h 27"/>
                  <a:gd name="T46" fmla="*/ 496376228 w 26"/>
                  <a:gd name="T47" fmla="*/ 1031442371 h 27"/>
                  <a:gd name="T48" fmla="*/ 541497675 w 26"/>
                  <a:gd name="T49" fmla="*/ 1160372667 h 27"/>
                  <a:gd name="T50" fmla="*/ 676875453 w 26"/>
                  <a:gd name="T51" fmla="*/ 1117393716 h 27"/>
                  <a:gd name="T52" fmla="*/ 676875453 w 26"/>
                  <a:gd name="T53" fmla="*/ 988463420 h 27"/>
                  <a:gd name="T54" fmla="*/ 857374678 w 26"/>
                  <a:gd name="T55" fmla="*/ 945491025 h 27"/>
                  <a:gd name="T56" fmla="*/ 992745738 w 26"/>
                  <a:gd name="T57" fmla="*/ 1031442371 h 27"/>
                  <a:gd name="T58" fmla="*/ 1037873903 w 26"/>
                  <a:gd name="T59" fmla="*/ 902512074 h 27"/>
                  <a:gd name="T60" fmla="*/ 992745738 w 26"/>
                  <a:gd name="T61" fmla="*/ 816560729 h 27"/>
                  <a:gd name="T62" fmla="*/ 1082995350 w 26"/>
                  <a:gd name="T63" fmla="*/ 644651482 h 27"/>
                  <a:gd name="T64" fmla="*/ 586625840 w 26"/>
                  <a:gd name="T65" fmla="*/ 859533124 h 27"/>
                  <a:gd name="T66" fmla="*/ 315877003 w 26"/>
                  <a:gd name="T67" fmla="*/ 601672531 h 27"/>
                  <a:gd name="T68" fmla="*/ 857374678 w 26"/>
                  <a:gd name="T69" fmla="*/ 601672531 h 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" h="27">
                    <a:moveTo>
                      <a:pt x="25" y="15"/>
                    </a:moveTo>
                    <a:cubicBezTo>
                      <a:pt x="26" y="15"/>
                      <a:pt x="26" y="15"/>
                      <a:pt x="26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5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3" y="12"/>
                      <a:pt x="23" y="11"/>
                      <a:pt x="23" y="11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2" y="7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6"/>
                      <a:pt x="23" y="5"/>
                      <a:pt x="23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1" y="3"/>
                      <a:pt x="21" y="3"/>
                      <a:pt x="20" y="4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4" y="9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2"/>
                      <a:pt x="2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0" y="12"/>
                      <a:pt x="0" y="12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5" y="19"/>
                      <a:pt x="5" y="19"/>
                      <a:pt x="4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24"/>
                      <a:pt x="5" y="24"/>
                      <a:pt x="6" y="24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8" y="22"/>
                      <a:pt x="8" y="22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6"/>
                      <a:pt x="12" y="27"/>
                      <a:pt x="12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5" y="26"/>
                      <a:pt x="15" y="26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2"/>
                      <a:pt x="19" y="22"/>
                      <a:pt x="19" y="22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2" y="24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1"/>
                      <a:pt x="23" y="21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3" y="15"/>
                      <a:pt x="24" y="15"/>
                    </a:cubicBezTo>
                    <a:cubicBezTo>
                      <a:pt x="25" y="15"/>
                      <a:pt x="25" y="15"/>
                      <a:pt x="25" y="15"/>
                    </a:cubicBez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0" y="20"/>
                      <a:pt x="7" y="17"/>
                      <a:pt x="7" y="14"/>
                    </a:cubicBezTo>
                    <a:cubicBezTo>
                      <a:pt x="7" y="10"/>
                      <a:pt x="10" y="8"/>
                      <a:pt x="13" y="8"/>
                    </a:cubicBezTo>
                    <a:cubicBezTo>
                      <a:pt x="16" y="8"/>
                      <a:pt x="19" y="10"/>
                      <a:pt x="19" y="14"/>
                    </a:cubicBezTo>
                    <a:cubicBezTo>
                      <a:pt x="19" y="17"/>
                      <a:pt x="16" y="20"/>
                      <a:pt x="1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363" name="Freeform 281"/>
              <p:cNvSpPr>
                <a:spLocks noEditPoints="1"/>
              </p:cNvSpPr>
              <p:nvPr/>
            </p:nvSpPr>
            <p:spPr bwMode="auto">
              <a:xfrm>
                <a:off x="3483063" y="3873786"/>
                <a:ext cx="146490" cy="143289"/>
              </a:xfrm>
              <a:custGeom>
                <a:avLst/>
                <a:gdLst>
                  <a:gd name="T0" fmla="*/ 975423641 w 22"/>
                  <a:gd name="T1" fmla="*/ 509053712 h 22"/>
                  <a:gd name="T2" fmla="*/ 931083781 w 22"/>
                  <a:gd name="T3" fmla="*/ 381787027 h 22"/>
                  <a:gd name="T4" fmla="*/ 842410721 w 22"/>
                  <a:gd name="T5" fmla="*/ 381787027 h 22"/>
                  <a:gd name="T6" fmla="*/ 798070861 w 22"/>
                  <a:gd name="T7" fmla="*/ 254526856 h 22"/>
                  <a:gd name="T8" fmla="*/ 842410721 w 22"/>
                  <a:gd name="T9" fmla="*/ 169686742 h 22"/>
                  <a:gd name="T10" fmla="*/ 753737660 w 22"/>
                  <a:gd name="T11" fmla="*/ 127260171 h 22"/>
                  <a:gd name="T12" fmla="*/ 665064600 w 22"/>
                  <a:gd name="T13" fmla="*/ 169686742 h 22"/>
                  <a:gd name="T14" fmla="*/ 576384881 w 22"/>
                  <a:gd name="T15" fmla="*/ 84840114 h 22"/>
                  <a:gd name="T16" fmla="*/ 532051680 w 22"/>
                  <a:gd name="T17" fmla="*/ 0 h 22"/>
                  <a:gd name="T18" fmla="*/ 443371961 w 22"/>
                  <a:gd name="T19" fmla="*/ 42420057 h 22"/>
                  <a:gd name="T20" fmla="*/ 399038760 w 22"/>
                  <a:gd name="T21" fmla="*/ 127260171 h 22"/>
                  <a:gd name="T22" fmla="*/ 266025840 w 22"/>
                  <a:gd name="T23" fmla="*/ 169686742 h 22"/>
                  <a:gd name="T24" fmla="*/ 177352780 w 22"/>
                  <a:gd name="T25" fmla="*/ 127260171 h 22"/>
                  <a:gd name="T26" fmla="*/ 133012920 w 22"/>
                  <a:gd name="T27" fmla="*/ 212106799 h 22"/>
                  <a:gd name="T28" fmla="*/ 177352780 w 22"/>
                  <a:gd name="T29" fmla="*/ 296946913 h 22"/>
                  <a:gd name="T30" fmla="*/ 88673060 w 22"/>
                  <a:gd name="T31" fmla="*/ 381787027 h 22"/>
                  <a:gd name="T32" fmla="*/ 0 w 22"/>
                  <a:gd name="T33" fmla="*/ 424207085 h 22"/>
                  <a:gd name="T34" fmla="*/ 44339860 w 22"/>
                  <a:gd name="T35" fmla="*/ 509053712 h 22"/>
                  <a:gd name="T36" fmla="*/ 133012920 w 22"/>
                  <a:gd name="T37" fmla="*/ 551473769 h 22"/>
                  <a:gd name="T38" fmla="*/ 177352780 w 22"/>
                  <a:gd name="T39" fmla="*/ 678733940 h 22"/>
                  <a:gd name="T40" fmla="*/ 133012920 w 22"/>
                  <a:gd name="T41" fmla="*/ 763574055 h 22"/>
                  <a:gd name="T42" fmla="*/ 221685980 w 22"/>
                  <a:gd name="T43" fmla="*/ 806000625 h 22"/>
                  <a:gd name="T44" fmla="*/ 310359041 w 22"/>
                  <a:gd name="T45" fmla="*/ 763574055 h 22"/>
                  <a:gd name="T46" fmla="*/ 443371961 w 22"/>
                  <a:gd name="T47" fmla="*/ 848420682 h 22"/>
                  <a:gd name="T48" fmla="*/ 443371961 w 22"/>
                  <a:gd name="T49" fmla="*/ 933260796 h 22"/>
                  <a:gd name="T50" fmla="*/ 576384881 w 22"/>
                  <a:gd name="T51" fmla="*/ 890840739 h 22"/>
                  <a:gd name="T52" fmla="*/ 576384881 w 22"/>
                  <a:gd name="T53" fmla="*/ 806000625 h 22"/>
                  <a:gd name="T54" fmla="*/ 709397801 w 22"/>
                  <a:gd name="T55" fmla="*/ 763574055 h 22"/>
                  <a:gd name="T56" fmla="*/ 798070861 w 22"/>
                  <a:gd name="T57" fmla="*/ 806000625 h 22"/>
                  <a:gd name="T58" fmla="*/ 842410721 w 22"/>
                  <a:gd name="T59" fmla="*/ 721153998 h 22"/>
                  <a:gd name="T60" fmla="*/ 798070861 w 22"/>
                  <a:gd name="T61" fmla="*/ 636313883 h 22"/>
                  <a:gd name="T62" fmla="*/ 886750580 w 22"/>
                  <a:gd name="T63" fmla="*/ 509053712 h 22"/>
                  <a:gd name="T64" fmla="*/ 487711820 w 22"/>
                  <a:gd name="T65" fmla="*/ 678733940 h 22"/>
                  <a:gd name="T66" fmla="*/ 266025840 w 22"/>
                  <a:gd name="T67" fmla="*/ 466633655 h 22"/>
                  <a:gd name="T68" fmla="*/ 709397801 w 22"/>
                  <a:gd name="T69" fmla="*/ 466633655 h 2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2" h="22">
                    <a:moveTo>
                      <a:pt x="21" y="12"/>
                    </a:move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10"/>
                      <a:pt x="22" y="9"/>
                      <a:pt x="21" y="9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0" y="4"/>
                      <a:pt x="20" y="4"/>
                      <a:pt x="19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2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9" y="3"/>
                      <a:pt x="9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2"/>
                      <a:pt x="4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0" y="10"/>
                      <a:pt x="0" y="1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3"/>
                      <a:pt x="3" y="13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19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6" y="18"/>
                      <a:pt x="7" y="18"/>
                      <a:pt x="7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9"/>
                      <a:pt x="10" y="19"/>
                      <a:pt x="10" y="2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2"/>
                      <a:pt x="10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13" y="21"/>
                      <a:pt x="13" y="21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18"/>
                      <a:pt x="16" y="18"/>
                      <a:pt x="16" y="18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17" y="19"/>
                      <a:pt x="18" y="19"/>
                      <a:pt x="18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20" y="18"/>
                      <a:pt x="20" y="17"/>
                      <a:pt x="19" y="1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5"/>
                      <a:pt x="18" y="15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2"/>
                      <a:pt x="20" y="12"/>
                    </a:cubicBezTo>
                    <a:cubicBezTo>
                      <a:pt x="21" y="12"/>
                      <a:pt x="21" y="12"/>
                      <a:pt x="21" y="12"/>
                    </a:cubicBezTo>
                    <a:close/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8" y="16"/>
                      <a:pt x="6" y="14"/>
                      <a:pt x="6" y="11"/>
                    </a:cubicBezTo>
                    <a:cubicBezTo>
                      <a:pt x="6" y="8"/>
                      <a:pt x="8" y="6"/>
                      <a:pt x="11" y="6"/>
                    </a:cubicBezTo>
                    <a:cubicBezTo>
                      <a:pt x="14" y="6"/>
                      <a:pt x="16" y="8"/>
                      <a:pt x="16" y="11"/>
                    </a:cubicBezTo>
                    <a:cubicBezTo>
                      <a:pt x="16" y="14"/>
                      <a:pt x="14" y="16"/>
                      <a:pt x="1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1823573" y="2562425"/>
              <a:ext cx="1587791" cy="3998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spc="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分析</a:t>
              </a:r>
              <a:endParaRPr lang="zh-CN" altLang="en-US" sz="2000" b="1" spc="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6" name="Freeform 5"/>
          <p:cNvSpPr/>
          <p:nvPr/>
        </p:nvSpPr>
        <p:spPr bwMode="auto">
          <a:xfrm>
            <a:off x="5230813" y="2413000"/>
            <a:ext cx="1090612" cy="1530350"/>
          </a:xfrm>
          <a:custGeom>
            <a:avLst/>
            <a:gdLst>
              <a:gd name="T0" fmla="*/ 307 w 615"/>
              <a:gd name="T1" fmla="*/ 0 h 863"/>
              <a:gd name="T2" fmla="*/ 461 w 615"/>
              <a:gd name="T3" fmla="*/ 435 h 863"/>
              <a:gd name="T4" fmla="*/ 615 w 615"/>
              <a:gd name="T5" fmla="*/ 863 h 863"/>
              <a:gd name="T6" fmla="*/ 307 w 615"/>
              <a:gd name="T7" fmla="*/ 863 h 863"/>
              <a:gd name="T8" fmla="*/ 0 w 615"/>
              <a:gd name="T9" fmla="*/ 863 h 863"/>
              <a:gd name="T10" fmla="*/ 154 w 615"/>
              <a:gd name="T11" fmla="*/ 435 h 863"/>
              <a:gd name="T12" fmla="*/ 307 w 615"/>
              <a:gd name="T13" fmla="*/ 0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5" h="863">
                <a:moveTo>
                  <a:pt x="307" y="0"/>
                </a:moveTo>
                <a:lnTo>
                  <a:pt x="461" y="435"/>
                </a:lnTo>
                <a:lnTo>
                  <a:pt x="615" y="863"/>
                </a:lnTo>
                <a:lnTo>
                  <a:pt x="307" y="863"/>
                </a:lnTo>
                <a:lnTo>
                  <a:pt x="0" y="863"/>
                </a:lnTo>
                <a:lnTo>
                  <a:pt x="154" y="435"/>
                </a:lnTo>
                <a:lnTo>
                  <a:pt x="30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7" name="Freeform 6"/>
          <p:cNvSpPr/>
          <p:nvPr/>
        </p:nvSpPr>
        <p:spPr bwMode="auto">
          <a:xfrm>
            <a:off x="4306888" y="3219450"/>
            <a:ext cx="1090612" cy="723900"/>
          </a:xfrm>
          <a:custGeom>
            <a:avLst/>
            <a:gdLst>
              <a:gd name="T0" fmla="*/ 776208523 w 615"/>
              <a:gd name="T1" fmla="*/ 0 h 408"/>
              <a:gd name="T2" fmla="*/ 1161793420 w 615"/>
              <a:gd name="T3" fmla="*/ 506552200 h 408"/>
              <a:gd name="T4" fmla="*/ 1549897681 w 615"/>
              <a:gd name="T5" fmla="*/ 1028223750 h 408"/>
              <a:gd name="T6" fmla="*/ 776208523 w 615"/>
              <a:gd name="T7" fmla="*/ 1028223750 h 408"/>
              <a:gd name="T8" fmla="*/ 0 w 615"/>
              <a:gd name="T9" fmla="*/ 1028223750 h 408"/>
              <a:gd name="T10" fmla="*/ 388104261 w 615"/>
              <a:gd name="T11" fmla="*/ 506552200 h 408"/>
              <a:gd name="T12" fmla="*/ 776208523 w 615"/>
              <a:gd name="T13" fmla="*/ 0 h 40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15" h="408">
                <a:moveTo>
                  <a:pt x="308" y="0"/>
                </a:moveTo>
                <a:lnTo>
                  <a:pt x="461" y="201"/>
                </a:lnTo>
                <a:lnTo>
                  <a:pt x="615" y="408"/>
                </a:lnTo>
                <a:lnTo>
                  <a:pt x="308" y="408"/>
                </a:lnTo>
                <a:lnTo>
                  <a:pt x="0" y="408"/>
                </a:lnTo>
                <a:lnTo>
                  <a:pt x="154" y="201"/>
                </a:lnTo>
                <a:lnTo>
                  <a:pt x="30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8" name="Freeform 7"/>
          <p:cNvSpPr/>
          <p:nvPr/>
        </p:nvSpPr>
        <p:spPr bwMode="auto">
          <a:xfrm>
            <a:off x="3419475" y="3752850"/>
            <a:ext cx="1089025" cy="190500"/>
          </a:xfrm>
          <a:custGeom>
            <a:avLst/>
            <a:gdLst>
              <a:gd name="T0" fmla="*/ 307 w 614"/>
              <a:gd name="T1" fmla="*/ 0 h 107"/>
              <a:gd name="T2" fmla="*/ 460 w 614"/>
              <a:gd name="T3" fmla="*/ 53 h 107"/>
              <a:gd name="T4" fmla="*/ 614 w 614"/>
              <a:gd name="T5" fmla="*/ 107 h 107"/>
              <a:gd name="T6" fmla="*/ 307 w 614"/>
              <a:gd name="T7" fmla="*/ 107 h 107"/>
              <a:gd name="T8" fmla="*/ 0 w 614"/>
              <a:gd name="T9" fmla="*/ 107 h 107"/>
              <a:gd name="T10" fmla="*/ 153 w 614"/>
              <a:gd name="T11" fmla="*/ 53 h 107"/>
              <a:gd name="T12" fmla="*/ 307 w 614"/>
              <a:gd name="T13" fmla="*/ 0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4" h="107">
                <a:moveTo>
                  <a:pt x="307" y="0"/>
                </a:moveTo>
                <a:lnTo>
                  <a:pt x="460" y="53"/>
                </a:lnTo>
                <a:lnTo>
                  <a:pt x="614" y="107"/>
                </a:lnTo>
                <a:lnTo>
                  <a:pt x="307" y="107"/>
                </a:lnTo>
                <a:lnTo>
                  <a:pt x="0" y="107"/>
                </a:lnTo>
                <a:lnTo>
                  <a:pt x="153" y="53"/>
                </a:lnTo>
                <a:lnTo>
                  <a:pt x="30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19" name="Freeform 8"/>
          <p:cNvSpPr/>
          <p:nvPr/>
        </p:nvSpPr>
        <p:spPr bwMode="auto">
          <a:xfrm>
            <a:off x="6154738" y="1522413"/>
            <a:ext cx="1089025" cy="2420937"/>
          </a:xfrm>
          <a:custGeom>
            <a:avLst/>
            <a:gdLst>
              <a:gd name="T0" fmla="*/ 773688763 w 614"/>
              <a:gd name="T1" fmla="*/ 0 h 1365"/>
              <a:gd name="T2" fmla="*/ 1161792825 w 614"/>
              <a:gd name="T3" fmla="*/ 1718746959 h 1365"/>
              <a:gd name="T4" fmla="*/ 1547375938 w 614"/>
              <a:gd name="T5" fmla="*/ 2147483647 h 1365"/>
              <a:gd name="T6" fmla="*/ 773688763 w 614"/>
              <a:gd name="T7" fmla="*/ 2147483647 h 1365"/>
              <a:gd name="T8" fmla="*/ 0 w 614"/>
              <a:gd name="T9" fmla="*/ 2147483647 h 1365"/>
              <a:gd name="T10" fmla="*/ 388104063 w 614"/>
              <a:gd name="T11" fmla="*/ 1718746959 h 1365"/>
              <a:gd name="T12" fmla="*/ 773688763 w 614"/>
              <a:gd name="T13" fmla="*/ 0 h 136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14" h="1365">
                <a:moveTo>
                  <a:pt x="307" y="0"/>
                </a:moveTo>
                <a:lnTo>
                  <a:pt x="461" y="682"/>
                </a:lnTo>
                <a:lnTo>
                  <a:pt x="614" y="1365"/>
                </a:lnTo>
                <a:lnTo>
                  <a:pt x="307" y="1365"/>
                </a:lnTo>
                <a:lnTo>
                  <a:pt x="0" y="1365"/>
                </a:lnTo>
                <a:lnTo>
                  <a:pt x="154" y="682"/>
                </a:lnTo>
                <a:lnTo>
                  <a:pt x="307" y="0"/>
                </a:lnTo>
                <a:close/>
              </a:path>
            </a:pathLst>
          </a:cu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20" tIns="46611" rIns="93220" bIns="46611" anchor="ctr"/>
          <a:lstStyle/>
          <a:p>
            <a:pPr algn="ctr" defTabSz="93154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200">
              <a:solidFill>
                <a:prstClr val="black">
                  <a:alpha val="99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Freeform 9"/>
          <p:cNvSpPr/>
          <p:nvPr/>
        </p:nvSpPr>
        <p:spPr bwMode="auto">
          <a:xfrm>
            <a:off x="7078663" y="2814638"/>
            <a:ext cx="1089025" cy="1128712"/>
          </a:xfrm>
          <a:custGeom>
            <a:avLst/>
            <a:gdLst>
              <a:gd name="T0" fmla="*/ 307 w 614"/>
              <a:gd name="T1" fmla="*/ 0 h 636"/>
              <a:gd name="T2" fmla="*/ 461 w 614"/>
              <a:gd name="T3" fmla="*/ 321 h 636"/>
              <a:gd name="T4" fmla="*/ 614 w 614"/>
              <a:gd name="T5" fmla="*/ 636 h 636"/>
              <a:gd name="T6" fmla="*/ 307 w 614"/>
              <a:gd name="T7" fmla="*/ 636 h 636"/>
              <a:gd name="T8" fmla="*/ 0 w 614"/>
              <a:gd name="T9" fmla="*/ 636 h 636"/>
              <a:gd name="T10" fmla="*/ 154 w 614"/>
              <a:gd name="T11" fmla="*/ 321 h 636"/>
              <a:gd name="T12" fmla="*/ 307 w 614"/>
              <a:gd name="T13" fmla="*/ 0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4" h="636">
                <a:moveTo>
                  <a:pt x="307" y="0"/>
                </a:moveTo>
                <a:lnTo>
                  <a:pt x="461" y="321"/>
                </a:lnTo>
                <a:lnTo>
                  <a:pt x="614" y="636"/>
                </a:lnTo>
                <a:lnTo>
                  <a:pt x="307" y="636"/>
                </a:lnTo>
                <a:lnTo>
                  <a:pt x="0" y="636"/>
                </a:lnTo>
                <a:lnTo>
                  <a:pt x="154" y="321"/>
                </a:lnTo>
                <a:lnTo>
                  <a:pt x="307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3709988" y="3327400"/>
            <a:ext cx="473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8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3635375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EBAC0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4495800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F8300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5367338" y="4076700"/>
            <a:ext cx="62071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6343650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8BC92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7299325" y="4076700"/>
            <a:ext cx="62071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spc="300">
                <a:solidFill>
                  <a:srgbClr val="2848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zh-CN" altLang="en-US" dirty="0">
                <a:solidFill>
                  <a:prstClr val="white"/>
                </a:solidFill>
              </a:rPr>
              <a:t>标题</a:t>
            </a: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4586288" y="2843213"/>
            <a:ext cx="473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8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5494338" y="1958975"/>
            <a:ext cx="473075" cy="3063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97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 bwMode="auto">
          <a:xfrm>
            <a:off x="6434138" y="1154113"/>
            <a:ext cx="617537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25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7375525" y="2419350"/>
            <a:ext cx="473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5</a:t>
            </a:r>
            <a:endParaRPr lang="zh-CN" altLang="en-US" sz="1400" spc="3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组合 16"/>
          <p:cNvGrpSpPr/>
          <p:nvPr/>
        </p:nvGrpSpPr>
        <p:grpSpPr bwMode="auto">
          <a:xfrm>
            <a:off x="806450" y="914400"/>
            <a:ext cx="4108450" cy="3529013"/>
            <a:chOff x="4208463" y="771525"/>
            <a:chExt cx="4108450" cy="3529013"/>
          </a:xfrm>
        </p:grpSpPr>
        <p:sp>
          <p:nvSpPr>
            <p:cNvPr id="18" name="矩形 17"/>
            <p:cNvSpPr/>
            <p:nvPr/>
          </p:nvSpPr>
          <p:spPr>
            <a:xfrm>
              <a:off x="4208463" y="771525"/>
              <a:ext cx="4108450" cy="352901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5374" name="矩形 18"/>
            <p:cNvSpPr>
              <a:spLocks noChangeArrowheads="1"/>
            </p:cNvSpPr>
            <p:nvPr/>
          </p:nvSpPr>
          <p:spPr bwMode="auto">
            <a:xfrm>
              <a:off x="4499992" y="1749811"/>
              <a:ext cx="3384376" cy="1902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>
                <a:lnSpc>
                  <a:spcPct val="140000"/>
                </a:lnSpc>
                <a:spcBef>
                  <a:spcPct val="0"/>
                </a:spcBef>
                <a:buFontTx/>
                <a:buNone/>
              </a:pP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，坚持精益求精、拒绝平庸的做事精神，帮助您实现美观、精致、严谨、动感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展示效果，让您的</a:t>
              </a:r>
              <a:r>
                <a:rPr lang="en-US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卓越价值</a:t>
              </a:r>
              <a:endParaRPr lang="en-US" altLang="zh-CN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75" name="TextBox 20"/>
            <p:cNvSpPr txBox="1">
              <a:spLocks noChangeArrowheads="1"/>
            </p:cNvSpPr>
            <p:nvPr/>
          </p:nvSpPr>
          <p:spPr bwMode="auto">
            <a:xfrm>
              <a:off x="4509517" y="1453763"/>
              <a:ext cx="156966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标题</a:t>
              </a:r>
              <a:endParaRPr lang="zh-CN" altLang="en-US" sz="1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63" name="组合 1"/>
          <p:cNvGrpSpPr/>
          <p:nvPr/>
        </p:nvGrpSpPr>
        <p:grpSpPr bwMode="auto">
          <a:xfrm>
            <a:off x="5000625" y="914400"/>
            <a:ext cx="3354388" cy="1728788"/>
            <a:chOff x="5001287" y="914945"/>
            <a:chExt cx="3353907" cy="1728217"/>
          </a:xfrm>
        </p:grpSpPr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5001287" y="914945"/>
              <a:ext cx="3353907" cy="172821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3220" tIns="46611" rIns="93220" bIns="46611" anchor="ctr"/>
            <a:lstStyle>
              <a:lvl1pPr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93154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3154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endParaRPr lang="zh-CN" altLang="en-US" sz="2200" smtClean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369" name="组合 29"/>
            <p:cNvGrpSpPr/>
            <p:nvPr/>
          </p:nvGrpSpPr>
          <p:grpSpPr bwMode="auto">
            <a:xfrm>
              <a:off x="5336015" y="1514582"/>
              <a:ext cx="681120" cy="622561"/>
              <a:chOff x="5328493" y="1445133"/>
              <a:chExt cx="350838" cy="320675"/>
            </a:xfrm>
          </p:grpSpPr>
          <p:sp>
            <p:nvSpPr>
              <p:cNvPr id="28" name="Freeform 35"/>
              <p:cNvSpPr/>
              <p:nvPr/>
            </p:nvSpPr>
            <p:spPr bwMode="auto">
              <a:xfrm>
                <a:off x="5380915" y="1567055"/>
                <a:ext cx="242823" cy="87465"/>
              </a:xfrm>
              <a:custGeom>
                <a:avLst/>
                <a:gdLst>
                  <a:gd name="T0" fmla="*/ 2147483646 w 48"/>
                  <a:gd name="T1" fmla="*/ 0 h 17"/>
                  <a:gd name="T2" fmla="*/ 2147483646 w 48"/>
                  <a:gd name="T3" fmla="*/ 2147483646 h 17"/>
                  <a:gd name="T4" fmla="*/ 2147483646 w 48"/>
                  <a:gd name="T5" fmla="*/ 2147483646 h 17"/>
                  <a:gd name="T6" fmla="*/ 2147483646 w 48"/>
                  <a:gd name="T7" fmla="*/ 2147483646 h 17"/>
                  <a:gd name="T8" fmla="*/ 2147483646 w 48"/>
                  <a:gd name="T9" fmla="*/ 0 h 17"/>
                  <a:gd name="T10" fmla="*/ 2147483646 w 48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" h="17">
                    <a:moveTo>
                      <a:pt x="1" y="0"/>
                    </a:moveTo>
                    <a:cubicBezTo>
                      <a:pt x="0" y="3"/>
                      <a:pt x="1" y="6"/>
                      <a:pt x="2" y="8"/>
                    </a:cubicBezTo>
                    <a:cubicBezTo>
                      <a:pt x="7" y="16"/>
                      <a:pt x="21" y="17"/>
                      <a:pt x="24" y="17"/>
                    </a:cubicBezTo>
                    <a:cubicBezTo>
                      <a:pt x="28" y="17"/>
                      <a:pt x="42" y="16"/>
                      <a:pt x="47" y="8"/>
                    </a:cubicBezTo>
                    <a:cubicBezTo>
                      <a:pt x="48" y="6"/>
                      <a:pt x="48" y="3"/>
                      <a:pt x="48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9" name="Freeform 36"/>
              <p:cNvSpPr>
                <a:spLocks noEditPoints="1"/>
              </p:cNvSpPr>
              <p:nvPr/>
            </p:nvSpPr>
            <p:spPr bwMode="auto">
              <a:xfrm>
                <a:off x="5328589" y="1445257"/>
                <a:ext cx="350745" cy="320435"/>
              </a:xfrm>
              <a:custGeom>
                <a:avLst/>
                <a:gdLst>
                  <a:gd name="T0" fmla="*/ 2147483646 w 69"/>
                  <a:gd name="T1" fmla="*/ 0 h 63"/>
                  <a:gd name="T2" fmla="*/ 2147483646 w 69"/>
                  <a:gd name="T3" fmla="*/ 0 h 63"/>
                  <a:gd name="T4" fmla="*/ 2147483646 w 69"/>
                  <a:gd name="T5" fmla="*/ 2147483646 h 63"/>
                  <a:gd name="T6" fmla="*/ 2147483646 w 69"/>
                  <a:gd name="T7" fmla="*/ 2147483646 h 63"/>
                  <a:gd name="T8" fmla="*/ 2147483646 w 69"/>
                  <a:gd name="T9" fmla="*/ 2147483646 h 63"/>
                  <a:gd name="T10" fmla="*/ 2147483646 w 69"/>
                  <a:gd name="T11" fmla="*/ 2147483646 h 63"/>
                  <a:gd name="T12" fmla="*/ 2147483646 w 69"/>
                  <a:gd name="T13" fmla="*/ 2147483646 h 63"/>
                  <a:gd name="T14" fmla="*/ 2147483646 w 69"/>
                  <a:gd name="T15" fmla="*/ 2147483646 h 63"/>
                  <a:gd name="T16" fmla="*/ 2147483646 w 69"/>
                  <a:gd name="T17" fmla="*/ 2147483646 h 63"/>
                  <a:gd name="T18" fmla="*/ 2147483646 w 69"/>
                  <a:gd name="T19" fmla="*/ 2147483646 h 63"/>
                  <a:gd name="T20" fmla="*/ 2147483646 w 69"/>
                  <a:gd name="T21" fmla="*/ 2147483646 h 63"/>
                  <a:gd name="T22" fmla="*/ 2147483646 w 69"/>
                  <a:gd name="T23" fmla="*/ 2147483646 h 63"/>
                  <a:gd name="T24" fmla="*/ 2147483646 w 69"/>
                  <a:gd name="T25" fmla="*/ 2147483646 h 63"/>
                  <a:gd name="T26" fmla="*/ 2147483646 w 69"/>
                  <a:gd name="T27" fmla="*/ 2147483646 h 63"/>
                  <a:gd name="T28" fmla="*/ 2147483646 w 69"/>
                  <a:gd name="T29" fmla="*/ 2147483646 h 63"/>
                  <a:gd name="T30" fmla="*/ 2147483646 w 69"/>
                  <a:gd name="T31" fmla="*/ 2147483646 h 63"/>
                  <a:gd name="T32" fmla="*/ 2147483646 w 69"/>
                  <a:gd name="T33" fmla="*/ 0 h 63"/>
                  <a:gd name="T34" fmla="*/ 2147483646 w 69"/>
                  <a:gd name="T35" fmla="*/ 2147483646 h 63"/>
                  <a:gd name="T36" fmla="*/ 2147483646 w 69"/>
                  <a:gd name="T37" fmla="*/ 2147483646 h 63"/>
                  <a:gd name="T38" fmla="*/ 2147483646 w 69"/>
                  <a:gd name="T39" fmla="*/ 2147483646 h 63"/>
                  <a:gd name="T40" fmla="*/ 2147483646 w 69"/>
                  <a:gd name="T41" fmla="*/ 2147483646 h 63"/>
                  <a:gd name="T42" fmla="*/ 2147483646 w 69"/>
                  <a:gd name="T43" fmla="*/ 2147483646 h 63"/>
                  <a:gd name="T44" fmla="*/ 2147483646 w 69"/>
                  <a:gd name="T45" fmla="*/ 2147483646 h 6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9" h="63">
                    <a:moveTo>
                      <a:pt x="58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2" y="14"/>
                      <a:pt x="0" y="26"/>
                      <a:pt x="5" y="34"/>
                    </a:cubicBezTo>
                    <a:cubicBezTo>
                      <a:pt x="10" y="44"/>
                      <a:pt x="24" y="47"/>
                      <a:pt x="31" y="48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4" y="59"/>
                      <a:pt x="13" y="60"/>
                      <a:pt x="13" y="61"/>
                    </a:cubicBezTo>
                    <a:cubicBezTo>
                      <a:pt x="13" y="62"/>
                      <a:pt x="14" y="63"/>
                      <a:pt x="15" y="63"/>
                    </a:cubicBezTo>
                    <a:cubicBezTo>
                      <a:pt x="54" y="63"/>
                      <a:pt x="54" y="63"/>
                      <a:pt x="54" y="63"/>
                    </a:cubicBezTo>
                    <a:cubicBezTo>
                      <a:pt x="55" y="63"/>
                      <a:pt x="56" y="62"/>
                      <a:pt x="56" y="61"/>
                    </a:cubicBezTo>
                    <a:cubicBezTo>
                      <a:pt x="56" y="60"/>
                      <a:pt x="55" y="59"/>
                      <a:pt x="54" y="59"/>
                    </a:cubicBezTo>
                    <a:cubicBezTo>
                      <a:pt x="38" y="59"/>
                      <a:pt x="38" y="59"/>
                      <a:pt x="38" y="59"/>
                    </a:cubicBezTo>
                    <a:cubicBezTo>
                      <a:pt x="38" y="48"/>
                      <a:pt x="38" y="48"/>
                      <a:pt x="38" y="48"/>
                    </a:cubicBezTo>
                    <a:cubicBezTo>
                      <a:pt x="45" y="47"/>
                      <a:pt x="58" y="44"/>
                      <a:pt x="64" y="34"/>
                    </a:cubicBezTo>
                    <a:cubicBezTo>
                      <a:pt x="69" y="26"/>
                      <a:pt x="67" y="14"/>
                      <a:pt x="58" y="1"/>
                    </a:cubicBezTo>
                    <a:lnTo>
                      <a:pt x="58" y="0"/>
                    </a:lnTo>
                    <a:close/>
                    <a:moveTo>
                      <a:pt x="60" y="32"/>
                    </a:moveTo>
                    <a:cubicBezTo>
                      <a:pt x="55" y="42"/>
                      <a:pt x="38" y="43"/>
                      <a:pt x="34" y="43"/>
                    </a:cubicBezTo>
                    <a:cubicBezTo>
                      <a:pt x="31" y="43"/>
                      <a:pt x="14" y="42"/>
                      <a:pt x="9" y="32"/>
                    </a:cubicBezTo>
                    <a:cubicBezTo>
                      <a:pt x="5" y="25"/>
                      <a:pt x="7" y="16"/>
                      <a:pt x="14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62" y="16"/>
                      <a:pt x="64" y="25"/>
                      <a:pt x="60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defTabSz="6858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35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5370" name="Rectangle 2"/>
            <p:cNvSpPr>
              <a:spLocks noChangeArrowheads="1"/>
            </p:cNvSpPr>
            <p:nvPr/>
          </p:nvSpPr>
          <p:spPr bwMode="auto">
            <a:xfrm>
              <a:off x="6156176" y="1431726"/>
              <a:ext cx="151836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800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6%</a:t>
              </a:r>
              <a:endParaRPr lang="zh-CN" altLang="en-US" sz="48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64" name="组合 2"/>
          <p:cNvGrpSpPr/>
          <p:nvPr/>
        </p:nvGrpSpPr>
        <p:grpSpPr bwMode="auto">
          <a:xfrm>
            <a:off x="5013325" y="2716213"/>
            <a:ext cx="3354388" cy="1727200"/>
            <a:chOff x="5013806" y="2715741"/>
            <a:chExt cx="3353907" cy="1728217"/>
          </a:xfrm>
        </p:grpSpPr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5013806" y="2715741"/>
              <a:ext cx="3353907" cy="1728217"/>
            </a:xfrm>
            <a:prstGeom prst="rect">
              <a:avLst/>
            </a:prstGeom>
            <a:solidFill>
              <a:srgbClr val="FBB04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Freeform 52"/>
            <p:cNvSpPr/>
            <p:nvPr/>
          </p:nvSpPr>
          <p:spPr bwMode="auto">
            <a:xfrm>
              <a:off x="5440783" y="3285989"/>
              <a:ext cx="626972" cy="587721"/>
            </a:xfrm>
            <a:custGeom>
              <a:avLst/>
              <a:gdLst>
                <a:gd name="T0" fmla="*/ 2147483646 w 76"/>
                <a:gd name="T1" fmla="*/ 2147483646 h 71"/>
                <a:gd name="T2" fmla="*/ 2147483646 w 76"/>
                <a:gd name="T3" fmla="*/ 2147483646 h 71"/>
                <a:gd name="T4" fmla="*/ 2147483646 w 76"/>
                <a:gd name="T5" fmla="*/ 2147483646 h 71"/>
                <a:gd name="T6" fmla="*/ 2147483646 w 76"/>
                <a:gd name="T7" fmla="*/ 2147483646 h 71"/>
                <a:gd name="T8" fmla="*/ 2147483646 w 76"/>
                <a:gd name="T9" fmla="*/ 2147483646 h 71"/>
                <a:gd name="T10" fmla="*/ 2147483646 w 76"/>
                <a:gd name="T11" fmla="*/ 2147483646 h 71"/>
                <a:gd name="T12" fmla="*/ 2147483646 w 76"/>
                <a:gd name="T13" fmla="*/ 2147483646 h 71"/>
                <a:gd name="T14" fmla="*/ 2147483646 w 76"/>
                <a:gd name="T15" fmla="*/ 2147483646 h 71"/>
                <a:gd name="T16" fmla="*/ 2147483646 w 76"/>
                <a:gd name="T17" fmla="*/ 2147483646 h 71"/>
                <a:gd name="T18" fmla="*/ 2147483646 w 76"/>
                <a:gd name="T19" fmla="*/ 2147483646 h 71"/>
                <a:gd name="T20" fmla="*/ 2147483646 w 76"/>
                <a:gd name="T21" fmla="*/ 2147483646 h 71"/>
                <a:gd name="T22" fmla="*/ 2147483646 w 76"/>
                <a:gd name="T23" fmla="*/ 2147483646 h 71"/>
                <a:gd name="T24" fmla="*/ 2147483646 w 76"/>
                <a:gd name="T25" fmla="*/ 2147483646 h 71"/>
                <a:gd name="T26" fmla="*/ 2147483646 w 76"/>
                <a:gd name="T27" fmla="*/ 2147483646 h 71"/>
                <a:gd name="T28" fmla="*/ 2147483646 w 76"/>
                <a:gd name="T29" fmla="*/ 2147483646 h 71"/>
                <a:gd name="T30" fmla="*/ 2147483646 w 76"/>
                <a:gd name="T31" fmla="*/ 2147483646 h 71"/>
                <a:gd name="T32" fmla="*/ 2147483646 w 76"/>
                <a:gd name="T33" fmla="*/ 2147483646 h 71"/>
                <a:gd name="T34" fmla="*/ 2147483646 w 76"/>
                <a:gd name="T35" fmla="*/ 2147483646 h 71"/>
                <a:gd name="T36" fmla="*/ 2147483646 w 76"/>
                <a:gd name="T37" fmla="*/ 2147483646 h 71"/>
                <a:gd name="T38" fmla="*/ 2147483646 w 76"/>
                <a:gd name="T39" fmla="*/ 2147483646 h 71"/>
                <a:gd name="T40" fmla="*/ 2147483646 w 76"/>
                <a:gd name="T41" fmla="*/ 2147483646 h 71"/>
                <a:gd name="T42" fmla="*/ 2147483646 w 76"/>
                <a:gd name="T43" fmla="*/ 2147483646 h 71"/>
                <a:gd name="T44" fmla="*/ 2147483646 w 76"/>
                <a:gd name="T45" fmla="*/ 2147483646 h 71"/>
                <a:gd name="T46" fmla="*/ 2147483646 w 76"/>
                <a:gd name="T47" fmla="*/ 2147483646 h 71"/>
                <a:gd name="T48" fmla="*/ 2147483646 w 76"/>
                <a:gd name="T49" fmla="*/ 2147483646 h 71"/>
                <a:gd name="T50" fmla="*/ 2147483646 w 76"/>
                <a:gd name="T51" fmla="*/ 2147483646 h 71"/>
                <a:gd name="T52" fmla="*/ 2147483646 w 76"/>
                <a:gd name="T53" fmla="*/ 2147483646 h 71"/>
                <a:gd name="T54" fmla="*/ 2147483646 w 76"/>
                <a:gd name="T55" fmla="*/ 2147483646 h 71"/>
                <a:gd name="T56" fmla="*/ 2147483646 w 76"/>
                <a:gd name="T57" fmla="*/ 2147483646 h 71"/>
                <a:gd name="T58" fmla="*/ 2147483646 w 76"/>
                <a:gd name="T59" fmla="*/ 2147483646 h 71"/>
                <a:gd name="T60" fmla="*/ 2147483646 w 76"/>
                <a:gd name="T61" fmla="*/ 2147483646 h 71"/>
                <a:gd name="T62" fmla="*/ 2147483646 w 76"/>
                <a:gd name="T63" fmla="*/ 2147483646 h 71"/>
                <a:gd name="T64" fmla="*/ 2147483646 w 76"/>
                <a:gd name="T65" fmla="*/ 2147483646 h 71"/>
                <a:gd name="T66" fmla="*/ 2147483646 w 76"/>
                <a:gd name="T67" fmla="*/ 2147483646 h 71"/>
                <a:gd name="T68" fmla="*/ 2147483646 w 76"/>
                <a:gd name="T69" fmla="*/ 2147483646 h 71"/>
                <a:gd name="T70" fmla="*/ 2147483646 w 76"/>
                <a:gd name="T71" fmla="*/ 2147483646 h 71"/>
                <a:gd name="T72" fmla="*/ 2147483646 w 76"/>
                <a:gd name="T73" fmla="*/ 2147483646 h 71"/>
                <a:gd name="T74" fmla="*/ 0 w 76"/>
                <a:gd name="T75" fmla="*/ 2147483646 h 71"/>
                <a:gd name="T76" fmla="*/ 2147483646 w 76"/>
                <a:gd name="T77" fmla="*/ 2147483646 h 71"/>
                <a:gd name="T78" fmla="*/ 2147483646 w 76"/>
                <a:gd name="T79" fmla="*/ 2147483646 h 71"/>
                <a:gd name="T80" fmla="*/ 2147483646 w 76"/>
                <a:gd name="T81" fmla="*/ 2147483646 h 71"/>
                <a:gd name="T82" fmla="*/ 2147483646 w 76"/>
                <a:gd name="T83" fmla="*/ 2147483646 h 71"/>
                <a:gd name="T84" fmla="*/ 2147483646 w 76"/>
                <a:gd name="T85" fmla="*/ 2147483646 h 71"/>
                <a:gd name="T86" fmla="*/ 2147483646 w 76"/>
                <a:gd name="T87" fmla="*/ 2147483646 h 71"/>
                <a:gd name="T88" fmla="*/ 2147483646 w 76"/>
                <a:gd name="T89" fmla="*/ 0 h 71"/>
                <a:gd name="T90" fmla="*/ 2147483646 w 76"/>
                <a:gd name="T91" fmla="*/ 2147483646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76" h="71">
                  <a:moveTo>
                    <a:pt x="28" y="6"/>
                  </a:moveTo>
                  <a:cubicBezTo>
                    <a:pt x="32" y="4"/>
                    <a:pt x="32" y="4"/>
                    <a:pt x="32" y="4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72" y="14"/>
                    <a:pt x="74" y="16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6" y="18"/>
                    <a:pt x="76" y="22"/>
                    <a:pt x="70" y="25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0" y="38"/>
                    <a:pt x="39" y="38"/>
                    <a:pt x="39" y="38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0"/>
                    <a:pt x="36" y="30"/>
                    <a:pt x="38" y="2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28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50">
                <a:solidFill>
                  <a:prstClr val="black"/>
                </a:solidFill>
                <a:latin typeface="+mn-lt"/>
                <a:ea typeface="+mn-ea"/>
              </a:endParaRPr>
            </a:p>
          </p:txBody>
        </p:sp>
        <p:sp>
          <p:nvSpPr>
            <p:cNvPr id="15367" name="Rectangle 2"/>
            <p:cNvSpPr>
              <a:spLocks noChangeArrowheads="1"/>
            </p:cNvSpPr>
            <p:nvPr/>
          </p:nvSpPr>
          <p:spPr bwMode="auto">
            <a:xfrm>
              <a:off x="6177956" y="3168426"/>
              <a:ext cx="1518364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4800" b="1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2%</a:t>
              </a:r>
              <a:endParaRPr lang="zh-CN" altLang="en-US" sz="48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ppYD9KRVzTUGnDQXhjGR4yg"/>
</p:tagLst>
</file>

<file path=ppt/tags/tag10.xml><?xml version="1.0" encoding="utf-8"?>
<p:tagLst xmlns:p="http://schemas.openxmlformats.org/presentationml/2006/main">
  <p:tag name="THINKCELLSHAPEDONOTDELETE" val="pzdoKvR_s20S_sEfbKhL.0g"/>
</p:tagLst>
</file>

<file path=ppt/tags/tag11.xml><?xml version="1.0" encoding="utf-8"?>
<p:tagLst xmlns:p="http://schemas.openxmlformats.org/presentationml/2006/main">
  <p:tag name="THINKCELLSHAPEDONOTDELETE" val="pzdoKvR_s20S_sEfbKhL.0g"/>
</p:tagLst>
</file>

<file path=ppt/tags/tag12.xml><?xml version="1.0" encoding="utf-8"?>
<p:tagLst xmlns:p="http://schemas.openxmlformats.org/presentationml/2006/main">
  <p:tag name="THINKCELLSHAPEDONOTDELETE" val="pzdoKvR_s20S_sEfbKhL.0g"/>
</p:tagLst>
</file>

<file path=ppt/tags/tag13.xml><?xml version="1.0" encoding="utf-8"?>
<p:tagLst xmlns:p="http://schemas.openxmlformats.org/presentationml/2006/main">
  <p:tag name="THINKCELLSHAPEDONOTDELETE" val="pzdoKvR_s20S_sEfbKhL.0g"/>
</p:tagLst>
</file>

<file path=ppt/tags/tag14.xml><?xml version="1.0" encoding="utf-8"?>
<p:tagLst xmlns:p="http://schemas.openxmlformats.org/presentationml/2006/main">
  <p:tag name="THINKCELLSHAPEDONOTDELETE" val="pzdoKvR_s20S_sEfbKhL.0g"/>
</p:tagLst>
</file>

<file path=ppt/tags/tag15.xml><?xml version="1.0" encoding="utf-8"?>
<p:tagLst xmlns:p="http://schemas.openxmlformats.org/presentationml/2006/main">
  <p:tag name="THINKCELLSHAPEDONOTDELETE" val="pzdoKvR_s20S_sEfbKhL.0g"/>
</p:tagLst>
</file>

<file path=ppt/tags/tag16.xml><?xml version="1.0" encoding="utf-8"?>
<p:tagLst xmlns:p="http://schemas.openxmlformats.org/presentationml/2006/main">
  <p:tag name="THINKCELLSHAPEDONOTDELETE" val="pzdoKvR_s20S_sEfbKhL.0g"/>
</p:tagLst>
</file>

<file path=ppt/tags/tag17.xml><?xml version="1.0" encoding="utf-8"?>
<p:tagLst xmlns:p="http://schemas.openxmlformats.org/presentationml/2006/main">
  <p:tag name="THINKCELLSHAPEDONOTDELETE" val="pJ2u1Pg1xh0C640BzGedlig"/>
</p:tagLst>
</file>

<file path=ppt/tags/tag18.xml><?xml version="1.0" encoding="utf-8"?>
<p:tagLst xmlns:p="http://schemas.openxmlformats.org/presentationml/2006/main">
  <p:tag name="THINKCELLSHAPEDONOTDELETE" val="pPyYV1qJOh0uEB.i7ZP4zZA"/>
</p:tagLst>
</file>

<file path=ppt/tags/tag19.xml><?xml version="1.0" encoding="utf-8"?>
<p:tagLst xmlns:p="http://schemas.openxmlformats.org/presentationml/2006/main">
  <p:tag name="THINKCELLSHAPEDONOTDELETE" val="pzfCkXd2zmUu6M0t0EYUvXQ"/>
</p:tagLst>
</file>

<file path=ppt/tags/tag2.xml><?xml version="1.0" encoding="utf-8"?>
<p:tagLst xmlns:p="http://schemas.openxmlformats.org/presentationml/2006/main">
  <p:tag name="THINKCELLSHAPEDONOTDELETE" val="pCGo3P7.AzUubHfG8m8xwEA"/>
</p:tagLst>
</file>

<file path=ppt/tags/tag3.xml><?xml version="1.0" encoding="utf-8"?>
<p:tagLst xmlns:p="http://schemas.openxmlformats.org/presentationml/2006/main">
  <p:tag name="THINKCELLSHAPEDONOTDELETE" val="pUZJ7ld1mUUaQqfTPI9_tLg"/>
</p:tagLst>
</file>

<file path=ppt/tags/tag4.xml><?xml version="1.0" encoding="utf-8"?>
<p:tagLst xmlns:p="http://schemas.openxmlformats.org/presentationml/2006/main">
  <p:tag name="THINKCELLSHAPEDONOTDELETE" val="p1uyo6l.lT0ixqPmGXv8sbg"/>
</p:tagLst>
</file>

<file path=ppt/tags/tag5.xml><?xml version="1.0" encoding="utf-8"?>
<p:tagLst xmlns:p="http://schemas.openxmlformats.org/presentationml/2006/main">
  <p:tag name="THINKCELLSHAPEDONOTDELETE" val="pzfCkXd2zmUu6M0t0EYUvXQ"/>
</p:tagLst>
</file>

<file path=ppt/tags/tag6.xml><?xml version="1.0" encoding="utf-8"?>
<p:tagLst xmlns:p="http://schemas.openxmlformats.org/presentationml/2006/main">
  <p:tag name="THINKCELLSHAPEDONOTDELETE" val="pNvJj3Hg370G_8XryiBB_Aw"/>
</p:tagLst>
</file>

<file path=ppt/tags/tag7.xml><?xml version="1.0" encoding="utf-8"?>
<p:tagLst xmlns:p="http://schemas.openxmlformats.org/presentationml/2006/main">
  <p:tag name="THINKCELLSHAPEDONOTDELETE" val="pPyYV1qJOh0uEB.i7ZP4zZA"/>
</p:tagLst>
</file>

<file path=ppt/tags/tag8.xml><?xml version="1.0" encoding="utf-8"?>
<p:tagLst xmlns:p="http://schemas.openxmlformats.org/presentationml/2006/main">
  <p:tag name="THINKCELLSHAPEDONOTDELETE" val="pdyH27muZkkyrB.aA2YvzfA"/>
</p:tagLst>
</file>

<file path=ppt/tags/tag9.xml><?xml version="1.0" encoding="utf-8"?>
<p:tagLst xmlns:p="http://schemas.openxmlformats.org/presentationml/2006/main">
  <p:tag name="THINKCELLSHAPEDONOTDELETE" val="pJ2u1Pg1xh0C640BzGedlig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71</Words>
  <Application>WPS 演示</Application>
  <PresentationFormat>全屏显示(16:9)</PresentationFormat>
  <Paragraphs>479</Paragraphs>
  <Slides>30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5" baseType="lpstr">
      <vt:lpstr>Arial</vt:lpstr>
      <vt:lpstr>宋体</vt:lpstr>
      <vt:lpstr>Wingdings</vt:lpstr>
      <vt:lpstr>Calibri</vt:lpstr>
      <vt:lpstr>百度综艺简体</vt:lpstr>
      <vt:lpstr>微软雅黑</vt:lpstr>
      <vt:lpstr>Segoe UI</vt:lpstr>
      <vt:lpstr>Arial Unicode MS</vt:lpstr>
      <vt:lpstr>Segoe Light</vt:lpstr>
      <vt:lpstr>Segoe UI Semibold</vt:lpstr>
      <vt:lpstr>Segoe UI Light</vt:lpstr>
      <vt:lpstr>Segoe UI</vt:lpstr>
      <vt:lpstr>Segoe UI Light</vt:lpstr>
      <vt:lpstr>A bite</vt:lpstr>
      <vt:lpstr>1_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锐普PPT</dc:creator>
  <cp:lastModifiedBy>荷语默</cp:lastModifiedBy>
  <cp:revision>4</cp:revision>
  <dcterms:created xsi:type="dcterms:W3CDTF">2013-11-29T07:19:00Z</dcterms:created>
  <dcterms:modified xsi:type="dcterms:W3CDTF">2018-08-29T03:3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7764</vt:lpwstr>
  </property>
</Properties>
</file>